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11.xml" ContentType="application/vnd.openxmlformats-officedocument.presentationml.notesSlid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399" r:id="rId2"/>
    <p:sldId id="398" r:id="rId3"/>
    <p:sldId id="397" r:id="rId4"/>
    <p:sldId id="382" r:id="rId5"/>
    <p:sldId id="369" r:id="rId6"/>
    <p:sldId id="393" r:id="rId7"/>
    <p:sldId id="390" r:id="rId8"/>
    <p:sldId id="389" r:id="rId9"/>
    <p:sldId id="385" r:id="rId10"/>
    <p:sldId id="366" r:id="rId11"/>
    <p:sldId id="367" r:id="rId12"/>
    <p:sldId id="400" r:id="rId13"/>
    <p:sldId id="386" r:id="rId14"/>
    <p:sldId id="402" r:id="rId15"/>
    <p:sldId id="403" r:id="rId16"/>
    <p:sldId id="401" r:id="rId17"/>
    <p:sldId id="404" r:id="rId18"/>
    <p:sldId id="345" r:id="rId19"/>
  </p:sldIdLst>
  <p:sldSz cx="9144000" cy="6858000" type="screen4x3"/>
  <p:notesSz cx="6805613" cy="99393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ikanovas" initials="a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6201"/>
    <a:srgbClr val="EA5F00"/>
    <a:srgbClr val="85C800"/>
    <a:srgbClr val="0EA24A"/>
    <a:srgbClr val="F27E1E"/>
    <a:srgbClr val="BA166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2" autoAdjust="0"/>
    <p:restoredTop sz="92636" autoAdjust="0"/>
  </p:normalViewPr>
  <p:slideViewPr>
    <p:cSldViewPr>
      <p:cViewPr>
        <p:scale>
          <a:sx n="100" d="100"/>
          <a:sy n="100" d="100"/>
        </p:scale>
        <p:origin x="-1932" y="-60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130" y="-11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C6DFC-81AA-4014-BC3D-93CDDCE672E4}" type="datetimeFigureOut">
              <a:rPr lang="ru-RU" smtClean="0"/>
              <a:pPr/>
              <a:t>01.07.2015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8554A-8834-409D-A886-574C78C5FDF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2427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541" tIns="45770" rIns="91541" bIns="4577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7CFEA3A-3143-4F57-B239-ADC92F3598EF}" type="datetimeFigureOut">
              <a:rPr lang="ru-RU"/>
              <a:pPr>
                <a:defRPr/>
              </a:pPr>
              <a:t>01.07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41" tIns="45770" rIns="91541" bIns="4577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</p:spPr>
        <p:txBody>
          <a:bodyPr vert="horz" lIns="91541" tIns="45770" rIns="91541" bIns="4577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541" tIns="45770" rIns="91541" bIns="4577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98E3355-4286-40A9-860E-9C384D8F20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09523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73637" cy="3729037"/>
          </a:xfrm>
          <a:ln/>
        </p:spPr>
      </p:sp>
      <p:sp>
        <p:nvSpPr>
          <p:cNvPr id="3072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15478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ru-RU" dirty="0" smtClean="0"/>
              <a:t>Сегодня</a:t>
            </a:r>
            <a:r>
              <a:rPr lang="ru-RU" baseline="0" dirty="0" smtClean="0"/>
              <a:t> одним из залогов успешной работы Компании является разработанные и внедренные информационные системы, полностью обеспечивающие автоматизацию технологического процесса от формирования тарифной политики и </a:t>
            </a:r>
            <a:r>
              <a:rPr lang="ru-RU" baseline="0" dirty="0" err="1" smtClean="0"/>
              <a:t>интернет-продаж</a:t>
            </a:r>
            <a:r>
              <a:rPr lang="ru-RU" baseline="0" dirty="0" smtClean="0"/>
              <a:t> до мониторинга оперативного состояния парков и таможенного оформления.</a:t>
            </a:r>
          </a:p>
          <a:p>
            <a:endParaRPr lang="ru-RU" dirty="0" smtClean="0"/>
          </a:p>
          <a:p>
            <a:r>
              <a:rPr lang="ru-RU" dirty="0" smtClean="0"/>
              <a:t>Автоматизированная система оперативной деятельности</a:t>
            </a:r>
            <a:r>
              <a:rPr lang="ru-RU" baseline="0" dirty="0" smtClean="0"/>
              <a:t> ОАО «ТрансКонтейнер», включающая в себя такие продукты </a:t>
            </a:r>
            <a:r>
              <a:rPr lang="en-US" baseline="0" dirty="0" smtClean="0"/>
              <a:t>Oracle </a:t>
            </a:r>
            <a:r>
              <a:rPr lang="ru-RU" baseline="0" dirty="0" smtClean="0"/>
              <a:t>как </a:t>
            </a:r>
            <a:r>
              <a:rPr lang="en-US" baseline="0" dirty="0" smtClean="0"/>
              <a:t>CRM, </a:t>
            </a:r>
            <a:r>
              <a:rPr lang="en-US" baseline="0" dirty="0" err="1" smtClean="0"/>
              <a:t>OTM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OeBS</a:t>
            </a:r>
            <a:r>
              <a:rPr lang="en-US" baseline="0" dirty="0" smtClean="0"/>
              <a:t> </a:t>
            </a:r>
            <a:r>
              <a:rPr lang="ru-RU" baseline="0" dirty="0" smtClean="0"/>
              <a:t>- к</a:t>
            </a:r>
            <a:r>
              <a:rPr lang="ru-RU" dirty="0" smtClean="0"/>
              <a:t>лючевой</a:t>
            </a:r>
            <a:r>
              <a:rPr lang="ru-RU" baseline="0" dirty="0" smtClean="0"/>
              <a:t> элемент, связывающий воедино все направления деятельности компании и агрегирующий всю информацию о клиентах, перевозочном процессе и взаиморасчетах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Функционал системы позволяет:</a:t>
            </a:r>
          </a:p>
          <a:p>
            <a:pPr marL="171639" indent="-171639">
              <a:buFontTx/>
              <a:buChar char="-"/>
            </a:pPr>
            <a:r>
              <a:rPr lang="ru-RU" baseline="0" dirty="0" smtClean="0"/>
              <a:t>Вести прогнозирование продаж</a:t>
            </a:r>
          </a:p>
          <a:p>
            <a:pPr marL="171639" indent="-171639">
              <a:buFontTx/>
              <a:buChar char="-"/>
            </a:pPr>
            <a:r>
              <a:rPr lang="ru-RU" baseline="0" dirty="0" smtClean="0"/>
              <a:t>Отслеживать потенциальные сделки</a:t>
            </a:r>
          </a:p>
          <a:p>
            <a:pPr marL="171639" indent="-171639">
              <a:buFontTx/>
              <a:buChar char="-"/>
            </a:pPr>
            <a:r>
              <a:rPr lang="ru-RU" baseline="0" dirty="0" smtClean="0"/>
              <a:t>Оптимизировать расходы соисполнителей</a:t>
            </a:r>
          </a:p>
          <a:p>
            <a:pPr marL="171639" indent="-171639">
              <a:buFontTx/>
              <a:buChar char="-"/>
            </a:pPr>
            <a:r>
              <a:rPr lang="ru-RU" baseline="0" dirty="0" smtClean="0"/>
              <a:t>Контролировать исполнение заказа</a:t>
            </a:r>
          </a:p>
          <a:p>
            <a:endParaRPr lang="ru-RU" baseline="0" dirty="0" smtClean="0"/>
          </a:p>
          <a:p>
            <a:r>
              <a:rPr lang="ru-RU" baseline="0" dirty="0" smtClean="0"/>
              <a:t>Система решает задачу ресурсного обеспечения и включает в себя более 300 000 транспортных решений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Ведется работа по развертыванию системы </a:t>
            </a:r>
            <a:r>
              <a:rPr lang="ru-RU" baseline="0" dirty="0" err="1" smtClean="0"/>
              <a:t>бизнес-аналитики</a:t>
            </a:r>
            <a:r>
              <a:rPr lang="ru-RU" baseline="0" dirty="0" smtClean="0"/>
              <a:t>, позволяющей получить любую информацию о работе компании по различным параметрам.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9296FC-A0D8-4206-BA7F-E184F60DCF6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этой связи по инициативе железных дорог России, Казахстана и Белоруссии  ведется работа по созданию Объединенной транспортно-логистической компании (ОТЛК). Насколько нам известно, в настоящий момент ОТЛК является одним из немногих реальных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бизнес-проект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, реализуемых в рамках интеграционных процессов в ЕЭП, и единственным, направленным на консолидацию инфраструктурных отраслей экономики стран Таможенного союза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355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629A3A-0D17-4899-8DA7-2B770DEF9120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91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8E3355-4286-40A9-860E-9C384D8F20E1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этой связи по инициативе железных дорог России, Казахстана и Белоруссии  ведется работа по созданию Объединенной транспортно-логистической компании (ОТЛК). Насколько нам известно, в настоящий момент ОТЛК является одним из немногих реальных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бизнес-проект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, реализуемых в рамках интеграционных процессов в ЕЭП, и единственным, направленным на консолидацию инфраструктурных отраслей экономики стран Таможенного союза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35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9286" indent="-229286">
              <a:buFont typeface="+mj-lt"/>
              <a:buAutoNum type="arabicPeriod"/>
            </a:pPr>
            <a:r>
              <a:rPr lang="ru-RU" dirty="0" smtClean="0"/>
              <a:t>Объединение ключевых транспортных активов в ОТЛК повышает нашу конкурентоспособность в борьбе за транзитные грузопотоки</a:t>
            </a:r>
          </a:p>
          <a:p>
            <a:pPr marL="229286" indent="-229286">
              <a:buFont typeface="+mj-lt"/>
              <a:buAutoNum type="arabicPeriod"/>
            </a:pPr>
            <a:r>
              <a:rPr lang="ru-RU" dirty="0" smtClean="0"/>
              <a:t>Единая транспортно-логистическая база ОТЛК позволит решить насущные задачи организации ускоренного и доступного транзита:</a:t>
            </a:r>
          </a:p>
          <a:p>
            <a:pPr marL="687858" lvl="1" indent="-229286">
              <a:buFont typeface="Arial" panose="020B0604020202020204" pitchFamily="34" charset="0"/>
              <a:buChar char="•"/>
            </a:pPr>
            <a:r>
              <a:rPr lang="ru-RU" dirty="0" smtClean="0"/>
              <a:t>мы предложим комплексную услугу в формате одного окна;</a:t>
            </a:r>
          </a:p>
          <a:p>
            <a:pPr marL="687858" lvl="1" indent="-229286">
              <a:buFont typeface="Arial" panose="020B0604020202020204" pitchFamily="34" charset="0"/>
              <a:buChar char="•"/>
            </a:pPr>
            <a:r>
              <a:rPr lang="ru-RU" dirty="0" smtClean="0"/>
              <a:t>мы получим единую переговорную позицию при взаимодействии с контрагентами;</a:t>
            </a:r>
          </a:p>
          <a:p>
            <a:pPr marL="687858" lvl="1" indent="-229286">
              <a:buFont typeface="Arial" panose="020B0604020202020204" pitchFamily="34" charset="0"/>
              <a:buChar char="•"/>
            </a:pPr>
            <a:r>
              <a:rPr lang="ru-RU" dirty="0" smtClean="0"/>
              <a:t>обеспечим сокращение сроков и себестоимости перевозки за счет внедрения единых стандартов и технолог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629A3A-0D17-4899-8DA7-2B770DEF912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91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ЛК - крупнейший сетевой международный контейнерный оператор на Евразийском пространстве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ирокая сеть терминалов, парк вагонов и контейнеров, позволяют создавать логистические продукты любого масштаба и сложности в соответствии с потребностями клиентов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Широкая сеть терминалов позволяет доставить груз в любую точку стран Таможенного союза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ерегрузочные терминалы на границе с Китаем (Забайкальск и </a:t>
            </a:r>
            <a:r>
              <a:rPr lang="ru-RU" sz="1200" dirty="0" err="1" smtClean="0">
                <a:solidFill>
                  <a:srgbClr val="000000"/>
                </a:solidFill>
              </a:rPr>
              <a:t>Достык</a:t>
            </a:r>
            <a:r>
              <a:rPr lang="ru-RU" sz="1200" dirty="0" smtClean="0">
                <a:solidFill>
                  <a:srgbClr val="000000"/>
                </a:solidFill>
              </a:rPr>
              <a:t>) </a:t>
            </a:r>
            <a:r>
              <a:rPr lang="ru-RU" sz="1200" dirty="0" err="1" smtClean="0">
                <a:solidFill>
                  <a:srgbClr val="000000"/>
                </a:solidFill>
              </a:rPr>
              <a:t>и</a:t>
            </a:r>
            <a:r>
              <a:rPr lang="ru-RU" sz="1200" dirty="0" smtClean="0">
                <a:solidFill>
                  <a:srgbClr val="000000"/>
                </a:solidFill>
              </a:rPr>
              <a:t> ЕС (Брест и Добра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Значительный парк</a:t>
            </a:r>
            <a:r>
              <a:rPr lang="en-US" sz="1200" dirty="0" smtClean="0">
                <a:solidFill>
                  <a:srgbClr val="000000"/>
                </a:solidFill>
              </a:rPr>
              <a:t> ISO-</a:t>
            </a:r>
            <a:r>
              <a:rPr lang="ru-RU" sz="1200" dirty="0" smtClean="0">
                <a:solidFill>
                  <a:srgbClr val="000000"/>
                </a:solidFill>
              </a:rPr>
              <a:t>контейнеров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гарантирует постоянное  наличие оборудования в Китае и Европе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8E3355-4286-40A9-860E-9C384D8F20E1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ТЛК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8E3355-4286-40A9-860E-9C384D8F20E1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3775" y="769938"/>
            <a:ext cx="5119688" cy="3840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9246" indent="-229246">
              <a:buFont typeface="+mj-lt"/>
              <a:buAutoNum type="arabicPeriod"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5606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b="1" dirty="0" smtClean="0">
                <a:latin typeface="Arial" charset="0"/>
                <a:cs typeface="Arial" charset="0"/>
              </a:rPr>
              <a:t>Развитие интегрированных </a:t>
            </a:r>
            <a:r>
              <a:rPr lang="ru-RU" b="1" dirty="0" err="1" smtClean="0">
                <a:latin typeface="Arial" charset="0"/>
                <a:cs typeface="Arial" charset="0"/>
              </a:rPr>
              <a:t>логистических</a:t>
            </a:r>
            <a:r>
              <a:rPr lang="ru-RU" b="1" dirty="0" smtClean="0">
                <a:latin typeface="Arial" charset="0"/>
                <a:cs typeface="Arial" charset="0"/>
              </a:rPr>
              <a:t> услуг</a:t>
            </a:r>
            <a:endParaRPr lang="ru-RU" dirty="0" smtClean="0">
              <a:latin typeface="Arial" charset="0"/>
              <a:cs typeface="Arial" charset="0"/>
            </a:endParaRPr>
          </a:p>
          <a:p>
            <a:r>
              <a:rPr lang="ru-RU" dirty="0" smtClean="0">
                <a:latin typeface="Arial" charset="0"/>
                <a:cs typeface="Arial" charset="0"/>
              </a:rPr>
              <a:t>Руководство компании уверено, что спрос на интегрированные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е</a:t>
            </a:r>
            <a:r>
              <a:rPr lang="ru-RU" dirty="0" smtClean="0">
                <a:latin typeface="Arial" charset="0"/>
                <a:cs typeface="Arial" charset="0"/>
              </a:rPr>
              <a:t> услуги в России, будет продолжать расти и развиваться, стремясь достигнуть уровня более развитых рынков, где спрос на такие услуги значительно выше. Чтобы использовать все преимущества растущего рынка, Компания намерена предлагать комплексные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е</a:t>
            </a:r>
            <a:r>
              <a:rPr lang="ru-RU" dirty="0" smtClean="0">
                <a:latin typeface="Arial" charset="0"/>
                <a:cs typeface="Arial" charset="0"/>
              </a:rPr>
              <a:t> решения уже имеющимся и новым клиентам, а также расширить диапазон интегрированных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х</a:t>
            </a:r>
            <a:r>
              <a:rPr lang="ru-RU" dirty="0" smtClean="0">
                <a:latin typeface="Arial" charset="0"/>
                <a:cs typeface="Arial" charset="0"/>
              </a:rPr>
              <a:t> услуг с высокой добавленной стоимостью, оптимизировать базу активов и IT-инфраструктуру.</a:t>
            </a:r>
          </a:p>
          <a:p>
            <a:endParaRPr lang="ru-RU" dirty="0"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9296FC-A0D8-4206-BA7F-E184F60DCF6B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b="1" dirty="0" smtClean="0">
                <a:latin typeface="Arial" charset="0"/>
                <a:cs typeface="Arial" charset="0"/>
              </a:rPr>
              <a:t>Развитие интегрированных </a:t>
            </a:r>
            <a:r>
              <a:rPr lang="ru-RU" b="1" dirty="0" err="1" smtClean="0">
                <a:latin typeface="Arial" charset="0"/>
                <a:cs typeface="Arial" charset="0"/>
              </a:rPr>
              <a:t>логистических</a:t>
            </a:r>
            <a:r>
              <a:rPr lang="ru-RU" b="1" dirty="0" smtClean="0">
                <a:latin typeface="Arial" charset="0"/>
                <a:cs typeface="Arial" charset="0"/>
              </a:rPr>
              <a:t> услуг</a:t>
            </a:r>
            <a:endParaRPr lang="ru-RU" dirty="0" smtClean="0">
              <a:latin typeface="Arial" charset="0"/>
              <a:cs typeface="Arial" charset="0"/>
            </a:endParaRPr>
          </a:p>
          <a:p>
            <a:r>
              <a:rPr lang="ru-RU" dirty="0" smtClean="0">
                <a:latin typeface="Arial" charset="0"/>
                <a:cs typeface="Arial" charset="0"/>
              </a:rPr>
              <a:t>Руководство компании уверено, что спрос на интегрированные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е</a:t>
            </a:r>
            <a:r>
              <a:rPr lang="ru-RU" dirty="0" smtClean="0">
                <a:latin typeface="Arial" charset="0"/>
                <a:cs typeface="Arial" charset="0"/>
              </a:rPr>
              <a:t> услуги в России, будет продолжать расти и развиваться, стремясь достигнуть уровня более развитых рынков, где спрос на такие услуги значительно выше. Чтобы использовать все преимущества растущего рынка, Компания намерена предлагать комплексные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е</a:t>
            </a:r>
            <a:r>
              <a:rPr lang="ru-RU" dirty="0" smtClean="0">
                <a:latin typeface="Arial" charset="0"/>
                <a:cs typeface="Arial" charset="0"/>
              </a:rPr>
              <a:t> решения уже имеющимся и новым клиентам, а также расширить диапазон интегрированных </a:t>
            </a:r>
            <a:r>
              <a:rPr lang="ru-RU" dirty="0" err="1" smtClean="0">
                <a:latin typeface="Arial" charset="0"/>
                <a:cs typeface="Arial" charset="0"/>
              </a:rPr>
              <a:t>логистических</a:t>
            </a:r>
            <a:r>
              <a:rPr lang="ru-RU" dirty="0" smtClean="0">
                <a:latin typeface="Arial" charset="0"/>
                <a:cs typeface="Arial" charset="0"/>
              </a:rPr>
              <a:t> услуг с высокой добавленной стоимостью, оптимизировать базу активов и IT-инфраструктуру.</a:t>
            </a:r>
          </a:p>
          <a:p>
            <a:endParaRPr lang="ru-RU" dirty="0"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9296FC-A0D8-4206-BA7F-E184F60DCF6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нижение стоимости перевозки тонны сырья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оказании комплекса ТЭУ по внешней и внутренней логистики</a:t>
            </a:r>
          </a:p>
          <a:p>
            <a:pPr>
              <a:spcAft>
                <a:spcPts val="600"/>
              </a:spcAft>
            </a:pP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 </a:t>
            </a: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,8%</a:t>
            </a:r>
            <a:endParaRPr lang="ru-RU" sz="12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625" indent="-174625">
              <a:lnSpc>
                <a:spcPct val="85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нижение на 25%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стоя нахождения вагонов на подъездном пути за счет оптимизации маневровой работы</a:t>
            </a:r>
          </a:p>
          <a:p>
            <a:pPr marL="174625" indent="-174625">
              <a:lnSpc>
                <a:spcPct val="85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свобождение 34 штатных единиц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при этом производительность труда работников выросла на 32%</a:t>
            </a:r>
          </a:p>
          <a:p>
            <a:pPr marL="174625" indent="-174625">
              <a:lnSpc>
                <a:spcPct val="85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казы технических средств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ЖД инфраструктуры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ведены к нулю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сравнению с предыдущим периодом (23 отказа)</a:t>
            </a:r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ru-RU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4625" marR="0" indent="-174625" algn="l" defTabSz="914400" rtl="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ru-RU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кращение общего простоя поездов и сокращение затрат участников ОЭЗ. </a:t>
            </a:r>
          </a:p>
          <a:p>
            <a:pPr marL="174625" indent="-174625">
              <a:lnSpc>
                <a:spcPct val="85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endParaRPr lang="ru-RU" sz="11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8E3355-4286-40A9-860E-9C384D8F20E1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607" name="Rectangle 39"/>
          <p:cNvSpPr>
            <a:spLocks noGrp="1" noChangeArrowheads="1"/>
          </p:cNvSpPr>
          <p:nvPr>
            <p:ph type="subTitle" idx="1"/>
          </p:nvPr>
        </p:nvSpPr>
        <p:spPr>
          <a:xfrm>
            <a:off x="2727956" y="2714622"/>
            <a:ext cx="6416045" cy="900113"/>
          </a:xfrm>
          <a:ln/>
        </p:spPr>
        <p:txBody>
          <a:bodyPr tIns="10800" bIns="10800"/>
          <a:lstStyle>
            <a:lvl1pPr marL="0" indent="0" algn="ctr">
              <a:defRPr smtClean="0"/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sub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229884" y="76200"/>
            <a:ext cx="1955450" cy="6049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3536" y="76200"/>
            <a:ext cx="5725627" cy="60499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C7D2CB-D02C-4AC5-8380-9147C75F21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AA31FD-EF7F-472A-8C44-DE2FE76453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2127" y="0"/>
            <a:ext cx="8770208" cy="65881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5842" y="766768"/>
            <a:ext cx="8718902" cy="55387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297BEA-1053-4585-B6AF-A21764F680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FBA93E-1EFE-497B-A017-5E50107156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4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9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1" y="8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8" y="6378584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5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7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4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9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1" y="8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8" y="6378584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5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7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4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9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1" y="8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8" y="6378584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5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7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4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9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1" y="8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8" y="6378584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5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7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3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7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0" y="6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7" y="6378582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3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6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3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7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0" y="6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7" y="6378582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3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6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/>
          <p:cNvSpPr>
            <a:spLocks noChangeArrowheads="1"/>
          </p:cNvSpPr>
          <p:nvPr/>
        </p:nvSpPr>
        <p:spPr bwMode="auto">
          <a:xfrm>
            <a:off x="3" y="0"/>
            <a:ext cx="152449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0" y="6381757"/>
            <a:ext cx="1936394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7" name="Line 32"/>
          <p:cNvSpPr>
            <a:spLocks noChangeShapeType="1"/>
          </p:cNvSpPr>
          <p:nvPr/>
        </p:nvSpPr>
        <p:spPr bwMode="auto">
          <a:xfrm flipH="1" flipV="1">
            <a:off x="0" y="679224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>
              <a:latin typeface="Tahoma" pitchFamily="34" charset="0"/>
              <a:cs typeface="+mn-cs"/>
            </a:endParaRPr>
          </a:p>
        </p:txBody>
      </p:sp>
      <p:sp>
        <p:nvSpPr>
          <p:cNvPr id="8" name="Text Box 32"/>
          <p:cNvSpPr txBox="1">
            <a:spLocks noChangeArrowheads="1"/>
          </p:cNvSpPr>
          <p:nvPr/>
        </p:nvSpPr>
        <p:spPr bwMode="auto">
          <a:xfrm>
            <a:off x="6401390" y="6"/>
            <a:ext cx="27426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800">
              <a:cs typeface="+mn-cs"/>
            </a:endParaRPr>
          </a:p>
        </p:txBody>
      </p:sp>
      <p:sp>
        <p:nvSpPr>
          <p:cNvPr id="26" name="Rectangle 30"/>
          <p:cNvSpPr>
            <a:spLocks noChangeArrowheads="1"/>
          </p:cNvSpPr>
          <p:nvPr userDrawn="1"/>
        </p:nvSpPr>
        <p:spPr bwMode="gray">
          <a:xfrm>
            <a:off x="7201747" y="6378582"/>
            <a:ext cx="1936393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96" y="3"/>
            <a:ext cx="8989404" cy="631063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10346" y="6419850"/>
            <a:ext cx="88000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C0D5AE-42F5-4B75-9746-C72C4F5D09A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2679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5140D5-1A07-4810-9503-B4F7B562CB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C11F11-D3B5-426C-ABBE-AB772F0CAD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965" y="4406907"/>
            <a:ext cx="7176823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6965" y="2906713"/>
            <a:ext cx="717682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75C0C5-785A-44BD-8948-ABD470B8C4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23EE0A-FF2E-46C6-9024-9DE45BC1EF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3534" y="1066807"/>
            <a:ext cx="3840539" cy="5059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44793" y="1066807"/>
            <a:ext cx="3840539" cy="5059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3282CF-98DC-40E5-A81B-3B7B19467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BFAC8D-83B0-46B9-98DD-929D6A7E1C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166" y="274638"/>
            <a:ext cx="759898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167" y="1535113"/>
            <a:ext cx="37306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2167" y="2174875"/>
            <a:ext cx="3730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89093" y="1535113"/>
            <a:ext cx="373206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89093" y="2174875"/>
            <a:ext cx="373206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6AF2CC-A71C-4015-AF96-82E7F14E59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63E3BF-B2AF-405B-AC64-CB20094513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3253-17C9-4B25-B5B3-A2B177AF5B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D062A-821D-4B26-A526-E3D85239D7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168" y="273050"/>
            <a:ext cx="277779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1105" y="273052"/>
            <a:ext cx="47200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22168" y="1435102"/>
            <a:ext cx="277779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3214B-01CB-4DBD-8488-7E5FEEB3C0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FF4BD3-CC27-4068-B963-F4A03C72E3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4951" y="4800600"/>
            <a:ext cx="5065993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654951" y="612775"/>
            <a:ext cx="5065993" cy="4114800"/>
          </a:xfrm>
        </p:spPr>
        <p:txBody>
          <a:bodyPr lIns="91440" tIns="45720" rIns="91440" bIns="4572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54951" y="5367338"/>
            <a:ext cx="5065993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15C34-B1BB-46E4-A207-1A18A359FC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98B557-7D31-4014-9BD3-39607AF894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A9BB4B-8881-4EC7-A8F2-91110E4BB9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048655" y="6459560"/>
            <a:ext cx="666750" cy="2555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EBB0CB-C0E0-448C-8763-CF5B975106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82" name="Rectangle 38"/>
          <p:cNvSpPr>
            <a:spLocks noChangeArrowheads="1"/>
          </p:cNvSpPr>
          <p:nvPr/>
        </p:nvSpPr>
        <p:spPr bwMode="auto">
          <a:xfrm>
            <a:off x="0" y="0"/>
            <a:ext cx="152400" cy="6858000"/>
          </a:xfrm>
          <a:prstGeom prst="rect">
            <a:avLst/>
          </a:prstGeom>
          <a:solidFill>
            <a:srgbClr val="C0C0C0"/>
          </a:solidFill>
          <a:ln w="25400" cap="rnd" algn="ctr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ahoma" pitchFamily="34" charset="0"/>
              <a:cs typeface="+mn-cs"/>
            </a:endParaRPr>
          </a:p>
        </p:txBody>
      </p:sp>
      <p:sp>
        <p:nvSpPr>
          <p:cNvPr id="236574" name="Rectangle 30"/>
          <p:cNvSpPr>
            <a:spLocks noChangeArrowheads="1"/>
          </p:cNvSpPr>
          <p:nvPr/>
        </p:nvSpPr>
        <p:spPr bwMode="gray">
          <a:xfrm>
            <a:off x="0" y="6381752"/>
            <a:ext cx="1936750" cy="42863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2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  <p:sp>
        <p:nvSpPr>
          <p:cNvPr id="236576" name="Line 32"/>
          <p:cNvSpPr>
            <a:spLocks noChangeShapeType="1"/>
          </p:cNvSpPr>
          <p:nvPr/>
        </p:nvSpPr>
        <p:spPr bwMode="auto">
          <a:xfrm flipH="1" flipV="1">
            <a:off x="0" y="685800"/>
            <a:ext cx="9144000" cy="6350"/>
          </a:xfrm>
          <a:prstGeom prst="line">
            <a:avLst/>
          </a:prstGeom>
          <a:noFill/>
          <a:ln w="76200">
            <a:pattFill prst="narHorz">
              <a:fgClr>
                <a:schemeClr val="bg2"/>
              </a:fgClr>
              <a:bgClr>
                <a:srgbClr val="FFFFFF"/>
              </a:bgClr>
            </a:patt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ahoma" pitchFamily="34" charset="0"/>
              <a:cs typeface="+mn-cs"/>
            </a:endParaRPr>
          </a:p>
        </p:txBody>
      </p:sp>
      <p:sp>
        <p:nvSpPr>
          <p:cNvPr id="205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2413" y="0"/>
            <a:ext cx="8769350" cy="658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18000" tIns="18288" rIns="18000" bIns="182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205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50" y="766765"/>
            <a:ext cx="8718550" cy="55387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18000" tIns="18288" rIns="18000" bIns="182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056" name="Text Box 32"/>
          <p:cNvSpPr txBox="1">
            <a:spLocks noChangeArrowheads="1"/>
          </p:cNvSpPr>
          <p:nvPr/>
        </p:nvSpPr>
        <p:spPr bwMode="auto">
          <a:xfrm>
            <a:off x="6400800" y="1"/>
            <a:ext cx="2743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grpSp>
        <p:nvGrpSpPr>
          <p:cNvPr id="2056" name="Group 41"/>
          <p:cNvGrpSpPr>
            <a:grpSpLocks/>
          </p:cNvGrpSpPr>
          <p:nvPr/>
        </p:nvGrpSpPr>
        <p:grpSpPr bwMode="auto">
          <a:xfrm>
            <a:off x="-981075" y="762002"/>
            <a:ext cx="838200" cy="4340225"/>
            <a:chOff x="-672" y="480"/>
            <a:chExt cx="528" cy="2734"/>
          </a:xfrm>
        </p:grpSpPr>
        <p:sp>
          <p:nvSpPr>
            <p:cNvPr id="35" name="Rectangle 44"/>
            <p:cNvSpPr>
              <a:spLocks noChangeArrowheads="1"/>
            </p:cNvSpPr>
            <p:nvPr/>
          </p:nvSpPr>
          <p:spPr bwMode="auto">
            <a:xfrm>
              <a:off x="-672" y="480"/>
              <a:ext cx="528" cy="192"/>
            </a:xfrm>
            <a:prstGeom prst="rect">
              <a:avLst/>
            </a:prstGeom>
            <a:solidFill>
              <a:srgbClr val="003570"/>
            </a:solidFill>
            <a:ln w="9525">
              <a:noFill/>
              <a:miter lim="800000"/>
              <a:headEnd/>
              <a:tailEnd/>
            </a:ln>
          </p:spPr>
          <p:txBody>
            <a:bodyPr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>
                  <a:solidFill>
                    <a:schemeClr val="bg1"/>
                  </a:solidFill>
                  <a:latin typeface="+mn-lt"/>
                  <a:cs typeface="+mn-cs"/>
                </a:rPr>
                <a:t>0/53/112</a:t>
              </a:r>
              <a:endParaRPr lang="ru-RU" sz="900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grpSp>
          <p:nvGrpSpPr>
            <p:cNvPr id="2077" name="Group 43"/>
            <p:cNvGrpSpPr>
              <a:grpSpLocks/>
            </p:cNvGrpSpPr>
            <p:nvPr userDrawn="1"/>
          </p:nvGrpSpPr>
          <p:grpSpPr bwMode="auto">
            <a:xfrm>
              <a:off x="-672" y="736"/>
              <a:ext cx="528" cy="446"/>
              <a:chOff x="-1236" y="736"/>
              <a:chExt cx="528" cy="446"/>
            </a:xfrm>
          </p:grpSpPr>
          <p:sp>
            <p:nvSpPr>
              <p:cNvPr id="27" name="Rectangle 36"/>
              <p:cNvSpPr>
                <a:spLocks noChangeArrowheads="1"/>
              </p:cNvSpPr>
              <p:nvPr userDrawn="1"/>
            </p:nvSpPr>
            <p:spPr bwMode="auto">
              <a:xfrm>
                <a:off x="-1236" y="736"/>
                <a:ext cx="528" cy="192"/>
              </a:xfrm>
              <a:prstGeom prst="rect">
                <a:avLst/>
              </a:prstGeom>
              <a:solidFill>
                <a:srgbClr val="0379C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chemeClr val="bg1"/>
                    </a:solidFill>
                    <a:latin typeface="+mn-lt"/>
                    <a:cs typeface="+mn-cs"/>
                  </a:rPr>
                  <a:t>3/121/193</a:t>
                </a:r>
                <a:endParaRPr lang="ru-RU" sz="900">
                  <a:solidFill>
                    <a:schemeClr val="bg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28" name="Rectangle 37"/>
              <p:cNvSpPr>
                <a:spLocks noChangeArrowheads="1"/>
              </p:cNvSpPr>
              <p:nvPr userDrawn="1"/>
            </p:nvSpPr>
            <p:spPr bwMode="auto">
              <a:xfrm>
                <a:off x="-1236" y="992"/>
                <a:ext cx="528" cy="190"/>
              </a:xfrm>
              <a:prstGeom prst="rect">
                <a:avLst/>
              </a:prstGeom>
              <a:solidFill>
                <a:srgbClr val="7EDCF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126/220/254</a:t>
                </a:r>
                <a:endParaRPr lang="ru-RU" sz="900">
                  <a:latin typeface="+mn-lt"/>
                  <a:cs typeface="+mn-cs"/>
                </a:endParaRPr>
              </a:p>
            </p:txBody>
          </p:sp>
        </p:grpSp>
        <p:grpSp>
          <p:nvGrpSpPr>
            <p:cNvPr id="2078" name="Group 46"/>
            <p:cNvGrpSpPr>
              <a:grpSpLocks/>
            </p:cNvGrpSpPr>
            <p:nvPr userDrawn="1"/>
          </p:nvGrpSpPr>
          <p:grpSpPr bwMode="auto">
            <a:xfrm>
              <a:off x="-672" y="1246"/>
              <a:ext cx="528" cy="444"/>
              <a:chOff x="-672" y="1754"/>
              <a:chExt cx="528" cy="444"/>
            </a:xfrm>
          </p:grpSpPr>
          <p:sp>
            <p:nvSpPr>
              <p:cNvPr id="29" name="Rectangle 38"/>
              <p:cNvSpPr>
                <a:spLocks noChangeArrowheads="1"/>
              </p:cNvSpPr>
              <p:nvPr/>
            </p:nvSpPr>
            <p:spPr bwMode="auto">
              <a:xfrm>
                <a:off x="-672" y="1754"/>
                <a:ext cx="528" cy="190"/>
              </a:xfrm>
              <a:prstGeom prst="rect">
                <a:avLst/>
              </a:prstGeom>
              <a:solidFill>
                <a:srgbClr val="EA5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234/95/0</a:t>
                </a:r>
                <a:endParaRPr lang="ru-RU" sz="900">
                  <a:latin typeface="+mn-lt"/>
                  <a:cs typeface="+mn-cs"/>
                </a:endParaRPr>
              </a:p>
            </p:txBody>
          </p:sp>
          <p:sp>
            <p:nvSpPr>
              <p:cNvPr id="30" name="Rectangle 39"/>
              <p:cNvSpPr>
                <a:spLocks noChangeArrowheads="1"/>
              </p:cNvSpPr>
              <p:nvPr/>
            </p:nvSpPr>
            <p:spPr bwMode="auto">
              <a:xfrm>
                <a:off x="-672" y="2008"/>
                <a:ext cx="528" cy="190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255/153/0</a:t>
                </a:r>
                <a:endParaRPr lang="ru-RU" sz="900">
                  <a:latin typeface="+mn-lt"/>
                  <a:cs typeface="+mn-cs"/>
                </a:endParaRPr>
              </a:p>
            </p:txBody>
          </p:sp>
        </p:grpSp>
        <p:grpSp>
          <p:nvGrpSpPr>
            <p:cNvPr id="2079" name="Group 49"/>
            <p:cNvGrpSpPr>
              <a:grpSpLocks/>
            </p:cNvGrpSpPr>
            <p:nvPr userDrawn="1"/>
          </p:nvGrpSpPr>
          <p:grpSpPr bwMode="auto">
            <a:xfrm>
              <a:off x="-672" y="2262"/>
              <a:ext cx="528" cy="444"/>
              <a:chOff x="-1236" y="1246"/>
              <a:chExt cx="528" cy="444"/>
            </a:xfrm>
          </p:grpSpPr>
          <p:sp>
            <p:nvSpPr>
              <p:cNvPr id="36" name="Rectangle 45"/>
              <p:cNvSpPr>
                <a:spLocks noChangeArrowheads="1"/>
              </p:cNvSpPr>
              <p:nvPr userDrawn="1"/>
            </p:nvSpPr>
            <p:spPr bwMode="auto">
              <a:xfrm>
                <a:off x="-1236" y="1246"/>
                <a:ext cx="528" cy="190"/>
              </a:xfrm>
              <a:prstGeom prst="rect">
                <a:avLst/>
              </a:prstGeom>
              <a:solidFill>
                <a:srgbClr val="70767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solidFill>
                      <a:schemeClr val="bg1"/>
                    </a:solidFill>
                    <a:latin typeface="+mn-lt"/>
                    <a:cs typeface="+mn-cs"/>
                  </a:rPr>
                  <a:t>112/118/126</a:t>
                </a:r>
                <a:endParaRPr lang="ru-RU" sz="900">
                  <a:solidFill>
                    <a:schemeClr val="bg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7" name="Rectangle 46"/>
              <p:cNvSpPr>
                <a:spLocks noChangeArrowheads="1"/>
              </p:cNvSpPr>
              <p:nvPr userDrawn="1"/>
            </p:nvSpPr>
            <p:spPr bwMode="auto">
              <a:xfrm>
                <a:off x="-1236" y="1500"/>
                <a:ext cx="528" cy="190"/>
              </a:xfrm>
              <a:prstGeom prst="rect">
                <a:avLst/>
              </a:prstGeom>
              <a:solidFill>
                <a:srgbClr val="CACDD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202/205/208</a:t>
                </a:r>
                <a:endParaRPr lang="ru-RU" sz="900">
                  <a:latin typeface="+mn-lt"/>
                  <a:cs typeface="+mn-cs"/>
                </a:endParaRPr>
              </a:p>
            </p:txBody>
          </p:sp>
        </p:grpSp>
        <p:grpSp>
          <p:nvGrpSpPr>
            <p:cNvPr id="2080" name="Group 52"/>
            <p:cNvGrpSpPr>
              <a:grpSpLocks/>
            </p:cNvGrpSpPr>
            <p:nvPr userDrawn="1"/>
          </p:nvGrpSpPr>
          <p:grpSpPr bwMode="auto">
            <a:xfrm>
              <a:off x="-672" y="1754"/>
              <a:ext cx="528" cy="444"/>
              <a:chOff x="-1236" y="2516"/>
              <a:chExt cx="528" cy="444"/>
            </a:xfrm>
          </p:grpSpPr>
          <p:sp>
            <p:nvSpPr>
              <p:cNvPr id="33" name="Rectangle 42"/>
              <p:cNvSpPr>
                <a:spLocks noChangeArrowheads="1"/>
              </p:cNvSpPr>
              <p:nvPr userDrawn="1"/>
            </p:nvSpPr>
            <p:spPr bwMode="auto">
              <a:xfrm>
                <a:off x="-1236" y="2516"/>
                <a:ext cx="528" cy="190"/>
              </a:xfrm>
              <a:prstGeom prst="rect">
                <a:avLst/>
              </a:prstGeom>
              <a:solidFill>
                <a:srgbClr val="85C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133/200/0</a:t>
                </a:r>
                <a:endParaRPr lang="ru-RU" sz="900">
                  <a:latin typeface="+mn-lt"/>
                  <a:cs typeface="+mn-cs"/>
                </a:endParaRPr>
              </a:p>
            </p:txBody>
          </p:sp>
          <p:sp>
            <p:nvSpPr>
              <p:cNvPr id="34" name="Rectangle 43"/>
              <p:cNvSpPr>
                <a:spLocks noChangeArrowheads="1"/>
              </p:cNvSpPr>
              <p:nvPr userDrawn="1"/>
            </p:nvSpPr>
            <p:spPr bwMode="auto">
              <a:xfrm>
                <a:off x="-1236" y="2770"/>
                <a:ext cx="528" cy="190"/>
              </a:xfrm>
              <a:prstGeom prst="rect">
                <a:avLst/>
              </a:prstGeom>
              <a:solidFill>
                <a:srgbClr val="DEFF9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anchor="ctr" anchorCtr="1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>
                    <a:latin typeface="+mn-lt"/>
                    <a:cs typeface="+mn-cs"/>
                  </a:rPr>
                  <a:t>222/255/155</a:t>
                </a:r>
                <a:endParaRPr lang="ru-RU" sz="900">
                  <a:latin typeface="+mn-lt"/>
                  <a:cs typeface="+mn-cs"/>
                </a:endParaRPr>
              </a:p>
            </p:txBody>
          </p:sp>
        </p:grpSp>
        <p:sp>
          <p:nvSpPr>
            <p:cNvPr id="31" name="Rectangle 40"/>
            <p:cNvSpPr>
              <a:spLocks noChangeArrowheads="1"/>
            </p:cNvSpPr>
            <p:nvPr userDrawn="1"/>
          </p:nvSpPr>
          <p:spPr bwMode="auto">
            <a:xfrm>
              <a:off x="-672" y="2770"/>
              <a:ext cx="528" cy="190"/>
            </a:xfrm>
            <a:prstGeom prst="rect">
              <a:avLst/>
            </a:prstGeom>
            <a:solidFill>
              <a:srgbClr val="FFE269"/>
            </a:solidFill>
            <a:ln w="9525">
              <a:noFill/>
              <a:miter lim="800000"/>
              <a:headEnd/>
              <a:tailEnd/>
            </a:ln>
          </p:spPr>
          <p:txBody>
            <a:bodyPr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>
                  <a:latin typeface="+mn-lt"/>
                  <a:cs typeface="+mn-cs"/>
                </a:rPr>
                <a:t>255/226/105</a:t>
              </a:r>
              <a:endParaRPr lang="ru-RU" sz="900">
                <a:latin typeface="+mn-lt"/>
                <a:cs typeface="+mn-cs"/>
              </a:endParaRPr>
            </a:p>
          </p:txBody>
        </p:sp>
        <p:sp>
          <p:nvSpPr>
            <p:cNvPr id="2" name="Rectangle 40"/>
            <p:cNvSpPr>
              <a:spLocks noChangeArrowheads="1"/>
            </p:cNvSpPr>
            <p:nvPr userDrawn="1"/>
          </p:nvSpPr>
          <p:spPr bwMode="auto">
            <a:xfrm>
              <a:off x="-672" y="3024"/>
              <a:ext cx="528" cy="190"/>
            </a:xfrm>
            <a:prstGeom prst="rect">
              <a:avLst/>
            </a:prstGeom>
            <a:solidFill>
              <a:srgbClr val="EFFBBB"/>
            </a:solidFill>
            <a:ln w="9525">
              <a:noFill/>
              <a:miter lim="800000"/>
              <a:headEnd/>
              <a:tailEnd/>
            </a:ln>
          </p:spPr>
          <p:txBody>
            <a:bodyPr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>
                  <a:latin typeface="+mn-lt"/>
                  <a:cs typeface="+mn-cs"/>
                </a:rPr>
                <a:t>239/251/187</a:t>
              </a:r>
              <a:endParaRPr lang="ru-RU" sz="900">
                <a:latin typeface="+mn-lt"/>
                <a:cs typeface="+mn-cs"/>
              </a:endParaRPr>
            </a:p>
          </p:txBody>
        </p:sp>
      </p:grp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48655" y="6459560"/>
            <a:ext cx="66675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8000" tIns="10800" rIns="18000" bIns="10800" numCol="1" anchor="b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CEC76F5-5A4E-4C1D-97B9-C11F7B7FE1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48655" y="6459560"/>
            <a:ext cx="666750" cy="255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18000" tIns="10800" rIns="18000" bIns="10800" numCol="1" anchor="b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5BAF09B-6C5E-4467-9292-524B13F08A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Rectangle 30"/>
          <p:cNvSpPr>
            <a:spLocks noChangeArrowheads="1"/>
          </p:cNvSpPr>
          <p:nvPr/>
        </p:nvSpPr>
        <p:spPr bwMode="gray">
          <a:xfrm>
            <a:off x="7202488" y="6378577"/>
            <a:ext cx="1935162" cy="42863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1" lang="en-US" sz="2400">
              <a:latin typeface="Tahoma" pitchFamily="34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8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436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436C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436C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436C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436C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SzPct val="60000"/>
        <a:buFont typeface="Wingdings" pitchFamily="2" charset="2"/>
        <a:defRPr sz="2000">
          <a:solidFill>
            <a:srgbClr val="003366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6699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  <a:cs typeface="+mn-cs"/>
        </a:defRPr>
      </a:lvl2pPr>
      <a:lvl3pPr marL="717550" indent="-1793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9999"/>
        </a:buClr>
        <a:buSzPct val="65000"/>
        <a:buFont typeface="Wingdings" pitchFamily="2" charset="2"/>
        <a:buChar char="n"/>
        <a:defRPr sz="1400">
          <a:solidFill>
            <a:schemeClr val="tx1"/>
          </a:solidFill>
          <a:latin typeface="+mn-lt"/>
          <a:cs typeface="+mn-cs"/>
        </a:defRPr>
      </a:lvl3pPr>
      <a:lvl4pPr marL="1076325" indent="-1793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33CC"/>
        </a:buClr>
        <a:buSzPct val="65000"/>
        <a:buFont typeface="Wingdings" pitchFamily="2" charset="2"/>
        <a:buChar char="n"/>
        <a:defRPr sz="1200">
          <a:solidFill>
            <a:schemeClr val="tx1"/>
          </a:solidFill>
          <a:latin typeface="+mn-lt"/>
          <a:cs typeface="+mn-cs"/>
        </a:defRPr>
      </a:lvl4pPr>
      <a:lvl5pPr marL="1435100" indent="-1793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n"/>
        <a:defRPr sz="1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8.jpeg"/><Relationship Id="rId18" Type="http://schemas.openxmlformats.org/officeDocument/2006/relationships/image" Target="../media/image61.png"/><Relationship Id="rId26" Type="http://schemas.openxmlformats.org/officeDocument/2006/relationships/image" Target="../media/image69.png"/><Relationship Id="rId3" Type="http://schemas.openxmlformats.org/officeDocument/2006/relationships/image" Target="../media/image49.jpeg"/><Relationship Id="rId21" Type="http://schemas.openxmlformats.org/officeDocument/2006/relationships/image" Target="../media/image64.png"/><Relationship Id="rId7" Type="http://schemas.openxmlformats.org/officeDocument/2006/relationships/image" Target="../media/image53.png"/><Relationship Id="rId12" Type="http://schemas.openxmlformats.org/officeDocument/2006/relationships/image" Target="../media/image57.png"/><Relationship Id="rId17" Type="http://schemas.openxmlformats.org/officeDocument/2006/relationships/image" Target="../media/image60.png"/><Relationship Id="rId25" Type="http://schemas.openxmlformats.org/officeDocument/2006/relationships/image" Target="../media/image68.jpeg"/><Relationship Id="rId2" Type="http://schemas.openxmlformats.org/officeDocument/2006/relationships/notesSlide" Target="../notesSlides/notesSlide9.xml"/><Relationship Id="rId16" Type="http://schemas.openxmlformats.org/officeDocument/2006/relationships/image" Target="cid:image001.jpg@01CE2C90.66B5B420" TargetMode="External"/><Relationship Id="rId20" Type="http://schemas.openxmlformats.org/officeDocument/2006/relationships/image" Target="../media/image63.png"/><Relationship Id="rId29" Type="http://schemas.openxmlformats.org/officeDocument/2006/relationships/image" Target="../media/image72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2.png"/><Relationship Id="rId11" Type="http://schemas.openxmlformats.org/officeDocument/2006/relationships/image" Target="../media/image56.png"/><Relationship Id="rId24" Type="http://schemas.openxmlformats.org/officeDocument/2006/relationships/image" Target="../media/image67.png"/><Relationship Id="rId5" Type="http://schemas.openxmlformats.org/officeDocument/2006/relationships/image" Target="../media/image51.png"/><Relationship Id="rId15" Type="http://schemas.openxmlformats.org/officeDocument/2006/relationships/image" Target="../media/image59.jpeg"/><Relationship Id="rId23" Type="http://schemas.openxmlformats.org/officeDocument/2006/relationships/image" Target="../media/image66.jpeg"/><Relationship Id="rId28" Type="http://schemas.openxmlformats.org/officeDocument/2006/relationships/image" Target="../media/image71.png"/><Relationship Id="rId10" Type="http://schemas.openxmlformats.org/officeDocument/2006/relationships/image" Target="../media/image10.png"/><Relationship Id="rId19" Type="http://schemas.openxmlformats.org/officeDocument/2006/relationships/image" Target="../media/image62.png"/><Relationship Id="rId4" Type="http://schemas.openxmlformats.org/officeDocument/2006/relationships/image" Target="../media/image50.gif"/><Relationship Id="rId9" Type="http://schemas.openxmlformats.org/officeDocument/2006/relationships/image" Target="../media/image55.png"/><Relationship Id="rId14" Type="http://schemas.openxmlformats.org/officeDocument/2006/relationships/image" Target="cid:image002.jpg@01CE2C90.66B5B420" TargetMode="External"/><Relationship Id="rId22" Type="http://schemas.openxmlformats.org/officeDocument/2006/relationships/image" Target="../media/image65.png"/><Relationship Id="rId27" Type="http://schemas.openxmlformats.org/officeDocument/2006/relationships/image" Target="../media/image70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3.png"/><Relationship Id="rId5" Type="http://schemas.openxmlformats.org/officeDocument/2006/relationships/image" Target="../media/image92.jpeg"/><Relationship Id="rId4" Type="http://schemas.openxmlformats.org/officeDocument/2006/relationships/image" Target="../media/image9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tags" Target="../tags/tag299.xml"/><Relationship Id="rId7" Type="http://schemas.openxmlformats.org/officeDocument/2006/relationships/image" Target="../media/image2.emf"/><Relationship Id="rId2" Type="http://schemas.openxmlformats.org/officeDocument/2006/relationships/tags" Target="../tags/tag29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tags" Target="../tags/tag301.xml"/><Relationship Id="rId7" Type="http://schemas.openxmlformats.org/officeDocument/2006/relationships/image" Target="../media/image4.emf"/><Relationship Id="rId2" Type="http://schemas.openxmlformats.org/officeDocument/2006/relationships/tags" Target="../tags/tag30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3.png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4.emf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oleObject" Target="../embeddings/oleObject2.bin"/><Relationship Id="rId2" Type="http://schemas.openxmlformats.org/officeDocument/2006/relationships/tags" Target="../tags/tag19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slideLayout" Target="../slideLayouts/slideLayout19.xml"/><Relationship Id="rId10" Type="http://schemas.openxmlformats.org/officeDocument/2006/relationships/tags" Target="../tags/tag27.xml"/><Relationship Id="rId19" Type="http://schemas.openxmlformats.org/officeDocument/2006/relationships/image" Target="../media/image5.jpe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57.xml"/><Relationship Id="rId117" Type="http://schemas.openxmlformats.org/officeDocument/2006/relationships/image" Target="../media/image8.jpeg"/><Relationship Id="rId21" Type="http://schemas.openxmlformats.org/officeDocument/2006/relationships/tags" Target="../tags/tag52.xml"/><Relationship Id="rId42" Type="http://schemas.openxmlformats.org/officeDocument/2006/relationships/tags" Target="../tags/tag73.xml"/><Relationship Id="rId47" Type="http://schemas.openxmlformats.org/officeDocument/2006/relationships/tags" Target="../tags/tag78.xml"/><Relationship Id="rId63" Type="http://schemas.openxmlformats.org/officeDocument/2006/relationships/tags" Target="../tags/tag94.xml"/><Relationship Id="rId68" Type="http://schemas.openxmlformats.org/officeDocument/2006/relationships/tags" Target="../tags/tag99.xml"/><Relationship Id="rId84" Type="http://schemas.openxmlformats.org/officeDocument/2006/relationships/tags" Target="../tags/tag115.xml"/><Relationship Id="rId89" Type="http://schemas.openxmlformats.org/officeDocument/2006/relationships/tags" Target="../tags/tag120.xml"/><Relationship Id="rId112" Type="http://schemas.openxmlformats.org/officeDocument/2006/relationships/tags" Target="../tags/tag143.xml"/><Relationship Id="rId16" Type="http://schemas.openxmlformats.org/officeDocument/2006/relationships/tags" Target="../tags/tag47.xml"/><Relationship Id="rId107" Type="http://schemas.openxmlformats.org/officeDocument/2006/relationships/tags" Target="../tags/tag138.xml"/><Relationship Id="rId11" Type="http://schemas.openxmlformats.org/officeDocument/2006/relationships/tags" Target="../tags/tag42.xml"/><Relationship Id="rId32" Type="http://schemas.openxmlformats.org/officeDocument/2006/relationships/tags" Target="../tags/tag63.xml"/><Relationship Id="rId37" Type="http://schemas.openxmlformats.org/officeDocument/2006/relationships/tags" Target="../tags/tag68.xml"/><Relationship Id="rId53" Type="http://schemas.openxmlformats.org/officeDocument/2006/relationships/tags" Target="../tags/tag84.xml"/><Relationship Id="rId58" Type="http://schemas.openxmlformats.org/officeDocument/2006/relationships/tags" Target="../tags/tag89.xml"/><Relationship Id="rId74" Type="http://schemas.openxmlformats.org/officeDocument/2006/relationships/tags" Target="../tags/tag105.xml"/><Relationship Id="rId79" Type="http://schemas.openxmlformats.org/officeDocument/2006/relationships/tags" Target="../tags/tag110.xml"/><Relationship Id="rId102" Type="http://schemas.openxmlformats.org/officeDocument/2006/relationships/tags" Target="../tags/tag133.xml"/><Relationship Id="rId123" Type="http://schemas.openxmlformats.org/officeDocument/2006/relationships/image" Target="../media/image13.png"/><Relationship Id="rId128" Type="http://schemas.openxmlformats.org/officeDocument/2006/relationships/image" Target="../media/image17.jpeg"/><Relationship Id="rId5" Type="http://schemas.openxmlformats.org/officeDocument/2006/relationships/tags" Target="../tags/tag36.xml"/><Relationship Id="rId90" Type="http://schemas.openxmlformats.org/officeDocument/2006/relationships/tags" Target="../tags/tag121.xml"/><Relationship Id="rId95" Type="http://schemas.openxmlformats.org/officeDocument/2006/relationships/tags" Target="../tags/tag126.xml"/><Relationship Id="rId19" Type="http://schemas.openxmlformats.org/officeDocument/2006/relationships/tags" Target="../tags/tag5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43" Type="http://schemas.openxmlformats.org/officeDocument/2006/relationships/tags" Target="../tags/tag74.xml"/><Relationship Id="rId48" Type="http://schemas.openxmlformats.org/officeDocument/2006/relationships/tags" Target="../tags/tag79.xml"/><Relationship Id="rId56" Type="http://schemas.openxmlformats.org/officeDocument/2006/relationships/tags" Target="../tags/tag87.xml"/><Relationship Id="rId64" Type="http://schemas.openxmlformats.org/officeDocument/2006/relationships/tags" Target="../tags/tag95.xml"/><Relationship Id="rId69" Type="http://schemas.openxmlformats.org/officeDocument/2006/relationships/tags" Target="../tags/tag100.xml"/><Relationship Id="rId77" Type="http://schemas.openxmlformats.org/officeDocument/2006/relationships/tags" Target="../tags/tag108.xml"/><Relationship Id="rId100" Type="http://schemas.openxmlformats.org/officeDocument/2006/relationships/tags" Target="../tags/tag131.xml"/><Relationship Id="rId105" Type="http://schemas.openxmlformats.org/officeDocument/2006/relationships/tags" Target="../tags/tag136.xml"/><Relationship Id="rId113" Type="http://schemas.openxmlformats.org/officeDocument/2006/relationships/tags" Target="../tags/tag144.xml"/><Relationship Id="rId118" Type="http://schemas.openxmlformats.org/officeDocument/2006/relationships/image" Target="../media/image9.jpeg"/><Relationship Id="rId126" Type="http://schemas.openxmlformats.org/officeDocument/2006/relationships/hyperlink" Target="http://www.kdts.kz/" TargetMode="External"/><Relationship Id="rId8" Type="http://schemas.openxmlformats.org/officeDocument/2006/relationships/tags" Target="../tags/tag39.xml"/><Relationship Id="rId51" Type="http://schemas.openxmlformats.org/officeDocument/2006/relationships/tags" Target="../tags/tag82.xml"/><Relationship Id="rId72" Type="http://schemas.openxmlformats.org/officeDocument/2006/relationships/tags" Target="../tags/tag103.xml"/><Relationship Id="rId80" Type="http://schemas.openxmlformats.org/officeDocument/2006/relationships/tags" Target="../tags/tag111.xml"/><Relationship Id="rId85" Type="http://schemas.openxmlformats.org/officeDocument/2006/relationships/tags" Target="../tags/tag116.xml"/><Relationship Id="rId93" Type="http://schemas.openxmlformats.org/officeDocument/2006/relationships/tags" Target="../tags/tag124.xml"/><Relationship Id="rId98" Type="http://schemas.openxmlformats.org/officeDocument/2006/relationships/tags" Target="../tags/tag129.xml"/><Relationship Id="rId121" Type="http://schemas.openxmlformats.org/officeDocument/2006/relationships/hyperlink" Target="//commons.wikimedia.org/wiki/File:Belarus-RW-Logo.svg?uselang=ru" TargetMode="External"/><Relationship Id="rId3" Type="http://schemas.openxmlformats.org/officeDocument/2006/relationships/tags" Target="../tags/tag3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tags" Target="../tags/tag69.xml"/><Relationship Id="rId46" Type="http://schemas.openxmlformats.org/officeDocument/2006/relationships/tags" Target="../tags/tag77.xml"/><Relationship Id="rId59" Type="http://schemas.openxmlformats.org/officeDocument/2006/relationships/tags" Target="../tags/tag90.xml"/><Relationship Id="rId67" Type="http://schemas.openxmlformats.org/officeDocument/2006/relationships/tags" Target="../tags/tag98.xml"/><Relationship Id="rId103" Type="http://schemas.openxmlformats.org/officeDocument/2006/relationships/tags" Target="../tags/tag134.xml"/><Relationship Id="rId108" Type="http://schemas.openxmlformats.org/officeDocument/2006/relationships/tags" Target="../tags/tag139.xml"/><Relationship Id="rId116" Type="http://schemas.openxmlformats.org/officeDocument/2006/relationships/image" Target="../media/image7.jpeg"/><Relationship Id="rId124" Type="http://schemas.openxmlformats.org/officeDocument/2006/relationships/image" Target="../media/image14.jpeg"/><Relationship Id="rId129" Type="http://schemas.openxmlformats.org/officeDocument/2006/relationships/image" Target="../media/image18.jpeg"/><Relationship Id="rId20" Type="http://schemas.openxmlformats.org/officeDocument/2006/relationships/tags" Target="../tags/tag51.xml"/><Relationship Id="rId41" Type="http://schemas.openxmlformats.org/officeDocument/2006/relationships/tags" Target="../tags/tag72.xml"/><Relationship Id="rId54" Type="http://schemas.openxmlformats.org/officeDocument/2006/relationships/tags" Target="../tags/tag85.xml"/><Relationship Id="rId62" Type="http://schemas.openxmlformats.org/officeDocument/2006/relationships/tags" Target="../tags/tag93.xml"/><Relationship Id="rId70" Type="http://schemas.openxmlformats.org/officeDocument/2006/relationships/tags" Target="../tags/tag101.xml"/><Relationship Id="rId75" Type="http://schemas.openxmlformats.org/officeDocument/2006/relationships/tags" Target="../tags/tag106.xml"/><Relationship Id="rId83" Type="http://schemas.openxmlformats.org/officeDocument/2006/relationships/tags" Target="../tags/tag114.xml"/><Relationship Id="rId88" Type="http://schemas.openxmlformats.org/officeDocument/2006/relationships/tags" Target="../tags/tag119.xml"/><Relationship Id="rId91" Type="http://schemas.openxmlformats.org/officeDocument/2006/relationships/tags" Target="../tags/tag122.xml"/><Relationship Id="rId96" Type="http://schemas.openxmlformats.org/officeDocument/2006/relationships/tags" Target="../tags/tag127.xml"/><Relationship Id="rId111" Type="http://schemas.openxmlformats.org/officeDocument/2006/relationships/tags" Target="../tags/tag142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49" Type="http://schemas.openxmlformats.org/officeDocument/2006/relationships/tags" Target="../tags/tag80.xml"/><Relationship Id="rId57" Type="http://schemas.openxmlformats.org/officeDocument/2006/relationships/tags" Target="../tags/tag88.xml"/><Relationship Id="rId106" Type="http://schemas.openxmlformats.org/officeDocument/2006/relationships/tags" Target="../tags/tag137.xml"/><Relationship Id="rId114" Type="http://schemas.openxmlformats.org/officeDocument/2006/relationships/slideLayout" Target="../slideLayouts/slideLayout4.xml"/><Relationship Id="rId119" Type="http://schemas.openxmlformats.org/officeDocument/2006/relationships/image" Target="../media/image10.png"/><Relationship Id="rId127" Type="http://schemas.openxmlformats.org/officeDocument/2006/relationships/image" Target="../media/image16.jpeg"/><Relationship Id="rId10" Type="http://schemas.openxmlformats.org/officeDocument/2006/relationships/tags" Target="../tags/tag41.xml"/><Relationship Id="rId31" Type="http://schemas.openxmlformats.org/officeDocument/2006/relationships/tags" Target="../tags/tag62.xml"/><Relationship Id="rId44" Type="http://schemas.openxmlformats.org/officeDocument/2006/relationships/tags" Target="../tags/tag75.xml"/><Relationship Id="rId52" Type="http://schemas.openxmlformats.org/officeDocument/2006/relationships/tags" Target="../tags/tag83.xml"/><Relationship Id="rId60" Type="http://schemas.openxmlformats.org/officeDocument/2006/relationships/tags" Target="../tags/tag91.xml"/><Relationship Id="rId65" Type="http://schemas.openxmlformats.org/officeDocument/2006/relationships/tags" Target="../tags/tag96.xml"/><Relationship Id="rId73" Type="http://schemas.openxmlformats.org/officeDocument/2006/relationships/tags" Target="../tags/tag104.xml"/><Relationship Id="rId78" Type="http://schemas.openxmlformats.org/officeDocument/2006/relationships/tags" Target="../tags/tag109.xml"/><Relationship Id="rId81" Type="http://schemas.openxmlformats.org/officeDocument/2006/relationships/tags" Target="../tags/tag112.xml"/><Relationship Id="rId86" Type="http://schemas.openxmlformats.org/officeDocument/2006/relationships/tags" Target="../tags/tag117.xml"/><Relationship Id="rId94" Type="http://schemas.openxmlformats.org/officeDocument/2006/relationships/tags" Target="../tags/tag125.xml"/><Relationship Id="rId99" Type="http://schemas.openxmlformats.org/officeDocument/2006/relationships/tags" Target="../tags/tag130.xml"/><Relationship Id="rId101" Type="http://schemas.openxmlformats.org/officeDocument/2006/relationships/tags" Target="../tags/tag132.xml"/><Relationship Id="rId122" Type="http://schemas.openxmlformats.org/officeDocument/2006/relationships/image" Target="../media/image12.png"/><Relationship Id="rId130" Type="http://schemas.openxmlformats.org/officeDocument/2006/relationships/image" Target="../media/image19.jpe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9" Type="http://schemas.openxmlformats.org/officeDocument/2006/relationships/tags" Target="../tags/tag70.xml"/><Relationship Id="rId109" Type="http://schemas.openxmlformats.org/officeDocument/2006/relationships/tags" Target="../tags/tag140.xml"/><Relationship Id="rId34" Type="http://schemas.openxmlformats.org/officeDocument/2006/relationships/tags" Target="../tags/tag65.xml"/><Relationship Id="rId50" Type="http://schemas.openxmlformats.org/officeDocument/2006/relationships/tags" Target="../tags/tag81.xml"/><Relationship Id="rId55" Type="http://schemas.openxmlformats.org/officeDocument/2006/relationships/tags" Target="../tags/tag86.xml"/><Relationship Id="rId76" Type="http://schemas.openxmlformats.org/officeDocument/2006/relationships/tags" Target="../tags/tag107.xml"/><Relationship Id="rId97" Type="http://schemas.openxmlformats.org/officeDocument/2006/relationships/tags" Target="../tags/tag128.xml"/><Relationship Id="rId104" Type="http://schemas.openxmlformats.org/officeDocument/2006/relationships/tags" Target="../tags/tag135.xml"/><Relationship Id="rId120" Type="http://schemas.openxmlformats.org/officeDocument/2006/relationships/image" Target="../media/image11.jpeg"/><Relationship Id="rId125" Type="http://schemas.openxmlformats.org/officeDocument/2006/relationships/image" Target="../media/image15.jpeg"/><Relationship Id="rId7" Type="http://schemas.openxmlformats.org/officeDocument/2006/relationships/tags" Target="../tags/tag38.xml"/><Relationship Id="rId71" Type="http://schemas.openxmlformats.org/officeDocument/2006/relationships/tags" Target="../tags/tag102.xml"/><Relationship Id="rId92" Type="http://schemas.openxmlformats.org/officeDocument/2006/relationships/tags" Target="../tags/tag123.xml"/><Relationship Id="rId2" Type="http://schemas.openxmlformats.org/officeDocument/2006/relationships/tags" Target="../tags/tag33.xml"/><Relationship Id="rId29" Type="http://schemas.openxmlformats.org/officeDocument/2006/relationships/tags" Target="../tags/tag60.xml"/><Relationship Id="rId24" Type="http://schemas.openxmlformats.org/officeDocument/2006/relationships/tags" Target="../tags/tag55.xml"/><Relationship Id="rId40" Type="http://schemas.openxmlformats.org/officeDocument/2006/relationships/tags" Target="../tags/tag71.xml"/><Relationship Id="rId45" Type="http://schemas.openxmlformats.org/officeDocument/2006/relationships/tags" Target="../tags/tag76.xml"/><Relationship Id="rId66" Type="http://schemas.openxmlformats.org/officeDocument/2006/relationships/tags" Target="../tags/tag97.xml"/><Relationship Id="rId87" Type="http://schemas.openxmlformats.org/officeDocument/2006/relationships/tags" Target="../tags/tag118.xml"/><Relationship Id="rId110" Type="http://schemas.openxmlformats.org/officeDocument/2006/relationships/tags" Target="../tags/tag141.xml"/><Relationship Id="rId115" Type="http://schemas.openxmlformats.org/officeDocument/2006/relationships/notesSlide" Target="../notesSlides/notesSlide4.xml"/><Relationship Id="rId61" Type="http://schemas.openxmlformats.org/officeDocument/2006/relationships/tags" Target="../tags/tag92.xml"/><Relationship Id="rId82" Type="http://schemas.openxmlformats.org/officeDocument/2006/relationships/tags" Target="../tags/tag1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169.xml"/><Relationship Id="rId117" Type="http://schemas.openxmlformats.org/officeDocument/2006/relationships/tags" Target="../tags/tag260.xml"/><Relationship Id="rId21" Type="http://schemas.openxmlformats.org/officeDocument/2006/relationships/tags" Target="../tags/tag164.xml"/><Relationship Id="rId42" Type="http://schemas.openxmlformats.org/officeDocument/2006/relationships/tags" Target="../tags/tag185.xml"/><Relationship Id="rId47" Type="http://schemas.openxmlformats.org/officeDocument/2006/relationships/tags" Target="../tags/tag190.xml"/><Relationship Id="rId63" Type="http://schemas.openxmlformats.org/officeDocument/2006/relationships/tags" Target="../tags/tag206.xml"/><Relationship Id="rId68" Type="http://schemas.openxmlformats.org/officeDocument/2006/relationships/tags" Target="../tags/tag211.xml"/><Relationship Id="rId84" Type="http://schemas.openxmlformats.org/officeDocument/2006/relationships/tags" Target="../tags/tag227.xml"/><Relationship Id="rId89" Type="http://schemas.openxmlformats.org/officeDocument/2006/relationships/tags" Target="../tags/tag232.xml"/><Relationship Id="rId112" Type="http://schemas.openxmlformats.org/officeDocument/2006/relationships/tags" Target="../tags/tag255.xml"/><Relationship Id="rId133" Type="http://schemas.openxmlformats.org/officeDocument/2006/relationships/tags" Target="../tags/tag276.xml"/><Relationship Id="rId138" Type="http://schemas.openxmlformats.org/officeDocument/2006/relationships/tags" Target="../tags/tag281.xml"/><Relationship Id="rId154" Type="http://schemas.openxmlformats.org/officeDocument/2006/relationships/hyperlink" Target="http://upload.wikimedia.org/wikipedia/commons/0/09/Flag_of_South_Korea.svg" TargetMode="External"/><Relationship Id="rId159" Type="http://schemas.openxmlformats.org/officeDocument/2006/relationships/image" Target="../media/image26.png"/><Relationship Id="rId16" Type="http://schemas.openxmlformats.org/officeDocument/2006/relationships/tags" Target="../tags/tag159.xml"/><Relationship Id="rId107" Type="http://schemas.openxmlformats.org/officeDocument/2006/relationships/tags" Target="../tags/tag250.xml"/><Relationship Id="rId11" Type="http://schemas.openxmlformats.org/officeDocument/2006/relationships/tags" Target="../tags/tag154.xml"/><Relationship Id="rId32" Type="http://schemas.openxmlformats.org/officeDocument/2006/relationships/tags" Target="../tags/tag175.xml"/><Relationship Id="rId37" Type="http://schemas.openxmlformats.org/officeDocument/2006/relationships/tags" Target="../tags/tag180.xml"/><Relationship Id="rId53" Type="http://schemas.openxmlformats.org/officeDocument/2006/relationships/tags" Target="../tags/tag196.xml"/><Relationship Id="rId58" Type="http://schemas.openxmlformats.org/officeDocument/2006/relationships/tags" Target="../tags/tag201.xml"/><Relationship Id="rId74" Type="http://schemas.openxmlformats.org/officeDocument/2006/relationships/tags" Target="../tags/tag217.xml"/><Relationship Id="rId79" Type="http://schemas.openxmlformats.org/officeDocument/2006/relationships/tags" Target="../tags/tag222.xml"/><Relationship Id="rId102" Type="http://schemas.openxmlformats.org/officeDocument/2006/relationships/tags" Target="../tags/tag245.xml"/><Relationship Id="rId123" Type="http://schemas.openxmlformats.org/officeDocument/2006/relationships/tags" Target="../tags/tag266.xml"/><Relationship Id="rId128" Type="http://schemas.openxmlformats.org/officeDocument/2006/relationships/tags" Target="../tags/tag271.xml"/><Relationship Id="rId144" Type="http://schemas.openxmlformats.org/officeDocument/2006/relationships/tags" Target="../tags/tag287.xml"/><Relationship Id="rId149" Type="http://schemas.openxmlformats.org/officeDocument/2006/relationships/oleObject" Target="../embeddings/oleObject3.bin"/><Relationship Id="rId5" Type="http://schemas.openxmlformats.org/officeDocument/2006/relationships/tags" Target="../tags/tag148.xml"/><Relationship Id="rId90" Type="http://schemas.openxmlformats.org/officeDocument/2006/relationships/tags" Target="../tags/tag233.xml"/><Relationship Id="rId95" Type="http://schemas.openxmlformats.org/officeDocument/2006/relationships/tags" Target="../tags/tag238.xml"/><Relationship Id="rId160" Type="http://schemas.openxmlformats.org/officeDocument/2006/relationships/image" Target="../media/image27.gif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43" Type="http://schemas.openxmlformats.org/officeDocument/2006/relationships/tags" Target="../tags/tag186.xml"/><Relationship Id="rId48" Type="http://schemas.openxmlformats.org/officeDocument/2006/relationships/tags" Target="../tags/tag191.xml"/><Relationship Id="rId64" Type="http://schemas.openxmlformats.org/officeDocument/2006/relationships/tags" Target="../tags/tag207.xml"/><Relationship Id="rId69" Type="http://schemas.openxmlformats.org/officeDocument/2006/relationships/tags" Target="../tags/tag212.xml"/><Relationship Id="rId113" Type="http://schemas.openxmlformats.org/officeDocument/2006/relationships/tags" Target="../tags/tag256.xml"/><Relationship Id="rId118" Type="http://schemas.openxmlformats.org/officeDocument/2006/relationships/tags" Target="../tags/tag261.xml"/><Relationship Id="rId134" Type="http://schemas.openxmlformats.org/officeDocument/2006/relationships/tags" Target="../tags/tag277.xml"/><Relationship Id="rId139" Type="http://schemas.openxmlformats.org/officeDocument/2006/relationships/tags" Target="../tags/tag282.xml"/><Relationship Id="rId80" Type="http://schemas.openxmlformats.org/officeDocument/2006/relationships/tags" Target="../tags/tag223.xml"/><Relationship Id="rId85" Type="http://schemas.openxmlformats.org/officeDocument/2006/relationships/tags" Target="../tags/tag228.xml"/><Relationship Id="rId150" Type="http://schemas.openxmlformats.org/officeDocument/2006/relationships/image" Target="../media/image21.emf"/><Relationship Id="rId155" Type="http://schemas.openxmlformats.org/officeDocument/2006/relationships/image" Target="../media/image24.png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33" Type="http://schemas.openxmlformats.org/officeDocument/2006/relationships/tags" Target="../tags/tag176.xml"/><Relationship Id="rId38" Type="http://schemas.openxmlformats.org/officeDocument/2006/relationships/tags" Target="../tags/tag181.xml"/><Relationship Id="rId59" Type="http://schemas.openxmlformats.org/officeDocument/2006/relationships/tags" Target="../tags/tag202.xml"/><Relationship Id="rId103" Type="http://schemas.openxmlformats.org/officeDocument/2006/relationships/tags" Target="../tags/tag246.xml"/><Relationship Id="rId108" Type="http://schemas.openxmlformats.org/officeDocument/2006/relationships/tags" Target="../tags/tag251.xml"/><Relationship Id="rId124" Type="http://schemas.openxmlformats.org/officeDocument/2006/relationships/tags" Target="../tags/tag267.xml"/><Relationship Id="rId129" Type="http://schemas.openxmlformats.org/officeDocument/2006/relationships/tags" Target="../tags/tag272.xml"/><Relationship Id="rId20" Type="http://schemas.openxmlformats.org/officeDocument/2006/relationships/tags" Target="../tags/tag163.xml"/><Relationship Id="rId41" Type="http://schemas.openxmlformats.org/officeDocument/2006/relationships/tags" Target="../tags/tag184.xml"/><Relationship Id="rId54" Type="http://schemas.openxmlformats.org/officeDocument/2006/relationships/tags" Target="../tags/tag197.xml"/><Relationship Id="rId62" Type="http://schemas.openxmlformats.org/officeDocument/2006/relationships/tags" Target="../tags/tag205.xml"/><Relationship Id="rId70" Type="http://schemas.openxmlformats.org/officeDocument/2006/relationships/tags" Target="../tags/tag213.xml"/><Relationship Id="rId75" Type="http://schemas.openxmlformats.org/officeDocument/2006/relationships/tags" Target="../tags/tag218.xml"/><Relationship Id="rId83" Type="http://schemas.openxmlformats.org/officeDocument/2006/relationships/tags" Target="../tags/tag226.xml"/><Relationship Id="rId88" Type="http://schemas.openxmlformats.org/officeDocument/2006/relationships/tags" Target="../tags/tag231.xml"/><Relationship Id="rId91" Type="http://schemas.openxmlformats.org/officeDocument/2006/relationships/tags" Target="../tags/tag234.xml"/><Relationship Id="rId96" Type="http://schemas.openxmlformats.org/officeDocument/2006/relationships/tags" Target="../tags/tag239.xml"/><Relationship Id="rId111" Type="http://schemas.openxmlformats.org/officeDocument/2006/relationships/tags" Target="../tags/tag254.xml"/><Relationship Id="rId132" Type="http://schemas.openxmlformats.org/officeDocument/2006/relationships/tags" Target="../tags/tag275.xml"/><Relationship Id="rId140" Type="http://schemas.openxmlformats.org/officeDocument/2006/relationships/tags" Target="../tags/tag283.xml"/><Relationship Id="rId145" Type="http://schemas.openxmlformats.org/officeDocument/2006/relationships/tags" Target="../tags/tag288.xml"/><Relationship Id="rId153" Type="http://schemas.openxmlformats.org/officeDocument/2006/relationships/image" Target="../media/image23.png"/><Relationship Id="rId161" Type="http://schemas.openxmlformats.org/officeDocument/2006/relationships/image" Target="../media/image28.png"/><Relationship Id="rId1" Type="http://schemas.openxmlformats.org/officeDocument/2006/relationships/vmlDrawing" Target="../drawings/vmlDrawing3.vml"/><Relationship Id="rId6" Type="http://schemas.openxmlformats.org/officeDocument/2006/relationships/tags" Target="../tags/tag149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tags" Target="../tags/tag171.xml"/><Relationship Id="rId36" Type="http://schemas.openxmlformats.org/officeDocument/2006/relationships/tags" Target="../tags/tag179.xml"/><Relationship Id="rId49" Type="http://schemas.openxmlformats.org/officeDocument/2006/relationships/tags" Target="../tags/tag192.xml"/><Relationship Id="rId57" Type="http://schemas.openxmlformats.org/officeDocument/2006/relationships/tags" Target="../tags/tag200.xml"/><Relationship Id="rId106" Type="http://schemas.openxmlformats.org/officeDocument/2006/relationships/tags" Target="../tags/tag249.xml"/><Relationship Id="rId114" Type="http://schemas.openxmlformats.org/officeDocument/2006/relationships/tags" Target="../tags/tag257.xml"/><Relationship Id="rId119" Type="http://schemas.openxmlformats.org/officeDocument/2006/relationships/tags" Target="../tags/tag262.xml"/><Relationship Id="rId127" Type="http://schemas.openxmlformats.org/officeDocument/2006/relationships/tags" Target="../tags/tag270.xml"/><Relationship Id="rId10" Type="http://schemas.openxmlformats.org/officeDocument/2006/relationships/tags" Target="../tags/tag153.xml"/><Relationship Id="rId31" Type="http://schemas.openxmlformats.org/officeDocument/2006/relationships/tags" Target="../tags/tag174.xml"/><Relationship Id="rId44" Type="http://schemas.openxmlformats.org/officeDocument/2006/relationships/tags" Target="../tags/tag187.xml"/><Relationship Id="rId52" Type="http://schemas.openxmlformats.org/officeDocument/2006/relationships/tags" Target="../tags/tag195.xml"/><Relationship Id="rId60" Type="http://schemas.openxmlformats.org/officeDocument/2006/relationships/tags" Target="../tags/tag203.xml"/><Relationship Id="rId65" Type="http://schemas.openxmlformats.org/officeDocument/2006/relationships/tags" Target="../tags/tag208.xml"/><Relationship Id="rId73" Type="http://schemas.openxmlformats.org/officeDocument/2006/relationships/tags" Target="../tags/tag216.xml"/><Relationship Id="rId78" Type="http://schemas.openxmlformats.org/officeDocument/2006/relationships/tags" Target="../tags/tag221.xml"/><Relationship Id="rId81" Type="http://schemas.openxmlformats.org/officeDocument/2006/relationships/tags" Target="../tags/tag224.xml"/><Relationship Id="rId86" Type="http://schemas.openxmlformats.org/officeDocument/2006/relationships/tags" Target="../tags/tag229.xml"/><Relationship Id="rId94" Type="http://schemas.openxmlformats.org/officeDocument/2006/relationships/tags" Target="../tags/tag237.xml"/><Relationship Id="rId99" Type="http://schemas.openxmlformats.org/officeDocument/2006/relationships/tags" Target="../tags/tag242.xml"/><Relationship Id="rId101" Type="http://schemas.openxmlformats.org/officeDocument/2006/relationships/tags" Target="../tags/tag244.xml"/><Relationship Id="rId122" Type="http://schemas.openxmlformats.org/officeDocument/2006/relationships/tags" Target="../tags/tag265.xml"/><Relationship Id="rId130" Type="http://schemas.openxmlformats.org/officeDocument/2006/relationships/tags" Target="../tags/tag273.xml"/><Relationship Id="rId135" Type="http://schemas.openxmlformats.org/officeDocument/2006/relationships/tags" Target="../tags/tag278.xml"/><Relationship Id="rId143" Type="http://schemas.openxmlformats.org/officeDocument/2006/relationships/tags" Target="../tags/tag286.xml"/><Relationship Id="rId148" Type="http://schemas.openxmlformats.org/officeDocument/2006/relationships/notesSlide" Target="../notesSlides/notesSlide6.xml"/><Relationship Id="rId151" Type="http://schemas.openxmlformats.org/officeDocument/2006/relationships/image" Target="../media/image22.png"/><Relationship Id="rId156" Type="http://schemas.openxmlformats.org/officeDocument/2006/relationships/hyperlink" Target="http://upload.wikimedia.org/wikipedia/commons/7/72/Flag_of_the_Republic_of_China.svg" TargetMode="Externa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39" Type="http://schemas.openxmlformats.org/officeDocument/2006/relationships/tags" Target="../tags/tag182.xml"/><Relationship Id="rId109" Type="http://schemas.openxmlformats.org/officeDocument/2006/relationships/tags" Target="../tags/tag252.xml"/><Relationship Id="rId34" Type="http://schemas.openxmlformats.org/officeDocument/2006/relationships/tags" Target="../tags/tag177.xml"/><Relationship Id="rId50" Type="http://schemas.openxmlformats.org/officeDocument/2006/relationships/tags" Target="../tags/tag193.xml"/><Relationship Id="rId55" Type="http://schemas.openxmlformats.org/officeDocument/2006/relationships/tags" Target="../tags/tag198.xml"/><Relationship Id="rId76" Type="http://schemas.openxmlformats.org/officeDocument/2006/relationships/tags" Target="../tags/tag219.xml"/><Relationship Id="rId97" Type="http://schemas.openxmlformats.org/officeDocument/2006/relationships/tags" Target="../tags/tag240.xml"/><Relationship Id="rId104" Type="http://schemas.openxmlformats.org/officeDocument/2006/relationships/tags" Target="../tags/tag247.xml"/><Relationship Id="rId120" Type="http://schemas.openxmlformats.org/officeDocument/2006/relationships/tags" Target="../tags/tag263.xml"/><Relationship Id="rId125" Type="http://schemas.openxmlformats.org/officeDocument/2006/relationships/tags" Target="../tags/tag268.xml"/><Relationship Id="rId141" Type="http://schemas.openxmlformats.org/officeDocument/2006/relationships/tags" Target="../tags/tag284.xml"/><Relationship Id="rId146" Type="http://schemas.openxmlformats.org/officeDocument/2006/relationships/tags" Target="../tags/tag289.xml"/><Relationship Id="rId7" Type="http://schemas.openxmlformats.org/officeDocument/2006/relationships/tags" Target="../tags/tag150.xml"/><Relationship Id="rId71" Type="http://schemas.openxmlformats.org/officeDocument/2006/relationships/tags" Target="../tags/tag214.xml"/><Relationship Id="rId92" Type="http://schemas.openxmlformats.org/officeDocument/2006/relationships/tags" Target="../tags/tag235.xml"/><Relationship Id="rId162" Type="http://schemas.openxmlformats.org/officeDocument/2006/relationships/image" Target="../media/image29.png"/><Relationship Id="rId2" Type="http://schemas.openxmlformats.org/officeDocument/2006/relationships/tags" Target="../tags/tag145.xml"/><Relationship Id="rId29" Type="http://schemas.openxmlformats.org/officeDocument/2006/relationships/tags" Target="../tags/tag172.xml"/><Relationship Id="rId24" Type="http://schemas.openxmlformats.org/officeDocument/2006/relationships/tags" Target="../tags/tag167.xml"/><Relationship Id="rId40" Type="http://schemas.openxmlformats.org/officeDocument/2006/relationships/tags" Target="../tags/tag183.xml"/><Relationship Id="rId45" Type="http://schemas.openxmlformats.org/officeDocument/2006/relationships/tags" Target="../tags/tag188.xml"/><Relationship Id="rId66" Type="http://schemas.openxmlformats.org/officeDocument/2006/relationships/tags" Target="../tags/tag209.xml"/><Relationship Id="rId87" Type="http://schemas.openxmlformats.org/officeDocument/2006/relationships/tags" Target="../tags/tag230.xml"/><Relationship Id="rId110" Type="http://schemas.openxmlformats.org/officeDocument/2006/relationships/tags" Target="../tags/tag253.xml"/><Relationship Id="rId115" Type="http://schemas.openxmlformats.org/officeDocument/2006/relationships/tags" Target="../tags/tag258.xml"/><Relationship Id="rId131" Type="http://schemas.openxmlformats.org/officeDocument/2006/relationships/tags" Target="../tags/tag274.xml"/><Relationship Id="rId136" Type="http://schemas.openxmlformats.org/officeDocument/2006/relationships/tags" Target="../tags/tag279.xml"/><Relationship Id="rId157" Type="http://schemas.openxmlformats.org/officeDocument/2006/relationships/image" Target="../media/image25.png"/><Relationship Id="rId61" Type="http://schemas.openxmlformats.org/officeDocument/2006/relationships/tags" Target="../tags/tag204.xml"/><Relationship Id="rId82" Type="http://schemas.openxmlformats.org/officeDocument/2006/relationships/tags" Target="../tags/tag225.xml"/><Relationship Id="rId152" Type="http://schemas.openxmlformats.org/officeDocument/2006/relationships/hyperlink" Target="//upload.wikimedia.org/wikipedia/commons/9/9e/Flag_of_Japan.svg" TargetMode="External"/><Relationship Id="rId19" Type="http://schemas.openxmlformats.org/officeDocument/2006/relationships/tags" Target="../tags/tag162.xml"/><Relationship Id="rId14" Type="http://schemas.openxmlformats.org/officeDocument/2006/relationships/tags" Target="../tags/tag157.xml"/><Relationship Id="rId30" Type="http://schemas.openxmlformats.org/officeDocument/2006/relationships/tags" Target="../tags/tag173.xml"/><Relationship Id="rId35" Type="http://schemas.openxmlformats.org/officeDocument/2006/relationships/tags" Target="../tags/tag178.xml"/><Relationship Id="rId56" Type="http://schemas.openxmlformats.org/officeDocument/2006/relationships/tags" Target="../tags/tag199.xml"/><Relationship Id="rId77" Type="http://schemas.openxmlformats.org/officeDocument/2006/relationships/tags" Target="../tags/tag220.xml"/><Relationship Id="rId100" Type="http://schemas.openxmlformats.org/officeDocument/2006/relationships/tags" Target="../tags/tag243.xml"/><Relationship Id="rId105" Type="http://schemas.openxmlformats.org/officeDocument/2006/relationships/tags" Target="../tags/tag248.xml"/><Relationship Id="rId126" Type="http://schemas.openxmlformats.org/officeDocument/2006/relationships/tags" Target="../tags/tag269.xml"/><Relationship Id="rId147" Type="http://schemas.openxmlformats.org/officeDocument/2006/relationships/slideLayout" Target="../slideLayouts/slideLayout12.xml"/><Relationship Id="rId8" Type="http://schemas.openxmlformats.org/officeDocument/2006/relationships/tags" Target="../tags/tag151.xml"/><Relationship Id="rId51" Type="http://schemas.openxmlformats.org/officeDocument/2006/relationships/tags" Target="../tags/tag194.xml"/><Relationship Id="rId72" Type="http://schemas.openxmlformats.org/officeDocument/2006/relationships/tags" Target="../tags/tag215.xml"/><Relationship Id="rId93" Type="http://schemas.openxmlformats.org/officeDocument/2006/relationships/tags" Target="../tags/tag236.xml"/><Relationship Id="rId98" Type="http://schemas.openxmlformats.org/officeDocument/2006/relationships/tags" Target="../tags/tag241.xml"/><Relationship Id="rId121" Type="http://schemas.openxmlformats.org/officeDocument/2006/relationships/tags" Target="../tags/tag264.xml"/><Relationship Id="rId142" Type="http://schemas.openxmlformats.org/officeDocument/2006/relationships/tags" Target="../tags/tag285.xml"/><Relationship Id="rId3" Type="http://schemas.openxmlformats.org/officeDocument/2006/relationships/tags" Target="../tags/tag146.xml"/><Relationship Id="rId25" Type="http://schemas.openxmlformats.org/officeDocument/2006/relationships/tags" Target="../tags/tag168.xml"/><Relationship Id="rId46" Type="http://schemas.openxmlformats.org/officeDocument/2006/relationships/tags" Target="../tags/tag189.xml"/><Relationship Id="rId67" Type="http://schemas.openxmlformats.org/officeDocument/2006/relationships/tags" Target="../tags/tag210.xml"/><Relationship Id="rId116" Type="http://schemas.openxmlformats.org/officeDocument/2006/relationships/tags" Target="../tags/tag259.xml"/><Relationship Id="rId137" Type="http://schemas.openxmlformats.org/officeDocument/2006/relationships/tags" Target="../tags/tag280.xml"/><Relationship Id="rId158" Type="http://schemas.openxmlformats.org/officeDocument/2006/relationships/hyperlink" Target="http://upload.wikimedia.org/wikipedia/commons/6/66/Flag_of_Malaysia.svg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13" Type="http://schemas.openxmlformats.org/officeDocument/2006/relationships/image" Target="../media/image32.emf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tags" Target="../tags/tag292.xml"/><Relationship Id="rId21" Type="http://schemas.openxmlformats.org/officeDocument/2006/relationships/image" Target="../media/image40.png"/><Relationship Id="rId7" Type="http://schemas.openxmlformats.org/officeDocument/2006/relationships/tags" Target="../tags/tag296.xml"/><Relationship Id="rId12" Type="http://schemas.openxmlformats.org/officeDocument/2006/relationships/image" Target="../media/image31.jpeg"/><Relationship Id="rId17" Type="http://schemas.openxmlformats.org/officeDocument/2006/relationships/image" Target="../media/image36.jpeg"/><Relationship Id="rId25" Type="http://schemas.openxmlformats.org/officeDocument/2006/relationships/image" Target="../media/image44.jpeg"/><Relationship Id="rId2" Type="http://schemas.openxmlformats.org/officeDocument/2006/relationships/tags" Target="../tags/tag291.xml"/><Relationship Id="rId16" Type="http://schemas.openxmlformats.org/officeDocument/2006/relationships/image" Target="../media/image35.jpeg"/><Relationship Id="rId20" Type="http://schemas.openxmlformats.org/officeDocument/2006/relationships/image" Target="../media/image39.png"/><Relationship Id="rId1" Type="http://schemas.openxmlformats.org/officeDocument/2006/relationships/tags" Target="../tags/tag290.xml"/><Relationship Id="rId6" Type="http://schemas.openxmlformats.org/officeDocument/2006/relationships/tags" Target="../tags/tag295.xml"/><Relationship Id="rId11" Type="http://schemas.openxmlformats.org/officeDocument/2006/relationships/image" Target="../media/image30.png"/><Relationship Id="rId24" Type="http://schemas.openxmlformats.org/officeDocument/2006/relationships/image" Target="../media/image43.jpeg"/><Relationship Id="rId5" Type="http://schemas.openxmlformats.org/officeDocument/2006/relationships/tags" Target="../tags/tag294.xml"/><Relationship Id="rId15" Type="http://schemas.openxmlformats.org/officeDocument/2006/relationships/image" Target="../media/image34.jpeg"/><Relationship Id="rId23" Type="http://schemas.openxmlformats.org/officeDocument/2006/relationships/image" Target="../media/image42.jpeg"/><Relationship Id="rId28" Type="http://schemas.openxmlformats.org/officeDocument/2006/relationships/image" Target="../media/image47.jpeg"/><Relationship Id="rId10" Type="http://schemas.openxmlformats.org/officeDocument/2006/relationships/notesSlide" Target="../notesSlides/notesSlide7.xml"/><Relationship Id="rId19" Type="http://schemas.openxmlformats.org/officeDocument/2006/relationships/image" Target="../media/image38.jpeg"/><Relationship Id="rId4" Type="http://schemas.openxmlformats.org/officeDocument/2006/relationships/tags" Target="../tags/tag293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33.jpeg"/><Relationship Id="rId22" Type="http://schemas.openxmlformats.org/officeDocument/2006/relationships/image" Target="../media/image41.png"/><Relationship Id="rId27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anikanovas\Desktop\МАКЕТ ПРЕЗЕНТАЦИИ ОСНОВА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0"/>
            <a:ext cx="10044607" cy="7749479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3751100" y="6505599"/>
            <a:ext cx="43492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2015 г.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971600" y="1988840"/>
            <a:ext cx="8358246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1" hangingPunct="1"/>
            <a:r>
              <a:rPr lang="ru-RU" sz="3200" b="1" dirty="0" smtClean="0">
                <a:solidFill>
                  <a:schemeClr val="bg1"/>
                </a:solidFill>
              </a:rPr>
              <a:t>АО «ОБЪЕДИНЕННАЯ </a:t>
            </a:r>
          </a:p>
          <a:p>
            <a:pPr algn="ctr" eaLnBrk="1" hangingPunct="1"/>
            <a:r>
              <a:rPr lang="ru-RU" sz="3200" b="1" dirty="0" smtClean="0">
                <a:solidFill>
                  <a:schemeClr val="bg1"/>
                </a:solidFill>
              </a:rPr>
              <a:t>ТРАНСПОРТНО-ЛОГИСТИЧЕСКАЯ </a:t>
            </a:r>
          </a:p>
          <a:p>
            <a:pPr algn="ctr" eaLnBrk="1" hangingPunct="1"/>
            <a:r>
              <a:rPr lang="ru-RU" sz="3200" b="1" dirty="0" smtClean="0">
                <a:solidFill>
                  <a:schemeClr val="bg1"/>
                </a:solidFill>
              </a:rPr>
              <a:t>КОМПАНИЯ» - </a:t>
            </a:r>
          </a:p>
          <a:p>
            <a:pPr algn="ctr" eaLnBrk="1" hangingPunct="1"/>
            <a:r>
              <a:rPr lang="ru-RU" sz="3200" b="1" dirty="0" smtClean="0">
                <a:solidFill>
                  <a:schemeClr val="bg1"/>
                </a:solidFill>
              </a:rPr>
              <a:t>КЛЮЧЕВОЙ ИНСТРУМЕНТ ИИНТЕГРАЦИИ СТРАН ЕЭП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3980" y="6453336"/>
            <a:ext cx="11336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utlc.com</a:t>
            </a:r>
            <a:endParaRPr lang="ru-RU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6732240" y="5553526"/>
            <a:ext cx="219675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chemeClr val="bg1"/>
                </a:solidFill>
              </a:rPr>
              <a:t>Вице-президент </a:t>
            </a:r>
          </a:p>
          <a:p>
            <a:pPr eaLnBrk="1" hangingPunct="1"/>
            <a:r>
              <a:rPr lang="ru-RU" sz="1400" b="1" dirty="0" smtClean="0">
                <a:solidFill>
                  <a:schemeClr val="bg1"/>
                </a:solidFill>
              </a:rPr>
              <a:t>АО </a:t>
            </a:r>
            <a:r>
              <a:rPr lang="ru-RU" sz="1400" b="1" dirty="0" smtClean="0">
                <a:solidFill>
                  <a:schemeClr val="bg1"/>
                </a:solidFill>
              </a:rPr>
              <a:t>«ОТЛК»</a:t>
            </a:r>
          </a:p>
          <a:p>
            <a:pPr eaLnBrk="1" hangingPunct="1"/>
            <a:r>
              <a:rPr lang="ru-RU" sz="1400" b="1" dirty="0" err="1" smtClean="0">
                <a:solidFill>
                  <a:schemeClr val="bg1"/>
                </a:solidFill>
              </a:rPr>
              <a:t>Ерхат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</a:rPr>
              <a:t>Искалиев</a:t>
            </a:r>
            <a:endParaRPr lang="ru-RU" sz="1400" b="1" dirty="0" smtClean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777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2"/>
          <p:cNvSpPr txBox="1">
            <a:spLocks/>
          </p:cNvSpPr>
          <p:nvPr/>
        </p:nvSpPr>
        <p:spPr>
          <a:xfrm>
            <a:off x="251520" y="0"/>
            <a:ext cx="8784468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charset="0"/>
              <a:buNone/>
            </a:pPr>
            <a:r>
              <a:rPr lang="ru-RU" b="1" dirty="0" smtClean="0">
                <a:latin typeface="Arial" charset="0"/>
                <a:cs typeface="Arial" charset="0"/>
              </a:rPr>
              <a:t>ОТЛК для крупных предприятий: контрактная логистика (3</a:t>
            </a:r>
            <a:r>
              <a:rPr lang="en-US" b="1" dirty="0" smtClean="0">
                <a:latin typeface="Arial" charset="0"/>
                <a:cs typeface="Arial" charset="0"/>
              </a:rPr>
              <a:t>PL</a:t>
            </a:r>
            <a:r>
              <a:rPr lang="ru-RU" b="1" dirty="0" smtClean="0">
                <a:latin typeface="Arial" charset="0"/>
                <a:cs typeface="Arial" charset="0"/>
              </a:rPr>
              <a:t>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3645024"/>
            <a:ext cx="864096" cy="56006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3573016"/>
            <a:ext cx="1440160" cy="44933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8264" y="3645024"/>
            <a:ext cx="1728192" cy="347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2969" y="981715"/>
            <a:ext cx="5147621" cy="2591301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5268071" y="933863"/>
            <a:ext cx="3255660" cy="1514544"/>
          </a:xfrm>
          <a:prstGeom prst="roundRect">
            <a:avLst>
              <a:gd name="adj" fmla="val 10651"/>
            </a:avLst>
          </a:prstGeom>
          <a:solidFill>
            <a:srgbClr val="95B3D7">
              <a:alpha val="2902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>
              <a:solidFill>
                <a:srgbClr val="C0504D">
                  <a:lumMod val="7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297321" y="988151"/>
            <a:ext cx="3127842" cy="309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85000"/>
              </a:lnSpc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ставка готовой продукции </a:t>
            </a:r>
          </a:p>
          <a:p>
            <a:pPr>
              <a:lnSpc>
                <a:spcPct val="85000"/>
              </a:lnSpc>
            </a:pPr>
            <a:r>
              <a:rPr lang="ru-RU" sz="700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екло </a:t>
            </a:r>
            <a:r>
              <a:rPr lang="ru-RU" sz="7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стовое, зеркала</a:t>
            </a:r>
            <a:endParaRPr lang="ru-RU" sz="700" dirty="0" smtClean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297321" y="1336011"/>
            <a:ext cx="3127842" cy="465889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>
              <a:lnSpc>
                <a:spcPct val="85000"/>
              </a:lnSpc>
              <a:spcBef>
                <a:spcPts val="1200"/>
              </a:spcBef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воз ж/д транспортом</a:t>
            </a:r>
            <a:endParaRPr lang="ru-RU" sz="8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879546" y="1118246"/>
            <a:ext cx="2715773" cy="2199363"/>
          </a:xfrm>
          <a:prstGeom prst="roundRect">
            <a:avLst>
              <a:gd name="adj" fmla="val 7573"/>
            </a:avLst>
          </a:prstGeom>
          <a:solidFill>
            <a:srgbClr val="9D95AD">
              <a:alpha val="2902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>
              <a:solidFill>
                <a:srgbClr val="C0504D">
                  <a:lumMod val="7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Прямоугольник с двумя скругленными соседними углами 21"/>
          <p:cNvSpPr/>
          <p:nvPr/>
        </p:nvSpPr>
        <p:spPr>
          <a:xfrm>
            <a:off x="924472" y="1610283"/>
            <a:ext cx="2622503" cy="946717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B7B3C1"/>
              </a:gs>
              <a:gs pos="100000">
                <a:schemeClr val="accent1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 b="1" dirty="0" smtClean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9677" y="2157744"/>
            <a:ext cx="834958" cy="410976"/>
          </a:xfrm>
          <a:prstGeom prst="rect">
            <a:avLst/>
          </a:prstGeom>
        </p:spPr>
      </p:pic>
      <p:sp>
        <p:nvSpPr>
          <p:cNvPr id="24" name="Овал 23"/>
          <p:cNvSpPr/>
          <p:nvPr/>
        </p:nvSpPr>
        <p:spPr>
          <a:xfrm>
            <a:off x="3851920" y="1334270"/>
            <a:ext cx="1170965" cy="1179282"/>
          </a:xfrm>
          <a:prstGeom prst="ellipse">
            <a:avLst/>
          </a:prstGeom>
          <a:gradFill flip="none" rotWithShape="1">
            <a:gsLst>
              <a:gs pos="46000">
                <a:schemeClr val="bg1"/>
              </a:gs>
              <a:gs pos="68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Прямоугольник с двумя скругленными соседними углами 24"/>
          <p:cNvSpPr/>
          <p:nvPr/>
        </p:nvSpPr>
        <p:spPr>
          <a:xfrm>
            <a:off x="924472" y="1150157"/>
            <a:ext cx="2622503" cy="462800"/>
          </a:xfrm>
          <a:prstGeom prst="round2SameRect">
            <a:avLst>
              <a:gd name="adj1" fmla="val 30065"/>
              <a:gd name="adj2" fmla="val 0"/>
            </a:avLst>
          </a:prstGeom>
          <a:gradFill>
            <a:gsLst>
              <a:gs pos="0">
                <a:srgbClr val="B7B3C1"/>
              </a:gs>
              <a:gs pos="100000">
                <a:schemeClr val="accent1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 b="1" dirty="0" smtClean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133285" y="2357238"/>
            <a:ext cx="3230392" cy="881590"/>
          </a:xfrm>
          <a:prstGeom prst="roundRect">
            <a:avLst>
              <a:gd name="adj" fmla="val 21041"/>
            </a:avLst>
          </a:prstGeom>
          <a:solidFill>
            <a:srgbClr val="9D95AD">
              <a:alpha val="29020"/>
            </a:srgb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>
              <a:solidFill>
                <a:srgbClr val="C0504D">
                  <a:lumMod val="7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Прямоугольник 5"/>
          <p:cNvSpPr>
            <a:spLocks noChangeArrowheads="1"/>
          </p:cNvSpPr>
          <p:nvPr/>
        </p:nvSpPr>
        <p:spPr bwMode="auto">
          <a:xfrm>
            <a:off x="1629630" y="1438965"/>
            <a:ext cx="427474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endParaRPr lang="ru-RU" sz="900" i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074153" y="1162703"/>
            <a:ext cx="2390347" cy="39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5000"/>
              </a:lnSpc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ное планирование</a:t>
            </a:r>
            <a:endParaRPr lang="ru-RU" sz="9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64338" y="1763010"/>
            <a:ext cx="2715772" cy="4000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5000"/>
              </a:lnSpc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еспечение завоза сырья</a:t>
            </a:r>
          </a:p>
          <a:p>
            <a:pPr algn="ctr">
              <a:lnSpc>
                <a:spcPct val="85000"/>
              </a:lnSpc>
            </a:pPr>
            <a:r>
              <a:rPr lang="ru-RU" sz="700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л, доломит, песок кварцевый</a:t>
            </a:r>
            <a:endParaRPr lang="ru-RU" sz="700" dirty="0" smtClean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297321" y="1855828"/>
            <a:ext cx="3127842" cy="439229"/>
          </a:xfrm>
          <a:prstGeom prst="rect">
            <a:avLst/>
          </a:prstGeo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>
              <a:lnSpc>
                <a:spcPct val="85000"/>
              </a:lnSpc>
              <a:spcBef>
                <a:spcPts val="1200"/>
              </a:spcBef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воз автотранспортом</a:t>
            </a:r>
            <a:endParaRPr lang="ru-RU" sz="90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692696"/>
            <a:ext cx="2440906" cy="2320489"/>
          </a:xfrm>
          <a:prstGeom prst="rect">
            <a:avLst/>
          </a:prstGeom>
        </p:spPr>
      </p:pic>
      <p:sp>
        <p:nvSpPr>
          <p:cNvPr id="32" name="Прямоугольник с двумя скругленными соседними углами 31"/>
          <p:cNvSpPr/>
          <p:nvPr/>
        </p:nvSpPr>
        <p:spPr>
          <a:xfrm>
            <a:off x="924472" y="2620452"/>
            <a:ext cx="2622503" cy="43088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rgbClr val="B7B3C1"/>
              </a:gs>
              <a:gs pos="100000">
                <a:schemeClr val="accent1">
                  <a:lumMod val="40000"/>
                  <a:lumOff val="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700" b="1" dirty="0" smtClean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917251" y="2723227"/>
            <a:ext cx="2630583" cy="233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85000"/>
              </a:lnSpc>
            </a:pPr>
            <a:r>
              <a:rPr lang="ru-RU" sz="900" b="1" dirty="0" smtClean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испетчерский контроль</a:t>
            </a:r>
            <a:endParaRPr lang="ru-RU" sz="9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86581" y="2151375"/>
            <a:ext cx="713722" cy="367118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417" y="2132965"/>
            <a:ext cx="714691" cy="428011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7974" y="1884681"/>
            <a:ext cx="631029" cy="324583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236295" y="1407093"/>
            <a:ext cx="644188" cy="385788"/>
          </a:xfrm>
          <a:prstGeom prst="rect">
            <a:avLst/>
          </a:prstGeom>
        </p:spPr>
      </p:pic>
      <p:pic>
        <p:nvPicPr>
          <p:cNvPr id="38" name="Рисунок 2" descr="Описание: http://mw2.google.com/mw-panoramio/photos/medium/77000804.jpg"/>
          <p:cNvPicPr>
            <a:picLocks noChangeAspect="1" noChangeArrowheads="1"/>
          </p:cNvPicPr>
          <p:nvPr/>
        </p:nvPicPr>
        <p:blipFill rotWithShape="1">
          <a:blip r:embed="rId13" r:link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5583"/>
          <a:stretch/>
        </p:blipFill>
        <p:spPr bwMode="auto">
          <a:xfrm>
            <a:off x="6296898" y="2554541"/>
            <a:ext cx="731128" cy="621382"/>
          </a:xfrm>
          <a:prstGeom prst="round2DiagRect">
            <a:avLst>
              <a:gd name="adj1" fmla="val 25121"/>
              <a:gd name="adj2" fmla="val 0"/>
            </a:avLst>
          </a:prstGeom>
          <a:ln w="28575" cap="sq">
            <a:solidFill>
              <a:schemeClr val="bg1">
                <a:lumMod val="85000"/>
              </a:schemeClr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1" descr="Описание: http://www.kppzt.kuban.ru/GaLLery/images/samples2/14.jpg"/>
          <p:cNvPicPr>
            <a:picLocks noChangeAspect="1" noChangeArrowheads="1"/>
          </p:cNvPicPr>
          <p:nvPr/>
        </p:nvPicPr>
        <p:blipFill rotWithShape="1">
          <a:blip r:embed="rId15" r:link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96898" y="2400718"/>
            <a:ext cx="730310" cy="443186"/>
          </a:xfrm>
          <a:prstGeom prst="round2DiagRect">
            <a:avLst>
              <a:gd name="adj1" fmla="val 0"/>
              <a:gd name="adj2" fmla="val 34445"/>
            </a:avLst>
          </a:prstGeom>
          <a:ln w="28575" cap="sq">
            <a:solidFill>
              <a:schemeClr val="bg1">
                <a:lumMod val="85000"/>
              </a:schemeClr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449444" y="2818652"/>
            <a:ext cx="456367" cy="27342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6369" y="2472103"/>
            <a:ext cx="456367" cy="27342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66" y="2596625"/>
            <a:ext cx="432202" cy="36411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5974" y="2847307"/>
            <a:ext cx="453795" cy="33203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66288" y="2554541"/>
            <a:ext cx="312815" cy="339573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2313" y="2792152"/>
            <a:ext cx="243090" cy="177944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5928" y="2333912"/>
            <a:ext cx="544050" cy="475249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600" y="5085184"/>
            <a:ext cx="576064" cy="576064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672" y="4581128"/>
            <a:ext cx="1080120" cy="167373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25" cstate="screen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4365104"/>
            <a:ext cx="626195" cy="498310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5373216"/>
            <a:ext cx="1063652" cy="195711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676"/>
          <a:stretch/>
        </p:blipFill>
        <p:spPr>
          <a:xfrm>
            <a:off x="4067944" y="4365104"/>
            <a:ext cx="1030196" cy="525832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9529" y="5229200"/>
            <a:ext cx="1074274" cy="382710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2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8264" y="5229200"/>
            <a:ext cx="1157072" cy="332177"/>
          </a:xfrm>
          <a:prstGeom prst="rect">
            <a:avLst/>
          </a:prstGeom>
        </p:spPr>
      </p:pic>
      <p:sp>
        <p:nvSpPr>
          <p:cNvPr id="51" name="Номер слайда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297BEA-1053-4585-B6AF-A21764F6808A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330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4860032" y="3933056"/>
            <a:ext cx="3752850" cy="2247144"/>
            <a:chOff x="-14075" y="1421183"/>
            <a:chExt cx="4435475" cy="2655889"/>
          </a:xfrm>
        </p:grpSpPr>
        <p:sp>
          <p:nvSpPr>
            <p:cNvPr id="3126" name="AutoShape 81"/>
            <p:cNvSpPr>
              <a:spLocks noChangeAspect="1" noChangeArrowheads="1" noTextEdit="1"/>
            </p:cNvSpPr>
            <p:nvPr/>
          </p:nvSpPr>
          <p:spPr bwMode="auto">
            <a:xfrm>
              <a:off x="-14075" y="1421183"/>
              <a:ext cx="4435475" cy="2655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3155" name="Picture 83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4075" y="1422772"/>
              <a:ext cx="4435475" cy="2654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27" name="Freeform 84"/>
            <p:cNvSpPr>
              <a:spLocks/>
            </p:cNvSpPr>
            <p:nvPr/>
          </p:nvSpPr>
          <p:spPr bwMode="auto">
            <a:xfrm>
              <a:off x="2013163" y="2408608"/>
              <a:ext cx="107950" cy="144463"/>
            </a:xfrm>
            <a:custGeom>
              <a:avLst/>
              <a:gdLst>
                <a:gd name="T0" fmla="*/ 409 w 409"/>
                <a:gd name="T1" fmla="*/ 0 h 544"/>
                <a:gd name="T2" fmla="*/ 365 w 409"/>
                <a:gd name="T3" fmla="*/ 0 h 544"/>
                <a:gd name="T4" fmla="*/ 315 w 409"/>
                <a:gd name="T5" fmla="*/ 0 h 544"/>
                <a:gd name="T6" fmla="*/ 260 w 409"/>
                <a:gd name="T7" fmla="*/ 0 h 544"/>
                <a:gd name="T8" fmla="*/ 205 w 409"/>
                <a:gd name="T9" fmla="*/ 0 h 544"/>
                <a:gd name="T10" fmla="*/ 148 w 409"/>
                <a:gd name="T11" fmla="*/ 0 h 544"/>
                <a:gd name="T12" fmla="*/ 94 w 409"/>
                <a:gd name="T13" fmla="*/ 0 h 544"/>
                <a:gd name="T14" fmla="*/ 44 w 409"/>
                <a:gd name="T15" fmla="*/ 0 h 544"/>
                <a:gd name="T16" fmla="*/ 0 w 409"/>
                <a:gd name="T17" fmla="*/ 0 h 544"/>
                <a:gd name="T18" fmla="*/ 399 w 409"/>
                <a:gd name="T19" fmla="*/ 544 h 544"/>
                <a:gd name="T20" fmla="*/ 409 w 409"/>
                <a:gd name="T21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9" h="544">
                  <a:moveTo>
                    <a:pt x="409" y="0"/>
                  </a:moveTo>
                  <a:lnTo>
                    <a:pt x="365" y="0"/>
                  </a:lnTo>
                  <a:lnTo>
                    <a:pt x="315" y="0"/>
                  </a:lnTo>
                  <a:lnTo>
                    <a:pt x="260" y="0"/>
                  </a:lnTo>
                  <a:lnTo>
                    <a:pt x="205" y="0"/>
                  </a:lnTo>
                  <a:lnTo>
                    <a:pt x="148" y="0"/>
                  </a:lnTo>
                  <a:lnTo>
                    <a:pt x="94" y="0"/>
                  </a:lnTo>
                  <a:lnTo>
                    <a:pt x="44" y="0"/>
                  </a:lnTo>
                  <a:lnTo>
                    <a:pt x="0" y="0"/>
                  </a:lnTo>
                  <a:lnTo>
                    <a:pt x="399" y="544"/>
                  </a:lnTo>
                  <a:lnTo>
                    <a:pt x="40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8" name="Rectangle 85"/>
            <p:cNvSpPr>
              <a:spLocks noChangeArrowheads="1"/>
            </p:cNvSpPr>
            <p:nvPr/>
          </p:nvSpPr>
          <p:spPr bwMode="auto">
            <a:xfrm>
              <a:off x="1663913" y="2265733"/>
              <a:ext cx="45402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9" name="Rectangle 86"/>
            <p:cNvSpPr>
              <a:spLocks noChangeArrowheads="1"/>
            </p:cNvSpPr>
            <p:nvPr/>
          </p:nvSpPr>
          <p:spPr bwMode="auto">
            <a:xfrm>
              <a:off x="1733763" y="2310183"/>
              <a:ext cx="339725" cy="107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700" b="1" dirty="0" err="1" smtClean="0">
                  <a:solidFill>
                    <a:srgbClr val="FFFFFF"/>
                  </a:solidFill>
                </a:rPr>
                <a:t>Раджин</a:t>
              </a:r>
              <a:endParaRPr lang="ru-RU" altLang="ru-RU" dirty="0" smtClean="0">
                <a:solidFill>
                  <a:prstClr val="black"/>
                </a:solidFill>
              </a:endParaRPr>
            </a:p>
          </p:txBody>
        </p:sp>
        <p:sp>
          <p:nvSpPr>
            <p:cNvPr id="3130" name="Rectangle 87"/>
            <p:cNvSpPr>
              <a:spLocks noChangeArrowheads="1"/>
            </p:cNvSpPr>
            <p:nvPr/>
          </p:nvSpPr>
          <p:spPr bwMode="auto">
            <a:xfrm>
              <a:off x="2025863" y="2310183"/>
              <a:ext cx="66675" cy="11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700" b="1" smtClean="0">
                  <a:solidFill>
                    <a:srgbClr val="FFFFFF"/>
                  </a:solidFill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31" name="Freeform 88"/>
            <p:cNvSpPr>
              <a:spLocks noEditPoints="1"/>
            </p:cNvSpPr>
            <p:nvPr/>
          </p:nvSpPr>
          <p:spPr bwMode="auto">
            <a:xfrm>
              <a:off x="2136988" y="1421183"/>
              <a:ext cx="1004888" cy="1089025"/>
            </a:xfrm>
            <a:custGeom>
              <a:avLst/>
              <a:gdLst>
                <a:gd name="T0" fmla="*/ 1217 w 3797"/>
                <a:gd name="T1" fmla="*/ 2782 h 4115"/>
                <a:gd name="T2" fmla="*/ 1126 w 3797"/>
                <a:gd name="T3" fmla="*/ 2876 h 4115"/>
                <a:gd name="T4" fmla="*/ 1048 w 3797"/>
                <a:gd name="T5" fmla="*/ 2953 h 4115"/>
                <a:gd name="T6" fmla="*/ 984 w 3797"/>
                <a:gd name="T7" fmla="*/ 3016 h 4115"/>
                <a:gd name="T8" fmla="*/ 931 w 3797"/>
                <a:gd name="T9" fmla="*/ 3067 h 4115"/>
                <a:gd name="T10" fmla="*/ 887 w 3797"/>
                <a:gd name="T11" fmla="*/ 3105 h 4115"/>
                <a:gd name="T12" fmla="*/ 852 w 3797"/>
                <a:gd name="T13" fmla="*/ 3135 h 4115"/>
                <a:gd name="T14" fmla="*/ 802 w 3797"/>
                <a:gd name="T15" fmla="*/ 3174 h 4115"/>
                <a:gd name="T16" fmla="*/ 771 w 3797"/>
                <a:gd name="T17" fmla="*/ 3196 h 4115"/>
                <a:gd name="T18" fmla="*/ 748 w 3797"/>
                <a:gd name="T19" fmla="*/ 3216 h 4115"/>
                <a:gd name="T20" fmla="*/ 717 w 3797"/>
                <a:gd name="T21" fmla="*/ 3253 h 4115"/>
                <a:gd name="T22" fmla="*/ 695 w 3797"/>
                <a:gd name="T23" fmla="*/ 3284 h 4115"/>
                <a:gd name="T24" fmla="*/ 667 w 3797"/>
                <a:gd name="T25" fmla="*/ 3323 h 4115"/>
                <a:gd name="T26" fmla="*/ 594 w 3797"/>
                <a:gd name="T27" fmla="*/ 3406 h 4115"/>
                <a:gd name="T28" fmla="*/ 511 w 3797"/>
                <a:gd name="T29" fmla="*/ 3469 h 4115"/>
                <a:gd name="T30" fmla="*/ 388 w 3797"/>
                <a:gd name="T31" fmla="*/ 3551 h 4115"/>
                <a:gd name="T32" fmla="*/ 312 w 3797"/>
                <a:gd name="T33" fmla="*/ 3615 h 4115"/>
                <a:gd name="T34" fmla="*/ 258 w 3797"/>
                <a:gd name="T35" fmla="*/ 3677 h 4115"/>
                <a:gd name="T36" fmla="*/ 226 w 3797"/>
                <a:gd name="T37" fmla="*/ 3729 h 4115"/>
                <a:gd name="T38" fmla="*/ 194 w 3797"/>
                <a:gd name="T39" fmla="*/ 3793 h 4115"/>
                <a:gd name="T40" fmla="*/ 164 w 3797"/>
                <a:gd name="T41" fmla="*/ 3890 h 4115"/>
                <a:gd name="T42" fmla="*/ 114 w 3797"/>
                <a:gd name="T43" fmla="*/ 3801 h 4115"/>
                <a:gd name="T44" fmla="*/ 146 w 3797"/>
                <a:gd name="T45" fmla="*/ 3726 h 4115"/>
                <a:gd name="T46" fmla="*/ 182 w 3797"/>
                <a:gd name="T47" fmla="*/ 3662 h 4115"/>
                <a:gd name="T48" fmla="*/ 223 w 3797"/>
                <a:gd name="T49" fmla="*/ 3606 h 4115"/>
                <a:gd name="T50" fmla="*/ 306 w 3797"/>
                <a:gd name="T51" fmla="*/ 3523 h 4115"/>
                <a:gd name="T52" fmla="*/ 389 w 3797"/>
                <a:gd name="T53" fmla="*/ 3463 h 4115"/>
                <a:gd name="T54" fmla="*/ 508 w 3797"/>
                <a:gd name="T55" fmla="*/ 3384 h 4115"/>
                <a:gd name="T56" fmla="*/ 576 w 3797"/>
                <a:gd name="T57" fmla="*/ 3323 h 4115"/>
                <a:gd name="T58" fmla="*/ 624 w 3797"/>
                <a:gd name="T59" fmla="*/ 3260 h 4115"/>
                <a:gd name="T60" fmla="*/ 649 w 3797"/>
                <a:gd name="T61" fmla="*/ 3225 h 4115"/>
                <a:gd name="T62" fmla="*/ 681 w 3797"/>
                <a:gd name="T63" fmla="*/ 3184 h 4115"/>
                <a:gd name="T64" fmla="*/ 713 w 3797"/>
                <a:gd name="T65" fmla="*/ 3149 h 4115"/>
                <a:gd name="T66" fmla="*/ 742 w 3797"/>
                <a:gd name="T67" fmla="*/ 3127 h 4115"/>
                <a:gd name="T68" fmla="*/ 780 w 3797"/>
                <a:gd name="T69" fmla="*/ 3100 h 4115"/>
                <a:gd name="T70" fmla="*/ 822 w 3797"/>
                <a:gd name="T71" fmla="*/ 3067 h 4115"/>
                <a:gd name="T72" fmla="*/ 860 w 3797"/>
                <a:gd name="T73" fmla="*/ 3033 h 4115"/>
                <a:gd name="T74" fmla="*/ 906 w 3797"/>
                <a:gd name="T75" fmla="*/ 2991 h 4115"/>
                <a:gd name="T76" fmla="*/ 964 w 3797"/>
                <a:gd name="T77" fmla="*/ 2936 h 4115"/>
                <a:gd name="T78" fmla="*/ 1034 w 3797"/>
                <a:gd name="T79" fmla="*/ 2867 h 4115"/>
                <a:gd name="T80" fmla="*/ 1118 w 3797"/>
                <a:gd name="T81" fmla="*/ 2782 h 4115"/>
                <a:gd name="T82" fmla="*/ 3606 w 3797"/>
                <a:gd name="T83" fmla="*/ 150 h 4115"/>
                <a:gd name="T84" fmla="*/ 3495 w 3797"/>
                <a:gd name="T85" fmla="*/ 110 h 4115"/>
                <a:gd name="T86" fmla="*/ 3703 w 3797"/>
                <a:gd name="T87" fmla="*/ 308 h 4115"/>
                <a:gd name="T88" fmla="*/ 280 w 3797"/>
                <a:gd name="T89" fmla="*/ 3866 h 4115"/>
                <a:gd name="T90" fmla="*/ 0 w 3797"/>
                <a:gd name="T91" fmla="*/ 3802 h 4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97" h="4115">
                  <a:moveTo>
                    <a:pt x="3658" y="199"/>
                  </a:moveTo>
                  <a:lnTo>
                    <a:pt x="1217" y="2782"/>
                  </a:lnTo>
                  <a:lnTo>
                    <a:pt x="1169" y="2832"/>
                  </a:lnTo>
                  <a:lnTo>
                    <a:pt x="1126" y="2876"/>
                  </a:lnTo>
                  <a:lnTo>
                    <a:pt x="1085" y="2917"/>
                  </a:lnTo>
                  <a:lnTo>
                    <a:pt x="1048" y="2953"/>
                  </a:lnTo>
                  <a:lnTo>
                    <a:pt x="1014" y="2987"/>
                  </a:lnTo>
                  <a:lnTo>
                    <a:pt x="984" y="3016"/>
                  </a:lnTo>
                  <a:lnTo>
                    <a:pt x="956" y="3044"/>
                  </a:lnTo>
                  <a:lnTo>
                    <a:pt x="931" y="3067"/>
                  </a:lnTo>
                  <a:lnTo>
                    <a:pt x="908" y="3088"/>
                  </a:lnTo>
                  <a:lnTo>
                    <a:pt x="887" y="3105"/>
                  </a:lnTo>
                  <a:lnTo>
                    <a:pt x="869" y="3120"/>
                  </a:lnTo>
                  <a:lnTo>
                    <a:pt x="852" y="3135"/>
                  </a:lnTo>
                  <a:lnTo>
                    <a:pt x="824" y="3157"/>
                  </a:lnTo>
                  <a:lnTo>
                    <a:pt x="802" y="3174"/>
                  </a:lnTo>
                  <a:lnTo>
                    <a:pt x="784" y="3186"/>
                  </a:lnTo>
                  <a:lnTo>
                    <a:pt x="771" y="3196"/>
                  </a:lnTo>
                  <a:lnTo>
                    <a:pt x="758" y="3206"/>
                  </a:lnTo>
                  <a:lnTo>
                    <a:pt x="748" y="3216"/>
                  </a:lnTo>
                  <a:lnTo>
                    <a:pt x="734" y="3232"/>
                  </a:lnTo>
                  <a:lnTo>
                    <a:pt x="717" y="3253"/>
                  </a:lnTo>
                  <a:lnTo>
                    <a:pt x="708" y="3267"/>
                  </a:lnTo>
                  <a:lnTo>
                    <a:pt x="695" y="3284"/>
                  </a:lnTo>
                  <a:lnTo>
                    <a:pt x="683" y="3302"/>
                  </a:lnTo>
                  <a:lnTo>
                    <a:pt x="667" y="3323"/>
                  </a:lnTo>
                  <a:lnTo>
                    <a:pt x="632" y="3367"/>
                  </a:lnTo>
                  <a:lnTo>
                    <a:pt x="594" y="3406"/>
                  </a:lnTo>
                  <a:lnTo>
                    <a:pt x="553" y="3441"/>
                  </a:lnTo>
                  <a:lnTo>
                    <a:pt x="511" y="3469"/>
                  </a:lnTo>
                  <a:lnTo>
                    <a:pt x="428" y="3522"/>
                  </a:lnTo>
                  <a:lnTo>
                    <a:pt x="388" y="3551"/>
                  </a:lnTo>
                  <a:lnTo>
                    <a:pt x="348" y="3580"/>
                  </a:lnTo>
                  <a:lnTo>
                    <a:pt x="312" y="3615"/>
                  </a:lnTo>
                  <a:lnTo>
                    <a:pt x="276" y="3654"/>
                  </a:lnTo>
                  <a:lnTo>
                    <a:pt x="258" y="3677"/>
                  </a:lnTo>
                  <a:lnTo>
                    <a:pt x="242" y="3703"/>
                  </a:lnTo>
                  <a:lnTo>
                    <a:pt x="226" y="3729"/>
                  </a:lnTo>
                  <a:lnTo>
                    <a:pt x="210" y="3759"/>
                  </a:lnTo>
                  <a:lnTo>
                    <a:pt x="194" y="3793"/>
                  </a:lnTo>
                  <a:lnTo>
                    <a:pt x="181" y="3828"/>
                  </a:lnTo>
                  <a:lnTo>
                    <a:pt x="164" y="3890"/>
                  </a:lnTo>
                  <a:lnTo>
                    <a:pt x="95" y="3872"/>
                  </a:lnTo>
                  <a:lnTo>
                    <a:pt x="114" y="3801"/>
                  </a:lnTo>
                  <a:lnTo>
                    <a:pt x="130" y="3761"/>
                  </a:lnTo>
                  <a:lnTo>
                    <a:pt x="146" y="3726"/>
                  </a:lnTo>
                  <a:lnTo>
                    <a:pt x="164" y="3692"/>
                  </a:lnTo>
                  <a:lnTo>
                    <a:pt x="182" y="3662"/>
                  </a:lnTo>
                  <a:lnTo>
                    <a:pt x="202" y="3633"/>
                  </a:lnTo>
                  <a:lnTo>
                    <a:pt x="223" y="3606"/>
                  </a:lnTo>
                  <a:lnTo>
                    <a:pt x="263" y="3561"/>
                  </a:lnTo>
                  <a:lnTo>
                    <a:pt x="306" y="3523"/>
                  </a:lnTo>
                  <a:lnTo>
                    <a:pt x="347" y="3491"/>
                  </a:lnTo>
                  <a:lnTo>
                    <a:pt x="389" y="3463"/>
                  </a:lnTo>
                  <a:lnTo>
                    <a:pt x="470" y="3410"/>
                  </a:lnTo>
                  <a:lnTo>
                    <a:pt x="508" y="3384"/>
                  </a:lnTo>
                  <a:lnTo>
                    <a:pt x="543" y="3355"/>
                  </a:lnTo>
                  <a:lnTo>
                    <a:pt x="576" y="3323"/>
                  </a:lnTo>
                  <a:lnTo>
                    <a:pt x="608" y="3282"/>
                  </a:lnTo>
                  <a:lnTo>
                    <a:pt x="624" y="3260"/>
                  </a:lnTo>
                  <a:lnTo>
                    <a:pt x="638" y="3241"/>
                  </a:lnTo>
                  <a:lnTo>
                    <a:pt x="649" y="3225"/>
                  </a:lnTo>
                  <a:lnTo>
                    <a:pt x="661" y="3209"/>
                  </a:lnTo>
                  <a:lnTo>
                    <a:pt x="681" y="3184"/>
                  </a:lnTo>
                  <a:lnTo>
                    <a:pt x="697" y="3165"/>
                  </a:lnTo>
                  <a:lnTo>
                    <a:pt x="713" y="3149"/>
                  </a:lnTo>
                  <a:lnTo>
                    <a:pt x="727" y="3138"/>
                  </a:lnTo>
                  <a:lnTo>
                    <a:pt x="742" y="3127"/>
                  </a:lnTo>
                  <a:lnTo>
                    <a:pt x="759" y="3115"/>
                  </a:lnTo>
                  <a:lnTo>
                    <a:pt x="780" y="3100"/>
                  </a:lnTo>
                  <a:lnTo>
                    <a:pt x="806" y="3079"/>
                  </a:lnTo>
                  <a:lnTo>
                    <a:pt x="822" y="3067"/>
                  </a:lnTo>
                  <a:lnTo>
                    <a:pt x="840" y="3051"/>
                  </a:lnTo>
                  <a:lnTo>
                    <a:pt x="860" y="3033"/>
                  </a:lnTo>
                  <a:lnTo>
                    <a:pt x="882" y="3014"/>
                  </a:lnTo>
                  <a:lnTo>
                    <a:pt x="906" y="2991"/>
                  </a:lnTo>
                  <a:lnTo>
                    <a:pt x="933" y="2965"/>
                  </a:lnTo>
                  <a:lnTo>
                    <a:pt x="964" y="2936"/>
                  </a:lnTo>
                  <a:lnTo>
                    <a:pt x="997" y="2903"/>
                  </a:lnTo>
                  <a:lnTo>
                    <a:pt x="1034" y="2867"/>
                  </a:lnTo>
                  <a:lnTo>
                    <a:pt x="1074" y="2826"/>
                  </a:lnTo>
                  <a:lnTo>
                    <a:pt x="1118" y="2782"/>
                  </a:lnTo>
                  <a:lnTo>
                    <a:pt x="1165" y="2732"/>
                  </a:lnTo>
                  <a:lnTo>
                    <a:pt x="3606" y="150"/>
                  </a:lnTo>
                  <a:lnTo>
                    <a:pt x="3658" y="199"/>
                  </a:lnTo>
                  <a:close/>
                  <a:moveTo>
                    <a:pt x="3495" y="110"/>
                  </a:moveTo>
                  <a:lnTo>
                    <a:pt x="3797" y="0"/>
                  </a:lnTo>
                  <a:lnTo>
                    <a:pt x="3703" y="308"/>
                  </a:lnTo>
                  <a:lnTo>
                    <a:pt x="3495" y="110"/>
                  </a:lnTo>
                  <a:close/>
                  <a:moveTo>
                    <a:pt x="280" y="3866"/>
                  </a:moveTo>
                  <a:lnTo>
                    <a:pt x="76" y="4115"/>
                  </a:lnTo>
                  <a:lnTo>
                    <a:pt x="0" y="3802"/>
                  </a:lnTo>
                  <a:lnTo>
                    <a:pt x="280" y="386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2" name="Freeform 89"/>
            <p:cNvSpPr>
              <a:spLocks/>
            </p:cNvSpPr>
            <p:nvPr/>
          </p:nvSpPr>
          <p:spPr bwMode="auto">
            <a:xfrm>
              <a:off x="2173500" y="2124446"/>
              <a:ext cx="107950" cy="144463"/>
            </a:xfrm>
            <a:custGeom>
              <a:avLst/>
              <a:gdLst>
                <a:gd name="T0" fmla="*/ 408 w 408"/>
                <a:gd name="T1" fmla="*/ 0 h 545"/>
                <a:gd name="T2" fmla="*/ 364 w 408"/>
                <a:gd name="T3" fmla="*/ 0 h 545"/>
                <a:gd name="T4" fmla="*/ 314 w 408"/>
                <a:gd name="T5" fmla="*/ 0 h 545"/>
                <a:gd name="T6" fmla="*/ 260 w 408"/>
                <a:gd name="T7" fmla="*/ 0 h 545"/>
                <a:gd name="T8" fmla="*/ 204 w 408"/>
                <a:gd name="T9" fmla="*/ 0 h 545"/>
                <a:gd name="T10" fmla="*/ 147 w 408"/>
                <a:gd name="T11" fmla="*/ 0 h 545"/>
                <a:gd name="T12" fmla="*/ 93 w 408"/>
                <a:gd name="T13" fmla="*/ 0 h 545"/>
                <a:gd name="T14" fmla="*/ 44 w 408"/>
                <a:gd name="T15" fmla="*/ 0 h 545"/>
                <a:gd name="T16" fmla="*/ 0 w 408"/>
                <a:gd name="T17" fmla="*/ 1 h 545"/>
                <a:gd name="T18" fmla="*/ 399 w 408"/>
                <a:gd name="T19" fmla="*/ 545 h 545"/>
                <a:gd name="T20" fmla="*/ 408 w 408"/>
                <a:gd name="T21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8" h="545">
                  <a:moveTo>
                    <a:pt x="408" y="0"/>
                  </a:moveTo>
                  <a:lnTo>
                    <a:pt x="364" y="0"/>
                  </a:lnTo>
                  <a:lnTo>
                    <a:pt x="314" y="0"/>
                  </a:lnTo>
                  <a:lnTo>
                    <a:pt x="260" y="0"/>
                  </a:lnTo>
                  <a:lnTo>
                    <a:pt x="204" y="0"/>
                  </a:lnTo>
                  <a:lnTo>
                    <a:pt x="147" y="0"/>
                  </a:lnTo>
                  <a:lnTo>
                    <a:pt x="93" y="0"/>
                  </a:lnTo>
                  <a:lnTo>
                    <a:pt x="44" y="0"/>
                  </a:lnTo>
                  <a:lnTo>
                    <a:pt x="0" y="1"/>
                  </a:lnTo>
                  <a:lnTo>
                    <a:pt x="399" y="545"/>
                  </a:lnTo>
                  <a:lnTo>
                    <a:pt x="40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3" name="Rectangle 90"/>
            <p:cNvSpPr>
              <a:spLocks noChangeArrowheads="1"/>
            </p:cNvSpPr>
            <p:nvPr/>
          </p:nvSpPr>
          <p:spPr bwMode="auto">
            <a:xfrm>
              <a:off x="1829013" y="1981571"/>
              <a:ext cx="45402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4" name="Rectangle 91"/>
            <p:cNvSpPr>
              <a:spLocks noChangeArrowheads="1"/>
            </p:cNvSpPr>
            <p:nvPr/>
          </p:nvSpPr>
          <p:spPr bwMode="auto">
            <a:xfrm>
              <a:off x="1898863" y="2026021"/>
              <a:ext cx="263525" cy="107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700" b="1" dirty="0" smtClean="0">
                  <a:solidFill>
                    <a:srgbClr val="FFFFFF"/>
                  </a:solidFill>
                </a:rPr>
                <a:t>Хасан</a:t>
              </a:r>
              <a:endParaRPr lang="ru-RU" altLang="ru-RU" dirty="0" smtClean="0">
                <a:solidFill>
                  <a:prstClr val="black"/>
                </a:solidFill>
              </a:endParaRPr>
            </a:p>
          </p:txBody>
        </p:sp>
        <p:sp>
          <p:nvSpPr>
            <p:cNvPr id="3135" name="Rectangle 92"/>
            <p:cNvSpPr>
              <a:spLocks noChangeArrowheads="1"/>
            </p:cNvSpPr>
            <p:nvPr/>
          </p:nvSpPr>
          <p:spPr bwMode="auto">
            <a:xfrm>
              <a:off x="2214775" y="2026021"/>
              <a:ext cx="66675" cy="11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700" b="1" smtClean="0">
                  <a:solidFill>
                    <a:srgbClr val="FFFFFF"/>
                  </a:solidFill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36" name="Freeform 93"/>
            <p:cNvSpPr>
              <a:spLocks noEditPoints="1"/>
            </p:cNvSpPr>
            <p:nvPr/>
          </p:nvSpPr>
          <p:spPr bwMode="auto">
            <a:xfrm>
              <a:off x="2173500" y="2535609"/>
              <a:ext cx="184150" cy="1393578"/>
            </a:xfrm>
            <a:custGeom>
              <a:avLst/>
              <a:gdLst>
                <a:gd name="T0" fmla="*/ 211 w 856"/>
                <a:gd name="T1" fmla="*/ 401 h 5821"/>
                <a:gd name="T2" fmla="*/ 171 w 856"/>
                <a:gd name="T3" fmla="*/ 519 h 5821"/>
                <a:gd name="T4" fmla="*/ 91 w 856"/>
                <a:gd name="T5" fmla="*/ 242 h 5821"/>
                <a:gd name="T6" fmla="*/ 304 w 856"/>
                <a:gd name="T7" fmla="*/ 704 h 5821"/>
                <a:gd name="T8" fmla="*/ 391 w 856"/>
                <a:gd name="T9" fmla="*/ 978 h 5821"/>
                <a:gd name="T10" fmla="*/ 264 w 856"/>
                <a:gd name="T11" fmla="*/ 817 h 5821"/>
                <a:gd name="T12" fmla="*/ 304 w 856"/>
                <a:gd name="T13" fmla="*/ 704 h 5821"/>
                <a:gd name="T14" fmla="*/ 513 w 856"/>
                <a:gd name="T15" fmla="*/ 1363 h 5821"/>
                <a:gd name="T16" fmla="*/ 474 w 856"/>
                <a:gd name="T17" fmla="*/ 1480 h 5821"/>
                <a:gd name="T18" fmla="*/ 387 w 856"/>
                <a:gd name="T19" fmla="*/ 1206 h 5821"/>
                <a:gd name="T20" fmla="*/ 605 w 856"/>
                <a:gd name="T21" fmla="*/ 1667 h 5821"/>
                <a:gd name="T22" fmla="*/ 674 w 856"/>
                <a:gd name="T23" fmla="*/ 1912 h 5821"/>
                <a:gd name="T24" fmla="*/ 613 w 856"/>
                <a:gd name="T25" fmla="*/ 1963 h 5821"/>
                <a:gd name="T26" fmla="*/ 555 w 856"/>
                <a:gd name="T27" fmla="*/ 1751 h 5821"/>
                <a:gd name="T28" fmla="*/ 605 w 856"/>
                <a:gd name="T29" fmla="*/ 1667 h 5821"/>
                <a:gd name="T30" fmla="*/ 759 w 856"/>
                <a:gd name="T31" fmla="*/ 2273 h 5821"/>
                <a:gd name="T32" fmla="*/ 720 w 856"/>
                <a:gd name="T33" fmla="*/ 2454 h 5821"/>
                <a:gd name="T34" fmla="*/ 663 w 856"/>
                <a:gd name="T35" fmla="*/ 2172 h 5821"/>
                <a:gd name="T36" fmla="*/ 823 w 856"/>
                <a:gd name="T37" fmla="*/ 2656 h 5821"/>
                <a:gd name="T38" fmla="*/ 847 w 856"/>
                <a:gd name="T39" fmla="*/ 2908 h 5821"/>
                <a:gd name="T40" fmla="*/ 777 w 856"/>
                <a:gd name="T41" fmla="*/ 2948 h 5821"/>
                <a:gd name="T42" fmla="*/ 769 w 856"/>
                <a:gd name="T43" fmla="*/ 2825 h 5821"/>
                <a:gd name="T44" fmla="*/ 823 w 856"/>
                <a:gd name="T45" fmla="*/ 2656 h 5821"/>
                <a:gd name="T46" fmla="*/ 856 w 856"/>
                <a:gd name="T47" fmla="*/ 3180 h 5821"/>
                <a:gd name="T48" fmla="*/ 846 w 856"/>
                <a:gd name="T49" fmla="*/ 3452 h 5821"/>
                <a:gd name="T50" fmla="*/ 780 w 856"/>
                <a:gd name="T51" fmla="*/ 3355 h 5821"/>
                <a:gd name="T52" fmla="*/ 783 w 856"/>
                <a:gd name="T53" fmla="*/ 3164 h 5821"/>
                <a:gd name="T54" fmla="*/ 828 w 856"/>
                <a:gd name="T55" fmla="*/ 3669 h 5821"/>
                <a:gd name="T56" fmla="*/ 801 w 856"/>
                <a:gd name="T57" fmla="*/ 3866 h 5821"/>
                <a:gd name="T58" fmla="*/ 714 w 856"/>
                <a:gd name="T59" fmla="*/ 3944 h 5821"/>
                <a:gd name="T60" fmla="*/ 754 w 856"/>
                <a:gd name="T61" fmla="*/ 3691 h 5821"/>
                <a:gd name="T62" fmla="*/ 828 w 856"/>
                <a:gd name="T63" fmla="*/ 3669 h 5821"/>
                <a:gd name="T64" fmla="*/ 732 w 856"/>
                <a:gd name="T65" fmla="*/ 4200 h 5821"/>
                <a:gd name="T66" fmla="*/ 661 w 856"/>
                <a:gd name="T67" fmla="*/ 4450 h 5821"/>
                <a:gd name="T68" fmla="*/ 617 w 856"/>
                <a:gd name="T69" fmla="*/ 4349 h 5821"/>
                <a:gd name="T70" fmla="*/ 669 w 856"/>
                <a:gd name="T71" fmla="*/ 4153 h 5821"/>
                <a:gd name="T72" fmla="*/ 591 w 856"/>
                <a:gd name="T73" fmla="*/ 4655 h 5821"/>
                <a:gd name="T74" fmla="*/ 504 w 856"/>
                <a:gd name="T75" fmla="*/ 4883 h 5821"/>
                <a:gd name="T76" fmla="*/ 419 w 856"/>
                <a:gd name="T77" fmla="*/ 4897 h 5821"/>
                <a:gd name="T78" fmla="*/ 505 w 856"/>
                <a:gd name="T79" fmla="*/ 4684 h 5821"/>
                <a:gd name="T80" fmla="*/ 591 w 856"/>
                <a:gd name="T81" fmla="*/ 4655 h 5821"/>
                <a:gd name="T82" fmla="*/ 342 w 856"/>
                <a:gd name="T83" fmla="*/ 5246 h 5821"/>
                <a:gd name="T84" fmla="*/ 210 w 856"/>
                <a:gd name="T85" fmla="*/ 5354 h 5821"/>
                <a:gd name="T86" fmla="*/ 333 w 856"/>
                <a:gd name="T87" fmla="*/ 5095 h 5821"/>
                <a:gd name="T88" fmla="*/ 177 w 856"/>
                <a:gd name="T89" fmla="*/ 5579 h 5821"/>
                <a:gd name="T90" fmla="*/ 89 w 856"/>
                <a:gd name="T91" fmla="*/ 5593 h 5821"/>
                <a:gd name="T92" fmla="*/ 177 w 856"/>
                <a:gd name="T93" fmla="*/ 5579 h 5821"/>
                <a:gd name="T94" fmla="*/ 61 w 856"/>
                <a:gd name="T95" fmla="*/ 0 h 5821"/>
                <a:gd name="T96" fmla="*/ 0 w 856"/>
                <a:gd name="T97" fmla="*/ 316 h 5821"/>
                <a:gd name="T98" fmla="*/ 8 w 856"/>
                <a:gd name="T99" fmla="*/ 5821 h 5821"/>
                <a:gd name="T100" fmla="*/ 270 w 856"/>
                <a:gd name="T101" fmla="*/ 5633 h 5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6" h="5821">
                  <a:moveTo>
                    <a:pt x="160" y="222"/>
                  </a:moveTo>
                  <a:lnTo>
                    <a:pt x="211" y="401"/>
                  </a:lnTo>
                  <a:lnTo>
                    <a:pt x="241" y="499"/>
                  </a:lnTo>
                  <a:lnTo>
                    <a:pt x="171" y="519"/>
                  </a:lnTo>
                  <a:lnTo>
                    <a:pt x="142" y="421"/>
                  </a:lnTo>
                  <a:lnTo>
                    <a:pt x="91" y="242"/>
                  </a:lnTo>
                  <a:lnTo>
                    <a:pt x="160" y="222"/>
                  </a:lnTo>
                  <a:close/>
                  <a:moveTo>
                    <a:pt x="304" y="704"/>
                  </a:moveTo>
                  <a:lnTo>
                    <a:pt x="333" y="795"/>
                  </a:lnTo>
                  <a:lnTo>
                    <a:pt x="391" y="978"/>
                  </a:lnTo>
                  <a:lnTo>
                    <a:pt x="322" y="1000"/>
                  </a:lnTo>
                  <a:lnTo>
                    <a:pt x="264" y="817"/>
                  </a:lnTo>
                  <a:lnTo>
                    <a:pt x="235" y="726"/>
                  </a:lnTo>
                  <a:lnTo>
                    <a:pt x="304" y="704"/>
                  </a:lnTo>
                  <a:close/>
                  <a:moveTo>
                    <a:pt x="456" y="1185"/>
                  </a:moveTo>
                  <a:lnTo>
                    <a:pt x="513" y="1363"/>
                  </a:lnTo>
                  <a:lnTo>
                    <a:pt x="542" y="1459"/>
                  </a:lnTo>
                  <a:lnTo>
                    <a:pt x="474" y="1480"/>
                  </a:lnTo>
                  <a:lnTo>
                    <a:pt x="445" y="1384"/>
                  </a:lnTo>
                  <a:lnTo>
                    <a:pt x="387" y="1206"/>
                  </a:lnTo>
                  <a:lnTo>
                    <a:pt x="456" y="1185"/>
                  </a:lnTo>
                  <a:close/>
                  <a:moveTo>
                    <a:pt x="605" y="1667"/>
                  </a:moveTo>
                  <a:lnTo>
                    <a:pt x="624" y="1731"/>
                  </a:lnTo>
                  <a:lnTo>
                    <a:pt x="674" y="1912"/>
                  </a:lnTo>
                  <a:lnTo>
                    <a:pt x="682" y="1946"/>
                  </a:lnTo>
                  <a:lnTo>
                    <a:pt x="613" y="1963"/>
                  </a:lnTo>
                  <a:lnTo>
                    <a:pt x="604" y="1931"/>
                  </a:lnTo>
                  <a:lnTo>
                    <a:pt x="555" y="1751"/>
                  </a:lnTo>
                  <a:lnTo>
                    <a:pt x="536" y="1687"/>
                  </a:lnTo>
                  <a:lnTo>
                    <a:pt x="605" y="1667"/>
                  </a:lnTo>
                  <a:close/>
                  <a:moveTo>
                    <a:pt x="733" y="2156"/>
                  </a:moveTo>
                  <a:lnTo>
                    <a:pt x="759" y="2273"/>
                  </a:lnTo>
                  <a:lnTo>
                    <a:pt x="791" y="2440"/>
                  </a:lnTo>
                  <a:lnTo>
                    <a:pt x="720" y="2454"/>
                  </a:lnTo>
                  <a:lnTo>
                    <a:pt x="689" y="2289"/>
                  </a:lnTo>
                  <a:lnTo>
                    <a:pt x="663" y="2172"/>
                  </a:lnTo>
                  <a:lnTo>
                    <a:pt x="733" y="2156"/>
                  </a:lnTo>
                  <a:close/>
                  <a:moveTo>
                    <a:pt x="823" y="2656"/>
                  </a:moveTo>
                  <a:lnTo>
                    <a:pt x="841" y="2816"/>
                  </a:lnTo>
                  <a:lnTo>
                    <a:pt x="847" y="2908"/>
                  </a:lnTo>
                  <a:lnTo>
                    <a:pt x="849" y="2945"/>
                  </a:lnTo>
                  <a:lnTo>
                    <a:pt x="777" y="2948"/>
                  </a:lnTo>
                  <a:lnTo>
                    <a:pt x="776" y="2914"/>
                  </a:lnTo>
                  <a:lnTo>
                    <a:pt x="769" y="2825"/>
                  </a:lnTo>
                  <a:lnTo>
                    <a:pt x="752" y="2664"/>
                  </a:lnTo>
                  <a:lnTo>
                    <a:pt x="823" y="2656"/>
                  </a:lnTo>
                  <a:close/>
                  <a:moveTo>
                    <a:pt x="855" y="3162"/>
                  </a:moveTo>
                  <a:lnTo>
                    <a:pt x="856" y="3180"/>
                  </a:lnTo>
                  <a:lnTo>
                    <a:pt x="852" y="3357"/>
                  </a:lnTo>
                  <a:lnTo>
                    <a:pt x="846" y="3452"/>
                  </a:lnTo>
                  <a:lnTo>
                    <a:pt x="775" y="3449"/>
                  </a:lnTo>
                  <a:lnTo>
                    <a:pt x="780" y="3355"/>
                  </a:lnTo>
                  <a:lnTo>
                    <a:pt x="783" y="3182"/>
                  </a:lnTo>
                  <a:lnTo>
                    <a:pt x="783" y="3164"/>
                  </a:lnTo>
                  <a:lnTo>
                    <a:pt x="855" y="3162"/>
                  </a:lnTo>
                  <a:close/>
                  <a:moveTo>
                    <a:pt x="828" y="3669"/>
                  </a:moveTo>
                  <a:lnTo>
                    <a:pt x="825" y="3698"/>
                  </a:lnTo>
                  <a:lnTo>
                    <a:pt x="801" y="3866"/>
                  </a:lnTo>
                  <a:lnTo>
                    <a:pt x="784" y="3957"/>
                  </a:lnTo>
                  <a:lnTo>
                    <a:pt x="714" y="3944"/>
                  </a:lnTo>
                  <a:lnTo>
                    <a:pt x="731" y="3857"/>
                  </a:lnTo>
                  <a:lnTo>
                    <a:pt x="754" y="3691"/>
                  </a:lnTo>
                  <a:lnTo>
                    <a:pt x="756" y="3663"/>
                  </a:lnTo>
                  <a:lnTo>
                    <a:pt x="828" y="3669"/>
                  </a:lnTo>
                  <a:close/>
                  <a:moveTo>
                    <a:pt x="739" y="4170"/>
                  </a:moveTo>
                  <a:lnTo>
                    <a:pt x="732" y="4200"/>
                  </a:lnTo>
                  <a:lnTo>
                    <a:pt x="686" y="4368"/>
                  </a:lnTo>
                  <a:lnTo>
                    <a:pt x="661" y="4450"/>
                  </a:lnTo>
                  <a:lnTo>
                    <a:pt x="592" y="4428"/>
                  </a:lnTo>
                  <a:lnTo>
                    <a:pt x="617" y="4349"/>
                  </a:lnTo>
                  <a:lnTo>
                    <a:pt x="662" y="4184"/>
                  </a:lnTo>
                  <a:lnTo>
                    <a:pt x="669" y="4153"/>
                  </a:lnTo>
                  <a:lnTo>
                    <a:pt x="739" y="4170"/>
                  </a:lnTo>
                  <a:close/>
                  <a:moveTo>
                    <a:pt x="591" y="4655"/>
                  </a:moveTo>
                  <a:lnTo>
                    <a:pt x="572" y="4708"/>
                  </a:lnTo>
                  <a:lnTo>
                    <a:pt x="504" y="4883"/>
                  </a:lnTo>
                  <a:lnTo>
                    <a:pt x="486" y="4925"/>
                  </a:lnTo>
                  <a:lnTo>
                    <a:pt x="419" y="4897"/>
                  </a:lnTo>
                  <a:lnTo>
                    <a:pt x="436" y="4856"/>
                  </a:lnTo>
                  <a:lnTo>
                    <a:pt x="505" y="4684"/>
                  </a:lnTo>
                  <a:lnTo>
                    <a:pt x="523" y="4632"/>
                  </a:lnTo>
                  <a:lnTo>
                    <a:pt x="591" y="4655"/>
                  </a:lnTo>
                  <a:close/>
                  <a:moveTo>
                    <a:pt x="399" y="5124"/>
                  </a:moveTo>
                  <a:lnTo>
                    <a:pt x="342" y="5246"/>
                  </a:lnTo>
                  <a:lnTo>
                    <a:pt x="274" y="5385"/>
                  </a:lnTo>
                  <a:lnTo>
                    <a:pt x="210" y="5354"/>
                  </a:lnTo>
                  <a:lnTo>
                    <a:pt x="277" y="5216"/>
                  </a:lnTo>
                  <a:lnTo>
                    <a:pt x="333" y="5095"/>
                  </a:lnTo>
                  <a:lnTo>
                    <a:pt x="399" y="5124"/>
                  </a:lnTo>
                  <a:close/>
                  <a:moveTo>
                    <a:pt x="177" y="5579"/>
                  </a:moveTo>
                  <a:lnTo>
                    <a:pt x="153" y="5625"/>
                  </a:lnTo>
                  <a:lnTo>
                    <a:pt x="89" y="5593"/>
                  </a:lnTo>
                  <a:lnTo>
                    <a:pt x="113" y="5545"/>
                  </a:lnTo>
                  <a:lnTo>
                    <a:pt x="177" y="5579"/>
                  </a:lnTo>
                  <a:close/>
                  <a:moveTo>
                    <a:pt x="0" y="316"/>
                  </a:moveTo>
                  <a:lnTo>
                    <a:pt x="61" y="0"/>
                  </a:lnTo>
                  <a:lnTo>
                    <a:pt x="277" y="240"/>
                  </a:lnTo>
                  <a:lnTo>
                    <a:pt x="0" y="316"/>
                  </a:lnTo>
                  <a:close/>
                  <a:moveTo>
                    <a:pt x="270" y="5633"/>
                  </a:moveTo>
                  <a:lnTo>
                    <a:pt x="8" y="5821"/>
                  </a:lnTo>
                  <a:lnTo>
                    <a:pt x="15" y="5499"/>
                  </a:lnTo>
                  <a:lnTo>
                    <a:pt x="270" y="5633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7" name="Freeform 94"/>
            <p:cNvSpPr>
              <a:spLocks noEditPoints="1"/>
            </p:cNvSpPr>
            <p:nvPr/>
          </p:nvSpPr>
          <p:spPr bwMode="auto">
            <a:xfrm>
              <a:off x="2219538" y="2510208"/>
              <a:ext cx="1120775" cy="1468438"/>
            </a:xfrm>
            <a:custGeom>
              <a:avLst/>
              <a:gdLst>
                <a:gd name="T0" fmla="*/ 255 w 4237"/>
                <a:gd name="T1" fmla="*/ 174 h 6219"/>
                <a:gd name="T2" fmla="*/ 373 w 4237"/>
                <a:gd name="T3" fmla="*/ 375 h 6219"/>
                <a:gd name="T4" fmla="*/ 157 w 4237"/>
                <a:gd name="T5" fmla="*/ 186 h 6219"/>
                <a:gd name="T6" fmla="*/ 582 w 4237"/>
                <a:gd name="T7" fmla="*/ 465 h 6219"/>
                <a:gd name="T8" fmla="*/ 797 w 4237"/>
                <a:gd name="T9" fmla="*/ 657 h 6219"/>
                <a:gd name="T10" fmla="*/ 650 w 4237"/>
                <a:gd name="T11" fmla="*/ 621 h 6219"/>
                <a:gd name="T12" fmla="*/ 582 w 4237"/>
                <a:gd name="T13" fmla="*/ 465 h 6219"/>
                <a:gd name="T14" fmla="*/ 1114 w 4237"/>
                <a:gd name="T15" fmla="*/ 948 h 6219"/>
                <a:gd name="T16" fmla="*/ 1119 w 4237"/>
                <a:gd name="T17" fmla="*/ 1051 h 6219"/>
                <a:gd name="T18" fmla="*/ 908 w 4237"/>
                <a:gd name="T19" fmla="*/ 856 h 6219"/>
                <a:gd name="T20" fmla="*/ 1326 w 4237"/>
                <a:gd name="T21" fmla="*/ 1148 h 6219"/>
                <a:gd name="T22" fmla="*/ 1534 w 4237"/>
                <a:gd name="T23" fmla="*/ 1348 h 6219"/>
                <a:gd name="T24" fmla="*/ 1453 w 4237"/>
                <a:gd name="T25" fmla="*/ 1370 h 6219"/>
                <a:gd name="T26" fmla="*/ 1326 w 4237"/>
                <a:gd name="T27" fmla="*/ 1148 h 6219"/>
                <a:gd name="T28" fmla="*/ 1865 w 4237"/>
                <a:gd name="T29" fmla="*/ 1681 h 6219"/>
                <a:gd name="T30" fmla="*/ 1838 w 4237"/>
                <a:gd name="T31" fmla="*/ 1756 h 6219"/>
                <a:gd name="T32" fmla="*/ 1636 w 4237"/>
                <a:gd name="T33" fmla="*/ 1551 h 6219"/>
                <a:gd name="T34" fmla="*/ 1687 w 4237"/>
                <a:gd name="T35" fmla="*/ 1500 h 6219"/>
                <a:gd name="T36" fmla="*/ 2200 w 4237"/>
                <a:gd name="T37" fmla="*/ 2040 h 6219"/>
                <a:gd name="T38" fmla="*/ 2179 w 4237"/>
                <a:gd name="T39" fmla="*/ 2124 h 6219"/>
                <a:gd name="T40" fmla="*/ 1985 w 4237"/>
                <a:gd name="T41" fmla="*/ 1912 h 6219"/>
                <a:gd name="T42" fmla="*/ 2376 w 4237"/>
                <a:gd name="T43" fmla="*/ 2239 h 6219"/>
                <a:gd name="T44" fmla="*/ 2562 w 4237"/>
                <a:gd name="T45" fmla="*/ 2460 h 6219"/>
                <a:gd name="T46" fmla="*/ 2455 w 4237"/>
                <a:gd name="T47" fmla="*/ 2444 h 6219"/>
                <a:gd name="T48" fmla="*/ 2376 w 4237"/>
                <a:gd name="T49" fmla="*/ 2239 h 6219"/>
                <a:gd name="T50" fmla="*/ 2794 w 4237"/>
                <a:gd name="T51" fmla="*/ 2755 h 6219"/>
                <a:gd name="T52" fmla="*/ 2813 w 4237"/>
                <a:gd name="T53" fmla="*/ 2904 h 6219"/>
                <a:gd name="T54" fmla="*/ 2640 w 4237"/>
                <a:gd name="T55" fmla="*/ 2674 h 6219"/>
                <a:gd name="T56" fmla="*/ 2996 w 4237"/>
                <a:gd name="T57" fmla="*/ 3038 h 6219"/>
                <a:gd name="T58" fmla="*/ 3156 w 4237"/>
                <a:gd name="T59" fmla="*/ 3279 h 6219"/>
                <a:gd name="T60" fmla="*/ 2991 w 4237"/>
                <a:gd name="T61" fmla="*/ 3158 h 6219"/>
                <a:gd name="T62" fmla="*/ 2996 w 4237"/>
                <a:gd name="T63" fmla="*/ 3038 h 6219"/>
                <a:gd name="T64" fmla="*/ 3282 w 4237"/>
                <a:gd name="T65" fmla="*/ 3485 h 6219"/>
                <a:gd name="T66" fmla="*/ 3412 w 4237"/>
                <a:gd name="T67" fmla="*/ 3717 h 6219"/>
                <a:gd name="T68" fmla="*/ 3326 w 4237"/>
                <a:gd name="T69" fmla="*/ 3708 h 6219"/>
                <a:gd name="T70" fmla="*/ 3208 w 4237"/>
                <a:gd name="T71" fmla="*/ 3501 h 6219"/>
                <a:gd name="T72" fmla="*/ 3511 w 4237"/>
                <a:gd name="T73" fmla="*/ 3909 h 6219"/>
                <a:gd name="T74" fmla="*/ 3633 w 4237"/>
                <a:gd name="T75" fmla="*/ 4171 h 6219"/>
                <a:gd name="T76" fmla="*/ 3517 w 4237"/>
                <a:gd name="T77" fmla="*/ 4086 h 6219"/>
                <a:gd name="T78" fmla="*/ 3511 w 4237"/>
                <a:gd name="T79" fmla="*/ 3909 h 6219"/>
                <a:gd name="T80" fmla="*/ 3750 w 4237"/>
                <a:gd name="T81" fmla="*/ 4451 h 6219"/>
                <a:gd name="T82" fmla="*/ 3752 w 4237"/>
                <a:gd name="T83" fmla="*/ 4667 h 6219"/>
                <a:gd name="T84" fmla="*/ 3650 w 4237"/>
                <a:gd name="T85" fmla="*/ 4399 h 6219"/>
                <a:gd name="T86" fmla="*/ 3887 w 4237"/>
                <a:gd name="T87" fmla="*/ 4849 h 6219"/>
                <a:gd name="T88" fmla="*/ 3953 w 4237"/>
                <a:gd name="T89" fmla="*/ 5073 h 6219"/>
                <a:gd name="T90" fmla="*/ 3897 w 4237"/>
                <a:gd name="T91" fmla="*/ 5146 h 6219"/>
                <a:gd name="T92" fmla="*/ 3823 w 4237"/>
                <a:gd name="T93" fmla="*/ 4884 h 6219"/>
                <a:gd name="T94" fmla="*/ 3887 w 4237"/>
                <a:gd name="T95" fmla="*/ 4849 h 6219"/>
                <a:gd name="T96" fmla="*/ 4058 w 4237"/>
                <a:gd name="T97" fmla="*/ 5513 h 6219"/>
                <a:gd name="T98" fmla="*/ 4007 w 4237"/>
                <a:gd name="T99" fmla="*/ 5635 h 6219"/>
                <a:gd name="T100" fmla="*/ 3949 w 4237"/>
                <a:gd name="T101" fmla="*/ 5354 h 6219"/>
                <a:gd name="T102" fmla="*/ 4115 w 4237"/>
                <a:gd name="T103" fmla="*/ 5836 h 6219"/>
                <a:gd name="T104" fmla="*/ 4065 w 4237"/>
                <a:gd name="T105" fmla="*/ 5987 h 6219"/>
                <a:gd name="T106" fmla="*/ 4115 w 4237"/>
                <a:gd name="T107" fmla="*/ 5836 h 6219"/>
                <a:gd name="T108" fmla="*/ 0 w 4237"/>
                <a:gd name="T109" fmla="*/ 0 h 6219"/>
                <a:gd name="T110" fmla="*/ 122 w 4237"/>
                <a:gd name="T111" fmla="*/ 298 h 6219"/>
                <a:gd name="T112" fmla="*/ 4132 w 4237"/>
                <a:gd name="T113" fmla="*/ 6219 h 6219"/>
                <a:gd name="T114" fmla="*/ 4237 w 4237"/>
                <a:gd name="T115" fmla="*/ 5915 h 6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37" h="6219">
                  <a:moveTo>
                    <a:pt x="204" y="131"/>
                  </a:moveTo>
                  <a:lnTo>
                    <a:pt x="255" y="174"/>
                  </a:lnTo>
                  <a:lnTo>
                    <a:pt x="421" y="321"/>
                  </a:lnTo>
                  <a:lnTo>
                    <a:pt x="373" y="375"/>
                  </a:lnTo>
                  <a:lnTo>
                    <a:pt x="207" y="229"/>
                  </a:lnTo>
                  <a:lnTo>
                    <a:pt x="157" y="186"/>
                  </a:lnTo>
                  <a:lnTo>
                    <a:pt x="204" y="131"/>
                  </a:lnTo>
                  <a:close/>
                  <a:moveTo>
                    <a:pt x="582" y="465"/>
                  </a:moveTo>
                  <a:lnTo>
                    <a:pt x="698" y="567"/>
                  </a:lnTo>
                  <a:lnTo>
                    <a:pt x="797" y="657"/>
                  </a:lnTo>
                  <a:lnTo>
                    <a:pt x="748" y="711"/>
                  </a:lnTo>
                  <a:lnTo>
                    <a:pt x="650" y="621"/>
                  </a:lnTo>
                  <a:lnTo>
                    <a:pt x="534" y="518"/>
                  </a:lnTo>
                  <a:lnTo>
                    <a:pt x="582" y="465"/>
                  </a:lnTo>
                  <a:close/>
                  <a:moveTo>
                    <a:pt x="956" y="803"/>
                  </a:moveTo>
                  <a:lnTo>
                    <a:pt x="1114" y="948"/>
                  </a:lnTo>
                  <a:lnTo>
                    <a:pt x="1168" y="999"/>
                  </a:lnTo>
                  <a:lnTo>
                    <a:pt x="1119" y="1051"/>
                  </a:lnTo>
                  <a:lnTo>
                    <a:pt x="1064" y="1000"/>
                  </a:lnTo>
                  <a:lnTo>
                    <a:pt x="908" y="856"/>
                  </a:lnTo>
                  <a:lnTo>
                    <a:pt x="956" y="803"/>
                  </a:lnTo>
                  <a:close/>
                  <a:moveTo>
                    <a:pt x="1326" y="1148"/>
                  </a:moveTo>
                  <a:lnTo>
                    <a:pt x="1502" y="1317"/>
                  </a:lnTo>
                  <a:lnTo>
                    <a:pt x="1534" y="1348"/>
                  </a:lnTo>
                  <a:lnTo>
                    <a:pt x="1482" y="1399"/>
                  </a:lnTo>
                  <a:lnTo>
                    <a:pt x="1453" y="1370"/>
                  </a:lnTo>
                  <a:lnTo>
                    <a:pt x="1276" y="1200"/>
                  </a:lnTo>
                  <a:lnTo>
                    <a:pt x="1326" y="1148"/>
                  </a:lnTo>
                  <a:close/>
                  <a:moveTo>
                    <a:pt x="1687" y="1500"/>
                  </a:moveTo>
                  <a:lnTo>
                    <a:pt x="1865" y="1681"/>
                  </a:lnTo>
                  <a:lnTo>
                    <a:pt x="1889" y="1706"/>
                  </a:lnTo>
                  <a:lnTo>
                    <a:pt x="1838" y="1756"/>
                  </a:lnTo>
                  <a:lnTo>
                    <a:pt x="1813" y="1731"/>
                  </a:lnTo>
                  <a:lnTo>
                    <a:pt x="1636" y="1551"/>
                  </a:lnTo>
                  <a:lnTo>
                    <a:pt x="1636" y="1551"/>
                  </a:lnTo>
                  <a:lnTo>
                    <a:pt x="1687" y="1500"/>
                  </a:lnTo>
                  <a:close/>
                  <a:moveTo>
                    <a:pt x="2038" y="1863"/>
                  </a:moveTo>
                  <a:lnTo>
                    <a:pt x="2200" y="2040"/>
                  </a:lnTo>
                  <a:lnTo>
                    <a:pt x="2233" y="2077"/>
                  </a:lnTo>
                  <a:lnTo>
                    <a:pt x="2179" y="2124"/>
                  </a:lnTo>
                  <a:lnTo>
                    <a:pt x="2148" y="2088"/>
                  </a:lnTo>
                  <a:lnTo>
                    <a:pt x="1985" y="1912"/>
                  </a:lnTo>
                  <a:lnTo>
                    <a:pt x="2038" y="1863"/>
                  </a:lnTo>
                  <a:close/>
                  <a:moveTo>
                    <a:pt x="2376" y="2239"/>
                  </a:moveTo>
                  <a:lnTo>
                    <a:pt x="2510" y="2398"/>
                  </a:lnTo>
                  <a:lnTo>
                    <a:pt x="2562" y="2460"/>
                  </a:lnTo>
                  <a:lnTo>
                    <a:pt x="2506" y="2507"/>
                  </a:lnTo>
                  <a:lnTo>
                    <a:pt x="2455" y="2444"/>
                  </a:lnTo>
                  <a:lnTo>
                    <a:pt x="2322" y="2285"/>
                  </a:lnTo>
                  <a:lnTo>
                    <a:pt x="2376" y="2239"/>
                  </a:lnTo>
                  <a:close/>
                  <a:moveTo>
                    <a:pt x="2697" y="2630"/>
                  </a:moveTo>
                  <a:lnTo>
                    <a:pt x="2794" y="2755"/>
                  </a:lnTo>
                  <a:lnTo>
                    <a:pt x="2871" y="2861"/>
                  </a:lnTo>
                  <a:lnTo>
                    <a:pt x="2813" y="2904"/>
                  </a:lnTo>
                  <a:lnTo>
                    <a:pt x="2736" y="2799"/>
                  </a:lnTo>
                  <a:lnTo>
                    <a:pt x="2640" y="2674"/>
                  </a:lnTo>
                  <a:lnTo>
                    <a:pt x="2697" y="2630"/>
                  </a:lnTo>
                  <a:close/>
                  <a:moveTo>
                    <a:pt x="2996" y="3038"/>
                  </a:moveTo>
                  <a:lnTo>
                    <a:pt x="3051" y="3117"/>
                  </a:lnTo>
                  <a:lnTo>
                    <a:pt x="3156" y="3279"/>
                  </a:lnTo>
                  <a:lnTo>
                    <a:pt x="3096" y="3317"/>
                  </a:lnTo>
                  <a:lnTo>
                    <a:pt x="2991" y="3158"/>
                  </a:lnTo>
                  <a:lnTo>
                    <a:pt x="2937" y="3079"/>
                  </a:lnTo>
                  <a:lnTo>
                    <a:pt x="2996" y="3038"/>
                  </a:lnTo>
                  <a:close/>
                  <a:moveTo>
                    <a:pt x="3270" y="3464"/>
                  </a:moveTo>
                  <a:lnTo>
                    <a:pt x="3282" y="3485"/>
                  </a:lnTo>
                  <a:lnTo>
                    <a:pt x="3388" y="3672"/>
                  </a:lnTo>
                  <a:lnTo>
                    <a:pt x="3412" y="3717"/>
                  </a:lnTo>
                  <a:lnTo>
                    <a:pt x="3348" y="3750"/>
                  </a:lnTo>
                  <a:lnTo>
                    <a:pt x="3326" y="3708"/>
                  </a:lnTo>
                  <a:lnTo>
                    <a:pt x="3221" y="3523"/>
                  </a:lnTo>
                  <a:lnTo>
                    <a:pt x="3208" y="3501"/>
                  </a:lnTo>
                  <a:lnTo>
                    <a:pt x="3270" y="3464"/>
                  </a:lnTo>
                  <a:close/>
                  <a:moveTo>
                    <a:pt x="3511" y="3909"/>
                  </a:moveTo>
                  <a:lnTo>
                    <a:pt x="3581" y="4055"/>
                  </a:lnTo>
                  <a:lnTo>
                    <a:pt x="3633" y="4171"/>
                  </a:lnTo>
                  <a:lnTo>
                    <a:pt x="3567" y="4201"/>
                  </a:lnTo>
                  <a:lnTo>
                    <a:pt x="3517" y="4086"/>
                  </a:lnTo>
                  <a:lnTo>
                    <a:pt x="3447" y="3941"/>
                  </a:lnTo>
                  <a:lnTo>
                    <a:pt x="3511" y="3909"/>
                  </a:lnTo>
                  <a:close/>
                  <a:moveTo>
                    <a:pt x="3717" y="4371"/>
                  </a:moveTo>
                  <a:lnTo>
                    <a:pt x="3750" y="4451"/>
                  </a:lnTo>
                  <a:lnTo>
                    <a:pt x="3820" y="4643"/>
                  </a:lnTo>
                  <a:lnTo>
                    <a:pt x="3752" y="4667"/>
                  </a:lnTo>
                  <a:lnTo>
                    <a:pt x="3683" y="4477"/>
                  </a:lnTo>
                  <a:lnTo>
                    <a:pt x="3650" y="4399"/>
                  </a:lnTo>
                  <a:lnTo>
                    <a:pt x="3717" y="4371"/>
                  </a:lnTo>
                  <a:close/>
                  <a:moveTo>
                    <a:pt x="3887" y="4849"/>
                  </a:moveTo>
                  <a:lnTo>
                    <a:pt x="3891" y="4862"/>
                  </a:lnTo>
                  <a:lnTo>
                    <a:pt x="3953" y="5073"/>
                  </a:lnTo>
                  <a:lnTo>
                    <a:pt x="3967" y="5128"/>
                  </a:lnTo>
                  <a:lnTo>
                    <a:pt x="3897" y="5146"/>
                  </a:lnTo>
                  <a:lnTo>
                    <a:pt x="3884" y="5094"/>
                  </a:lnTo>
                  <a:lnTo>
                    <a:pt x="3823" y="4884"/>
                  </a:lnTo>
                  <a:lnTo>
                    <a:pt x="3819" y="4871"/>
                  </a:lnTo>
                  <a:lnTo>
                    <a:pt x="3887" y="4849"/>
                  </a:lnTo>
                  <a:close/>
                  <a:moveTo>
                    <a:pt x="4019" y="5340"/>
                  </a:moveTo>
                  <a:lnTo>
                    <a:pt x="4058" y="5513"/>
                  </a:lnTo>
                  <a:lnTo>
                    <a:pt x="4078" y="5621"/>
                  </a:lnTo>
                  <a:lnTo>
                    <a:pt x="4007" y="5635"/>
                  </a:lnTo>
                  <a:lnTo>
                    <a:pt x="3988" y="5529"/>
                  </a:lnTo>
                  <a:lnTo>
                    <a:pt x="3949" y="5354"/>
                  </a:lnTo>
                  <a:lnTo>
                    <a:pt x="4019" y="5340"/>
                  </a:lnTo>
                  <a:close/>
                  <a:moveTo>
                    <a:pt x="4115" y="5836"/>
                  </a:moveTo>
                  <a:lnTo>
                    <a:pt x="4136" y="5975"/>
                  </a:lnTo>
                  <a:lnTo>
                    <a:pt x="4065" y="5987"/>
                  </a:lnTo>
                  <a:lnTo>
                    <a:pt x="4044" y="5847"/>
                  </a:lnTo>
                  <a:lnTo>
                    <a:pt x="4115" y="5836"/>
                  </a:lnTo>
                  <a:close/>
                  <a:moveTo>
                    <a:pt x="122" y="298"/>
                  </a:moveTo>
                  <a:lnTo>
                    <a:pt x="0" y="0"/>
                  </a:lnTo>
                  <a:lnTo>
                    <a:pt x="311" y="81"/>
                  </a:lnTo>
                  <a:lnTo>
                    <a:pt x="122" y="298"/>
                  </a:lnTo>
                  <a:close/>
                  <a:moveTo>
                    <a:pt x="4237" y="5915"/>
                  </a:moveTo>
                  <a:lnTo>
                    <a:pt x="4132" y="6219"/>
                  </a:lnTo>
                  <a:lnTo>
                    <a:pt x="3952" y="5952"/>
                  </a:lnTo>
                  <a:lnTo>
                    <a:pt x="4237" y="5915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8" name="Freeform 95"/>
            <p:cNvSpPr>
              <a:spLocks noEditPoints="1"/>
            </p:cNvSpPr>
            <p:nvPr/>
          </p:nvSpPr>
          <p:spPr bwMode="auto">
            <a:xfrm>
              <a:off x="2310026" y="2640383"/>
              <a:ext cx="411162" cy="1338263"/>
            </a:xfrm>
            <a:custGeom>
              <a:avLst/>
              <a:gdLst>
                <a:gd name="T0" fmla="*/ 359 w 1790"/>
                <a:gd name="T1" fmla="*/ 389 h 6012"/>
                <a:gd name="T2" fmla="*/ 124 w 1790"/>
                <a:gd name="T3" fmla="*/ 207 h 6012"/>
                <a:gd name="T4" fmla="*/ 490 w 1790"/>
                <a:gd name="T5" fmla="*/ 562 h 6012"/>
                <a:gd name="T6" fmla="*/ 658 w 1790"/>
                <a:gd name="T7" fmla="*/ 797 h 6012"/>
                <a:gd name="T8" fmla="*/ 475 w 1790"/>
                <a:gd name="T9" fmla="*/ 662 h 6012"/>
                <a:gd name="T10" fmla="*/ 490 w 1790"/>
                <a:gd name="T11" fmla="*/ 562 h 6012"/>
                <a:gd name="T12" fmla="*/ 816 w 1790"/>
                <a:gd name="T13" fmla="*/ 1035 h 6012"/>
                <a:gd name="T14" fmla="*/ 870 w 1790"/>
                <a:gd name="T15" fmla="*/ 1260 h 6012"/>
                <a:gd name="T16" fmla="*/ 717 w 1790"/>
                <a:gd name="T17" fmla="*/ 1017 h 6012"/>
                <a:gd name="T18" fmla="*/ 1040 w 1790"/>
                <a:gd name="T19" fmla="*/ 1410 h 6012"/>
                <a:gd name="T20" fmla="*/ 1165 w 1790"/>
                <a:gd name="T21" fmla="*/ 1643 h 6012"/>
                <a:gd name="T22" fmla="*/ 1112 w 1790"/>
                <a:gd name="T23" fmla="*/ 1698 h 6012"/>
                <a:gd name="T24" fmla="*/ 996 w 1790"/>
                <a:gd name="T25" fmla="*/ 1478 h 6012"/>
                <a:gd name="T26" fmla="*/ 1040 w 1790"/>
                <a:gd name="T27" fmla="*/ 1410 h 6012"/>
                <a:gd name="T28" fmla="*/ 1350 w 1790"/>
                <a:gd name="T29" fmla="*/ 2037 h 6012"/>
                <a:gd name="T30" fmla="*/ 1321 w 1790"/>
                <a:gd name="T31" fmla="*/ 2154 h 6012"/>
                <a:gd name="T32" fmla="*/ 1206 w 1790"/>
                <a:gd name="T33" fmla="*/ 1891 h 6012"/>
                <a:gd name="T34" fmla="*/ 1465 w 1790"/>
                <a:gd name="T35" fmla="*/ 2330 h 6012"/>
                <a:gd name="T36" fmla="*/ 1559 w 1790"/>
                <a:gd name="T37" fmla="*/ 2604 h 6012"/>
                <a:gd name="T38" fmla="*/ 1433 w 1790"/>
                <a:gd name="T39" fmla="*/ 2448 h 6012"/>
                <a:gd name="T40" fmla="*/ 1465 w 1790"/>
                <a:gd name="T41" fmla="*/ 2330 h 6012"/>
                <a:gd name="T42" fmla="*/ 1662 w 1790"/>
                <a:gd name="T43" fmla="*/ 2992 h 6012"/>
                <a:gd name="T44" fmla="*/ 1613 w 1790"/>
                <a:gd name="T45" fmla="*/ 3111 h 6012"/>
                <a:gd name="T46" fmla="*/ 1549 w 1790"/>
                <a:gd name="T47" fmla="*/ 2831 h 6012"/>
                <a:gd name="T48" fmla="*/ 1723 w 1790"/>
                <a:gd name="T49" fmla="*/ 3310 h 6012"/>
                <a:gd name="T50" fmla="*/ 1757 w 1790"/>
                <a:gd name="T51" fmla="*/ 3546 h 6012"/>
                <a:gd name="T52" fmla="*/ 1690 w 1790"/>
                <a:gd name="T53" fmla="*/ 3604 h 6012"/>
                <a:gd name="T54" fmla="*/ 1661 w 1790"/>
                <a:gd name="T55" fmla="*/ 3375 h 6012"/>
                <a:gd name="T56" fmla="*/ 1723 w 1790"/>
                <a:gd name="T57" fmla="*/ 3310 h 6012"/>
                <a:gd name="T58" fmla="*/ 1785 w 1790"/>
                <a:gd name="T59" fmla="*/ 3910 h 6012"/>
                <a:gd name="T60" fmla="*/ 1790 w 1790"/>
                <a:gd name="T61" fmla="*/ 4104 h 6012"/>
                <a:gd name="T62" fmla="*/ 1718 w 1790"/>
                <a:gd name="T63" fmla="*/ 4092 h 6012"/>
                <a:gd name="T64" fmla="*/ 1707 w 1790"/>
                <a:gd name="T65" fmla="*/ 3818 h 6012"/>
                <a:gd name="T66" fmla="*/ 1786 w 1790"/>
                <a:gd name="T67" fmla="*/ 4322 h 6012"/>
                <a:gd name="T68" fmla="*/ 1698 w 1790"/>
                <a:gd name="T69" fmla="*/ 4606 h 6012"/>
                <a:gd name="T70" fmla="*/ 1786 w 1790"/>
                <a:gd name="T71" fmla="*/ 4322 h 6012"/>
                <a:gd name="T72" fmla="*/ 1729 w 1790"/>
                <a:gd name="T73" fmla="*/ 4976 h 6012"/>
                <a:gd name="T74" fmla="*/ 1635 w 1790"/>
                <a:gd name="T75" fmla="*/ 5101 h 6012"/>
                <a:gd name="T76" fmla="*/ 1675 w 1790"/>
                <a:gd name="T77" fmla="*/ 4817 h 6012"/>
                <a:gd name="T78" fmla="*/ 1671 w 1790"/>
                <a:gd name="T79" fmla="*/ 5328 h 6012"/>
                <a:gd name="T80" fmla="*/ 1540 w 1790"/>
                <a:gd name="T81" fmla="*/ 5595 h 6012"/>
                <a:gd name="T82" fmla="*/ 1671 w 1790"/>
                <a:gd name="T83" fmla="*/ 5328 h 6012"/>
                <a:gd name="T84" fmla="*/ 0 w 1790"/>
                <a:gd name="T85" fmla="*/ 0 h 6012"/>
                <a:gd name="T86" fmla="*/ 72 w 1790"/>
                <a:gd name="T87" fmla="*/ 314 h 6012"/>
                <a:gd name="T88" fmla="*/ 1473 w 1790"/>
                <a:gd name="T89" fmla="*/ 6012 h 6012"/>
                <a:gd name="T90" fmla="*/ 1683 w 1790"/>
                <a:gd name="T91" fmla="*/ 5769 h 6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0" h="6012">
                  <a:moveTo>
                    <a:pt x="180" y="162"/>
                  </a:moveTo>
                  <a:lnTo>
                    <a:pt x="359" y="389"/>
                  </a:lnTo>
                  <a:lnTo>
                    <a:pt x="303" y="433"/>
                  </a:lnTo>
                  <a:lnTo>
                    <a:pt x="124" y="207"/>
                  </a:lnTo>
                  <a:lnTo>
                    <a:pt x="180" y="162"/>
                  </a:lnTo>
                  <a:close/>
                  <a:moveTo>
                    <a:pt x="490" y="562"/>
                  </a:moveTo>
                  <a:lnTo>
                    <a:pt x="533" y="619"/>
                  </a:lnTo>
                  <a:lnTo>
                    <a:pt x="658" y="797"/>
                  </a:lnTo>
                  <a:lnTo>
                    <a:pt x="598" y="838"/>
                  </a:lnTo>
                  <a:lnTo>
                    <a:pt x="475" y="662"/>
                  </a:lnTo>
                  <a:lnTo>
                    <a:pt x="432" y="604"/>
                  </a:lnTo>
                  <a:lnTo>
                    <a:pt x="490" y="562"/>
                  </a:lnTo>
                  <a:close/>
                  <a:moveTo>
                    <a:pt x="778" y="977"/>
                  </a:moveTo>
                  <a:lnTo>
                    <a:pt x="816" y="1035"/>
                  </a:lnTo>
                  <a:lnTo>
                    <a:pt x="931" y="1223"/>
                  </a:lnTo>
                  <a:lnTo>
                    <a:pt x="870" y="1260"/>
                  </a:lnTo>
                  <a:lnTo>
                    <a:pt x="756" y="1075"/>
                  </a:lnTo>
                  <a:lnTo>
                    <a:pt x="717" y="1017"/>
                  </a:lnTo>
                  <a:lnTo>
                    <a:pt x="778" y="977"/>
                  </a:lnTo>
                  <a:close/>
                  <a:moveTo>
                    <a:pt x="1040" y="1410"/>
                  </a:moveTo>
                  <a:lnTo>
                    <a:pt x="1059" y="1442"/>
                  </a:lnTo>
                  <a:lnTo>
                    <a:pt x="1165" y="1643"/>
                  </a:lnTo>
                  <a:lnTo>
                    <a:pt x="1177" y="1667"/>
                  </a:lnTo>
                  <a:lnTo>
                    <a:pt x="1112" y="1698"/>
                  </a:lnTo>
                  <a:lnTo>
                    <a:pt x="1102" y="1676"/>
                  </a:lnTo>
                  <a:lnTo>
                    <a:pt x="996" y="1478"/>
                  </a:lnTo>
                  <a:lnTo>
                    <a:pt x="978" y="1446"/>
                  </a:lnTo>
                  <a:lnTo>
                    <a:pt x="1040" y="1410"/>
                  </a:lnTo>
                  <a:close/>
                  <a:moveTo>
                    <a:pt x="1272" y="1862"/>
                  </a:moveTo>
                  <a:lnTo>
                    <a:pt x="1350" y="2037"/>
                  </a:lnTo>
                  <a:lnTo>
                    <a:pt x="1388" y="2127"/>
                  </a:lnTo>
                  <a:lnTo>
                    <a:pt x="1321" y="2154"/>
                  </a:lnTo>
                  <a:lnTo>
                    <a:pt x="1285" y="2066"/>
                  </a:lnTo>
                  <a:lnTo>
                    <a:pt x="1206" y="1891"/>
                  </a:lnTo>
                  <a:lnTo>
                    <a:pt x="1272" y="1862"/>
                  </a:lnTo>
                  <a:close/>
                  <a:moveTo>
                    <a:pt x="1465" y="2330"/>
                  </a:moveTo>
                  <a:lnTo>
                    <a:pt x="1500" y="2424"/>
                  </a:lnTo>
                  <a:lnTo>
                    <a:pt x="1559" y="2604"/>
                  </a:lnTo>
                  <a:lnTo>
                    <a:pt x="1490" y="2626"/>
                  </a:lnTo>
                  <a:lnTo>
                    <a:pt x="1433" y="2448"/>
                  </a:lnTo>
                  <a:lnTo>
                    <a:pt x="1398" y="2354"/>
                  </a:lnTo>
                  <a:lnTo>
                    <a:pt x="1465" y="2330"/>
                  </a:lnTo>
                  <a:close/>
                  <a:moveTo>
                    <a:pt x="1618" y="2814"/>
                  </a:moveTo>
                  <a:lnTo>
                    <a:pt x="1662" y="2992"/>
                  </a:lnTo>
                  <a:lnTo>
                    <a:pt x="1684" y="3096"/>
                  </a:lnTo>
                  <a:lnTo>
                    <a:pt x="1613" y="3111"/>
                  </a:lnTo>
                  <a:lnTo>
                    <a:pt x="1593" y="3009"/>
                  </a:lnTo>
                  <a:lnTo>
                    <a:pt x="1549" y="2831"/>
                  </a:lnTo>
                  <a:lnTo>
                    <a:pt x="1618" y="2814"/>
                  </a:lnTo>
                  <a:close/>
                  <a:moveTo>
                    <a:pt x="1723" y="3310"/>
                  </a:moveTo>
                  <a:lnTo>
                    <a:pt x="1733" y="3363"/>
                  </a:lnTo>
                  <a:lnTo>
                    <a:pt x="1757" y="3546"/>
                  </a:lnTo>
                  <a:lnTo>
                    <a:pt x="1761" y="3598"/>
                  </a:lnTo>
                  <a:lnTo>
                    <a:pt x="1690" y="3604"/>
                  </a:lnTo>
                  <a:lnTo>
                    <a:pt x="1685" y="3556"/>
                  </a:lnTo>
                  <a:lnTo>
                    <a:pt x="1661" y="3375"/>
                  </a:lnTo>
                  <a:lnTo>
                    <a:pt x="1652" y="3321"/>
                  </a:lnTo>
                  <a:lnTo>
                    <a:pt x="1723" y="3310"/>
                  </a:lnTo>
                  <a:close/>
                  <a:moveTo>
                    <a:pt x="1780" y="3814"/>
                  </a:moveTo>
                  <a:lnTo>
                    <a:pt x="1785" y="3910"/>
                  </a:lnTo>
                  <a:lnTo>
                    <a:pt x="1790" y="4090"/>
                  </a:lnTo>
                  <a:lnTo>
                    <a:pt x="1790" y="4104"/>
                  </a:lnTo>
                  <a:lnTo>
                    <a:pt x="1718" y="4104"/>
                  </a:lnTo>
                  <a:lnTo>
                    <a:pt x="1718" y="4092"/>
                  </a:lnTo>
                  <a:lnTo>
                    <a:pt x="1714" y="3914"/>
                  </a:lnTo>
                  <a:lnTo>
                    <a:pt x="1707" y="3818"/>
                  </a:lnTo>
                  <a:lnTo>
                    <a:pt x="1780" y="3814"/>
                  </a:lnTo>
                  <a:close/>
                  <a:moveTo>
                    <a:pt x="1786" y="4322"/>
                  </a:moveTo>
                  <a:lnTo>
                    <a:pt x="1770" y="4609"/>
                  </a:lnTo>
                  <a:lnTo>
                    <a:pt x="1698" y="4606"/>
                  </a:lnTo>
                  <a:lnTo>
                    <a:pt x="1714" y="4318"/>
                  </a:lnTo>
                  <a:lnTo>
                    <a:pt x="1786" y="4322"/>
                  </a:lnTo>
                  <a:close/>
                  <a:moveTo>
                    <a:pt x="1746" y="4827"/>
                  </a:moveTo>
                  <a:lnTo>
                    <a:pt x="1729" y="4976"/>
                  </a:lnTo>
                  <a:lnTo>
                    <a:pt x="1706" y="5113"/>
                  </a:lnTo>
                  <a:lnTo>
                    <a:pt x="1635" y="5101"/>
                  </a:lnTo>
                  <a:lnTo>
                    <a:pt x="1658" y="4967"/>
                  </a:lnTo>
                  <a:lnTo>
                    <a:pt x="1675" y="4817"/>
                  </a:lnTo>
                  <a:lnTo>
                    <a:pt x="1746" y="4827"/>
                  </a:lnTo>
                  <a:close/>
                  <a:moveTo>
                    <a:pt x="1671" y="5328"/>
                  </a:moveTo>
                  <a:lnTo>
                    <a:pt x="1610" y="5609"/>
                  </a:lnTo>
                  <a:lnTo>
                    <a:pt x="1540" y="5595"/>
                  </a:lnTo>
                  <a:lnTo>
                    <a:pt x="1601" y="5313"/>
                  </a:lnTo>
                  <a:lnTo>
                    <a:pt x="1671" y="5328"/>
                  </a:lnTo>
                  <a:close/>
                  <a:moveTo>
                    <a:pt x="72" y="314"/>
                  </a:moveTo>
                  <a:lnTo>
                    <a:pt x="0" y="0"/>
                  </a:lnTo>
                  <a:lnTo>
                    <a:pt x="294" y="130"/>
                  </a:lnTo>
                  <a:lnTo>
                    <a:pt x="72" y="314"/>
                  </a:lnTo>
                  <a:close/>
                  <a:moveTo>
                    <a:pt x="1683" y="5769"/>
                  </a:moveTo>
                  <a:lnTo>
                    <a:pt x="1473" y="6012"/>
                  </a:lnTo>
                  <a:lnTo>
                    <a:pt x="1405" y="5697"/>
                  </a:lnTo>
                  <a:lnTo>
                    <a:pt x="1683" y="5769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3168" name="Picture 96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2063" y="3307133"/>
              <a:ext cx="207963" cy="33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69" name="Picture 97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3400" y="3513340"/>
              <a:ext cx="211138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0" name="Picture 98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3751" y="3443658"/>
              <a:ext cx="295275" cy="36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39" name="Rectangle 99"/>
            <p:cNvSpPr>
              <a:spLocks noChangeArrowheads="1"/>
            </p:cNvSpPr>
            <p:nvPr/>
          </p:nvSpPr>
          <p:spPr bwMode="auto">
            <a:xfrm>
              <a:off x="930488" y="3076946"/>
              <a:ext cx="628650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North Korea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0" name="Rectangle 100"/>
            <p:cNvSpPr>
              <a:spLocks noChangeArrowheads="1"/>
            </p:cNvSpPr>
            <p:nvPr/>
          </p:nvSpPr>
          <p:spPr bwMode="auto">
            <a:xfrm>
              <a:off x="1498813" y="3076946"/>
              <a:ext cx="8572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1" name="Rectangle 101"/>
            <p:cNvSpPr>
              <a:spLocks noChangeArrowheads="1"/>
            </p:cNvSpPr>
            <p:nvPr/>
          </p:nvSpPr>
          <p:spPr bwMode="auto">
            <a:xfrm>
              <a:off x="808250" y="1557708"/>
              <a:ext cx="322263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China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2" name="Rectangle 102"/>
            <p:cNvSpPr>
              <a:spLocks noChangeArrowheads="1"/>
            </p:cNvSpPr>
            <p:nvPr/>
          </p:nvSpPr>
          <p:spPr bwMode="auto">
            <a:xfrm>
              <a:off x="1068600" y="1557708"/>
              <a:ext cx="8572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3" name="Rectangle 103"/>
            <p:cNvSpPr>
              <a:spLocks noChangeArrowheads="1"/>
            </p:cNvSpPr>
            <p:nvPr/>
          </p:nvSpPr>
          <p:spPr bwMode="auto">
            <a:xfrm>
              <a:off x="3216488" y="1481508"/>
              <a:ext cx="35242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Russia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4" name="Rectangle 104"/>
            <p:cNvSpPr>
              <a:spLocks noChangeArrowheads="1"/>
            </p:cNvSpPr>
            <p:nvPr/>
          </p:nvSpPr>
          <p:spPr bwMode="auto">
            <a:xfrm>
              <a:off x="3508588" y="1481508"/>
              <a:ext cx="85725" cy="16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smtClean="0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pic>
          <p:nvPicPr>
            <p:cNvPr id="3177" name="Picture 105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8125" y="1495796"/>
              <a:ext cx="635000" cy="666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45" name="Freeform 106"/>
            <p:cNvSpPr>
              <a:spLocks/>
            </p:cNvSpPr>
            <p:nvPr/>
          </p:nvSpPr>
          <p:spPr bwMode="auto">
            <a:xfrm>
              <a:off x="941600" y="2535608"/>
              <a:ext cx="1223963" cy="323850"/>
            </a:xfrm>
            <a:custGeom>
              <a:avLst/>
              <a:gdLst>
                <a:gd name="T0" fmla="*/ 0 w 4629"/>
                <a:gd name="T1" fmla="*/ 0 h 1218"/>
                <a:gd name="T2" fmla="*/ 1593 w 4629"/>
                <a:gd name="T3" fmla="*/ 0 h 1218"/>
                <a:gd name="T4" fmla="*/ 2276 w 4629"/>
                <a:gd name="T5" fmla="*/ 0 h 1218"/>
                <a:gd name="T6" fmla="*/ 2731 w 4629"/>
                <a:gd name="T7" fmla="*/ 0 h 1218"/>
                <a:gd name="T8" fmla="*/ 2731 w 4629"/>
                <a:gd name="T9" fmla="*/ 203 h 1218"/>
                <a:gd name="T10" fmla="*/ 4629 w 4629"/>
                <a:gd name="T11" fmla="*/ 91 h 1218"/>
                <a:gd name="T12" fmla="*/ 2731 w 4629"/>
                <a:gd name="T13" fmla="*/ 508 h 1218"/>
                <a:gd name="T14" fmla="*/ 2731 w 4629"/>
                <a:gd name="T15" fmla="*/ 1218 h 1218"/>
                <a:gd name="T16" fmla="*/ 2276 w 4629"/>
                <a:gd name="T17" fmla="*/ 1218 h 1218"/>
                <a:gd name="T18" fmla="*/ 1593 w 4629"/>
                <a:gd name="T19" fmla="*/ 1218 h 1218"/>
                <a:gd name="T20" fmla="*/ 0 w 4629"/>
                <a:gd name="T21" fmla="*/ 1218 h 1218"/>
                <a:gd name="T22" fmla="*/ 0 w 4629"/>
                <a:gd name="T23" fmla="*/ 508 h 1218"/>
                <a:gd name="T24" fmla="*/ 0 w 4629"/>
                <a:gd name="T25" fmla="*/ 203 h 1218"/>
                <a:gd name="T26" fmla="*/ 0 w 4629"/>
                <a:gd name="T27" fmla="*/ 0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29" h="1218">
                  <a:moveTo>
                    <a:pt x="0" y="0"/>
                  </a:moveTo>
                  <a:lnTo>
                    <a:pt x="1593" y="0"/>
                  </a:lnTo>
                  <a:lnTo>
                    <a:pt x="2276" y="0"/>
                  </a:lnTo>
                  <a:lnTo>
                    <a:pt x="2731" y="0"/>
                  </a:lnTo>
                  <a:lnTo>
                    <a:pt x="2731" y="203"/>
                  </a:lnTo>
                  <a:lnTo>
                    <a:pt x="4629" y="91"/>
                  </a:lnTo>
                  <a:lnTo>
                    <a:pt x="2731" y="508"/>
                  </a:lnTo>
                  <a:lnTo>
                    <a:pt x="2731" y="1218"/>
                  </a:lnTo>
                  <a:lnTo>
                    <a:pt x="2276" y="1218"/>
                  </a:lnTo>
                  <a:lnTo>
                    <a:pt x="1593" y="1218"/>
                  </a:lnTo>
                  <a:lnTo>
                    <a:pt x="0" y="1218"/>
                  </a:lnTo>
                  <a:lnTo>
                    <a:pt x="0" y="508"/>
                  </a:lnTo>
                  <a:lnTo>
                    <a:pt x="0" y="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55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6" name="Rectangle 107"/>
            <p:cNvSpPr>
              <a:spLocks noChangeArrowheads="1"/>
            </p:cNvSpPr>
            <p:nvPr/>
          </p:nvSpPr>
          <p:spPr bwMode="auto">
            <a:xfrm>
              <a:off x="1086063" y="2556246"/>
              <a:ext cx="563563" cy="34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b="1" smtClean="0">
                  <a:solidFill>
                    <a:srgbClr val="FFFFFF"/>
                  </a:solidFill>
                  <a:latin typeface="Calibri" pitchFamily="34" charset="0"/>
                </a:rPr>
                <a:t>БФИ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7" name="Rectangle 108"/>
            <p:cNvSpPr>
              <a:spLocks noChangeArrowheads="1"/>
            </p:cNvSpPr>
            <p:nvPr/>
          </p:nvSpPr>
          <p:spPr bwMode="auto">
            <a:xfrm>
              <a:off x="1522625" y="2556246"/>
              <a:ext cx="174625" cy="34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b="1" smtClean="0">
                  <a:solidFill>
                    <a:srgbClr val="FFFFFF"/>
                  </a:solidFill>
                  <a:latin typeface="Calibri" pitchFamily="34" charset="0"/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48" name="Rectangle 109"/>
            <p:cNvSpPr>
              <a:spLocks noChangeArrowheads="1"/>
            </p:cNvSpPr>
            <p:nvPr/>
          </p:nvSpPr>
          <p:spPr bwMode="auto">
            <a:xfrm>
              <a:off x="959063" y="2546721"/>
              <a:ext cx="688975" cy="295275"/>
            </a:xfrm>
            <a:prstGeom prst="rect">
              <a:avLst/>
            </a:prstGeom>
            <a:solidFill>
              <a:srgbClr val="376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3182" name="Picture 110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688" y="2591171"/>
              <a:ext cx="584200" cy="22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49" name="Freeform 111"/>
            <p:cNvSpPr>
              <a:spLocks/>
            </p:cNvSpPr>
            <p:nvPr/>
          </p:nvSpPr>
          <p:spPr bwMode="auto">
            <a:xfrm>
              <a:off x="2605300" y="2730871"/>
              <a:ext cx="1100138" cy="423863"/>
            </a:xfrm>
            <a:custGeom>
              <a:avLst/>
              <a:gdLst>
                <a:gd name="T0" fmla="*/ 1429 w 4161"/>
                <a:gd name="T1" fmla="*/ 0 h 1605"/>
                <a:gd name="T2" fmla="*/ 1884 w 4161"/>
                <a:gd name="T3" fmla="*/ 0 h 1605"/>
                <a:gd name="T4" fmla="*/ 2567 w 4161"/>
                <a:gd name="T5" fmla="*/ 0 h 1605"/>
                <a:gd name="T6" fmla="*/ 4161 w 4161"/>
                <a:gd name="T7" fmla="*/ 0 h 1605"/>
                <a:gd name="T8" fmla="*/ 4161 w 4161"/>
                <a:gd name="T9" fmla="*/ 712 h 1605"/>
                <a:gd name="T10" fmla="*/ 4161 w 4161"/>
                <a:gd name="T11" fmla="*/ 1016 h 1605"/>
                <a:gd name="T12" fmla="*/ 4161 w 4161"/>
                <a:gd name="T13" fmla="*/ 1219 h 1605"/>
                <a:gd name="T14" fmla="*/ 2567 w 4161"/>
                <a:gd name="T15" fmla="*/ 1219 h 1605"/>
                <a:gd name="T16" fmla="*/ 1884 w 4161"/>
                <a:gd name="T17" fmla="*/ 1219 h 1605"/>
                <a:gd name="T18" fmla="*/ 1429 w 4161"/>
                <a:gd name="T19" fmla="*/ 1219 h 1605"/>
                <a:gd name="T20" fmla="*/ 1429 w 4161"/>
                <a:gd name="T21" fmla="*/ 1016 h 1605"/>
                <a:gd name="T22" fmla="*/ 0 w 4161"/>
                <a:gd name="T23" fmla="*/ 1605 h 1605"/>
                <a:gd name="T24" fmla="*/ 1429 w 4161"/>
                <a:gd name="T25" fmla="*/ 712 h 1605"/>
                <a:gd name="T26" fmla="*/ 1429 w 4161"/>
                <a:gd name="T27" fmla="*/ 0 h 1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61" h="1605">
                  <a:moveTo>
                    <a:pt x="1429" y="0"/>
                  </a:moveTo>
                  <a:lnTo>
                    <a:pt x="1884" y="0"/>
                  </a:lnTo>
                  <a:lnTo>
                    <a:pt x="2567" y="0"/>
                  </a:lnTo>
                  <a:lnTo>
                    <a:pt x="4161" y="0"/>
                  </a:lnTo>
                  <a:lnTo>
                    <a:pt x="4161" y="712"/>
                  </a:lnTo>
                  <a:lnTo>
                    <a:pt x="4161" y="1016"/>
                  </a:lnTo>
                  <a:lnTo>
                    <a:pt x="4161" y="1219"/>
                  </a:lnTo>
                  <a:lnTo>
                    <a:pt x="2567" y="1219"/>
                  </a:lnTo>
                  <a:lnTo>
                    <a:pt x="1884" y="1219"/>
                  </a:lnTo>
                  <a:lnTo>
                    <a:pt x="1429" y="1219"/>
                  </a:lnTo>
                  <a:lnTo>
                    <a:pt x="1429" y="1016"/>
                  </a:lnTo>
                  <a:lnTo>
                    <a:pt x="0" y="1605"/>
                  </a:lnTo>
                  <a:lnTo>
                    <a:pt x="1429" y="712"/>
                  </a:lnTo>
                  <a:lnTo>
                    <a:pt x="1429" y="0"/>
                  </a:lnTo>
                  <a:close/>
                </a:path>
              </a:pathLst>
            </a:custGeom>
            <a:solidFill>
              <a:srgbClr val="1355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0" name="Rectangle 112"/>
            <p:cNvSpPr>
              <a:spLocks noChangeArrowheads="1"/>
            </p:cNvSpPr>
            <p:nvPr/>
          </p:nvSpPr>
          <p:spPr bwMode="auto">
            <a:xfrm>
              <a:off x="3127588" y="2751508"/>
              <a:ext cx="565150" cy="34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b="1" smtClean="0">
                  <a:solidFill>
                    <a:srgbClr val="FFFFFF"/>
                  </a:solidFill>
                  <a:latin typeface="Calibri" pitchFamily="34" charset="0"/>
                </a:rPr>
                <a:t>БФИ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51" name="Rectangle 113"/>
            <p:cNvSpPr>
              <a:spLocks noChangeArrowheads="1"/>
            </p:cNvSpPr>
            <p:nvPr/>
          </p:nvSpPr>
          <p:spPr bwMode="auto">
            <a:xfrm>
              <a:off x="3564150" y="2751508"/>
              <a:ext cx="174625" cy="34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b="1" smtClean="0">
                  <a:solidFill>
                    <a:srgbClr val="FFFFFF"/>
                  </a:solidFill>
                  <a:latin typeface="Calibri" pitchFamily="34" charset="0"/>
                </a:rPr>
                <a:t> </a:t>
              </a:r>
              <a:endParaRPr lang="ru-RU" altLang="ru-RU" smtClean="0">
                <a:solidFill>
                  <a:prstClr val="black"/>
                </a:solidFill>
              </a:endParaRPr>
            </a:p>
          </p:txBody>
        </p:sp>
        <p:sp>
          <p:nvSpPr>
            <p:cNvPr id="3152" name="Rectangle 114"/>
            <p:cNvSpPr>
              <a:spLocks noChangeArrowheads="1"/>
            </p:cNvSpPr>
            <p:nvPr/>
          </p:nvSpPr>
          <p:spPr bwMode="auto">
            <a:xfrm>
              <a:off x="3000588" y="2741983"/>
              <a:ext cx="688975" cy="293688"/>
            </a:xfrm>
            <a:prstGeom prst="rect">
              <a:avLst/>
            </a:prstGeom>
            <a:solidFill>
              <a:srgbClr val="3760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3187" name="Picture 115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8213" y="2784846"/>
              <a:ext cx="584200" cy="22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54" name="Freeform 117"/>
            <p:cNvSpPr>
              <a:spLocks/>
            </p:cNvSpPr>
            <p:nvPr/>
          </p:nvSpPr>
          <p:spPr bwMode="auto">
            <a:xfrm>
              <a:off x="2770400" y="1727571"/>
              <a:ext cx="1531938" cy="254000"/>
            </a:xfrm>
            <a:custGeom>
              <a:avLst/>
              <a:gdLst>
                <a:gd name="T0" fmla="*/ 1341 w 5786"/>
                <a:gd name="T1" fmla="*/ 0 h 1205"/>
                <a:gd name="T2" fmla="*/ 2082 w 5786"/>
                <a:gd name="T3" fmla="*/ 0 h 1205"/>
                <a:gd name="T4" fmla="*/ 2082 w 5786"/>
                <a:gd name="T5" fmla="*/ 0 h 1205"/>
                <a:gd name="T6" fmla="*/ 3193 w 5786"/>
                <a:gd name="T7" fmla="*/ 0 h 1205"/>
                <a:gd name="T8" fmla="*/ 5786 w 5786"/>
                <a:gd name="T9" fmla="*/ 0 h 1205"/>
                <a:gd name="T10" fmla="*/ 5786 w 5786"/>
                <a:gd name="T11" fmla="*/ 704 h 1205"/>
                <a:gd name="T12" fmla="*/ 5786 w 5786"/>
                <a:gd name="T13" fmla="*/ 704 h 1205"/>
                <a:gd name="T14" fmla="*/ 5786 w 5786"/>
                <a:gd name="T15" fmla="*/ 1004 h 1205"/>
                <a:gd name="T16" fmla="*/ 5786 w 5786"/>
                <a:gd name="T17" fmla="*/ 1205 h 1205"/>
                <a:gd name="T18" fmla="*/ 3193 w 5786"/>
                <a:gd name="T19" fmla="*/ 1205 h 1205"/>
                <a:gd name="T20" fmla="*/ 2082 w 5786"/>
                <a:gd name="T21" fmla="*/ 1205 h 1205"/>
                <a:gd name="T22" fmla="*/ 2082 w 5786"/>
                <a:gd name="T23" fmla="*/ 1205 h 1205"/>
                <a:gd name="T24" fmla="*/ 1341 w 5786"/>
                <a:gd name="T25" fmla="*/ 1205 h 1205"/>
                <a:gd name="T26" fmla="*/ 1341 w 5786"/>
                <a:gd name="T27" fmla="*/ 1004 h 1205"/>
                <a:gd name="T28" fmla="*/ 0 w 5786"/>
                <a:gd name="T29" fmla="*/ 645 h 1205"/>
                <a:gd name="T30" fmla="*/ 1341 w 5786"/>
                <a:gd name="T31" fmla="*/ 704 h 1205"/>
                <a:gd name="T32" fmla="*/ 1341 w 5786"/>
                <a:gd name="T33" fmla="*/ 0 h 1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86" h="1205">
                  <a:moveTo>
                    <a:pt x="1341" y="0"/>
                  </a:moveTo>
                  <a:lnTo>
                    <a:pt x="2082" y="0"/>
                  </a:lnTo>
                  <a:lnTo>
                    <a:pt x="2082" y="0"/>
                  </a:lnTo>
                  <a:lnTo>
                    <a:pt x="3193" y="0"/>
                  </a:lnTo>
                  <a:lnTo>
                    <a:pt x="5786" y="0"/>
                  </a:lnTo>
                  <a:lnTo>
                    <a:pt x="5786" y="704"/>
                  </a:lnTo>
                  <a:lnTo>
                    <a:pt x="5786" y="704"/>
                  </a:lnTo>
                  <a:lnTo>
                    <a:pt x="5786" y="1004"/>
                  </a:lnTo>
                  <a:lnTo>
                    <a:pt x="5786" y="1205"/>
                  </a:lnTo>
                  <a:lnTo>
                    <a:pt x="3193" y="1205"/>
                  </a:lnTo>
                  <a:lnTo>
                    <a:pt x="2082" y="1205"/>
                  </a:lnTo>
                  <a:lnTo>
                    <a:pt x="2082" y="1205"/>
                  </a:lnTo>
                  <a:lnTo>
                    <a:pt x="1341" y="1205"/>
                  </a:lnTo>
                  <a:lnTo>
                    <a:pt x="1341" y="1004"/>
                  </a:lnTo>
                  <a:lnTo>
                    <a:pt x="0" y="645"/>
                  </a:lnTo>
                  <a:lnTo>
                    <a:pt x="1341" y="704"/>
                  </a:lnTo>
                  <a:lnTo>
                    <a:pt x="1341" y="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rgbClr val="94959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74256" y="1792328"/>
              <a:ext cx="1080089" cy="124485"/>
            </a:xfrm>
            <a:prstGeom prst="rect">
              <a:avLst/>
            </a:prstGeom>
          </p:spPr>
        </p:pic>
        <p:sp>
          <p:nvSpPr>
            <p:cNvPr id="3" name="Прямоугольник 2"/>
            <p:cNvSpPr/>
            <p:nvPr/>
          </p:nvSpPr>
          <p:spPr>
            <a:xfrm>
              <a:off x="-14075" y="1422771"/>
              <a:ext cx="4435475" cy="2654301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54" name="Заголовок 1"/>
          <p:cNvSpPr txBox="1">
            <a:spLocks/>
          </p:cNvSpPr>
          <p:nvPr/>
        </p:nvSpPr>
        <p:spPr>
          <a:xfrm>
            <a:off x="251520" y="0"/>
            <a:ext cx="8496944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  <a:defRPr/>
            </a:pPr>
            <a:r>
              <a:rPr lang="ru-RU" sz="2000" b="1" dirty="0" smtClean="0">
                <a:latin typeface="Arial" charset="0"/>
                <a:ea typeface="+mn-ea"/>
                <a:cs typeface="Arial" charset="0"/>
              </a:rPr>
              <a:t>ОТЛК для экспедиторов: организация смешанных перевозок    </a:t>
            </a:r>
            <a:endParaRPr lang="ru-RU" sz="2000" b="1" dirty="0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4860032" y="3717032"/>
            <a:ext cx="3384376" cy="144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альний Восток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11560" y="3933056"/>
            <a:ext cx="3540125" cy="2346640"/>
            <a:chOff x="4421665" y="753414"/>
            <a:chExt cx="4459288" cy="2955925"/>
          </a:xfrm>
        </p:grpSpPr>
        <p:pic>
          <p:nvPicPr>
            <p:cNvPr id="55" name="Picture 8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9602" y="761351"/>
              <a:ext cx="4449763" cy="294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Rectangle 9"/>
            <p:cNvSpPr>
              <a:spLocks noChangeArrowheads="1"/>
            </p:cNvSpPr>
            <p:nvPr/>
          </p:nvSpPr>
          <p:spPr bwMode="auto">
            <a:xfrm>
              <a:off x="4428015" y="759764"/>
              <a:ext cx="4452938" cy="2949575"/>
            </a:xfrm>
            <a:prstGeom prst="rect">
              <a:avLst/>
            </a:prstGeom>
            <a:noFill/>
            <a:ln w="3175">
              <a:solidFill>
                <a:srgbClr val="9495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7" name="Freeform 10"/>
            <p:cNvSpPr>
              <a:spLocks/>
            </p:cNvSpPr>
            <p:nvPr/>
          </p:nvSpPr>
          <p:spPr bwMode="auto">
            <a:xfrm>
              <a:off x="7853840" y="3356914"/>
              <a:ext cx="107950" cy="144463"/>
            </a:xfrm>
            <a:custGeom>
              <a:avLst/>
              <a:gdLst>
                <a:gd name="T0" fmla="*/ 0 w 204"/>
                <a:gd name="T1" fmla="*/ 272 h 272"/>
                <a:gd name="T2" fmla="*/ 21 w 204"/>
                <a:gd name="T3" fmla="*/ 272 h 272"/>
                <a:gd name="T4" fmla="*/ 46 w 204"/>
                <a:gd name="T5" fmla="*/ 272 h 272"/>
                <a:gd name="T6" fmla="*/ 73 w 204"/>
                <a:gd name="T7" fmla="*/ 272 h 272"/>
                <a:gd name="T8" fmla="*/ 102 w 204"/>
                <a:gd name="T9" fmla="*/ 272 h 272"/>
                <a:gd name="T10" fmla="*/ 129 w 204"/>
                <a:gd name="T11" fmla="*/ 272 h 272"/>
                <a:gd name="T12" fmla="*/ 157 w 204"/>
                <a:gd name="T13" fmla="*/ 272 h 272"/>
                <a:gd name="T14" fmla="*/ 181 w 204"/>
                <a:gd name="T15" fmla="*/ 272 h 272"/>
                <a:gd name="T16" fmla="*/ 204 w 204"/>
                <a:gd name="T17" fmla="*/ 272 h 272"/>
                <a:gd name="T18" fmla="*/ 4 w 204"/>
                <a:gd name="T19" fmla="*/ 0 h 272"/>
                <a:gd name="T20" fmla="*/ 0 w 204"/>
                <a:gd name="T21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" h="272">
                  <a:moveTo>
                    <a:pt x="0" y="272"/>
                  </a:moveTo>
                  <a:lnTo>
                    <a:pt x="21" y="272"/>
                  </a:lnTo>
                  <a:lnTo>
                    <a:pt x="46" y="272"/>
                  </a:lnTo>
                  <a:lnTo>
                    <a:pt x="73" y="272"/>
                  </a:lnTo>
                  <a:lnTo>
                    <a:pt x="102" y="272"/>
                  </a:lnTo>
                  <a:lnTo>
                    <a:pt x="129" y="272"/>
                  </a:lnTo>
                  <a:lnTo>
                    <a:pt x="157" y="272"/>
                  </a:lnTo>
                  <a:lnTo>
                    <a:pt x="181" y="272"/>
                  </a:lnTo>
                  <a:lnTo>
                    <a:pt x="204" y="272"/>
                  </a:lnTo>
                  <a:lnTo>
                    <a:pt x="4" y="0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" name="Rectangle 11"/>
            <p:cNvSpPr>
              <a:spLocks noChangeArrowheads="1"/>
            </p:cNvSpPr>
            <p:nvPr/>
          </p:nvSpPr>
          <p:spPr bwMode="auto">
            <a:xfrm>
              <a:off x="7853840" y="3482326"/>
              <a:ext cx="452438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/>
          </p:nvSpPr>
          <p:spPr bwMode="auto">
            <a:xfrm>
              <a:off x="7909402" y="3523601"/>
              <a:ext cx="28373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amsun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/>
          </p:nvSpPr>
          <p:spPr bwMode="auto">
            <a:xfrm>
              <a:off x="8252302" y="3523601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1" name="Freeform 14"/>
            <p:cNvSpPr>
              <a:spLocks/>
            </p:cNvSpPr>
            <p:nvPr/>
          </p:nvSpPr>
          <p:spPr bwMode="auto">
            <a:xfrm>
              <a:off x="8541227" y="2836214"/>
              <a:ext cx="107950" cy="142875"/>
            </a:xfrm>
            <a:custGeom>
              <a:avLst/>
              <a:gdLst>
                <a:gd name="T0" fmla="*/ 204 w 204"/>
                <a:gd name="T1" fmla="*/ 0 h 272"/>
                <a:gd name="T2" fmla="*/ 181 w 204"/>
                <a:gd name="T3" fmla="*/ 0 h 272"/>
                <a:gd name="T4" fmla="*/ 156 w 204"/>
                <a:gd name="T5" fmla="*/ 0 h 272"/>
                <a:gd name="T6" fmla="*/ 129 w 204"/>
                <a:gd name="T7" fmla="*/ 0 h 272"/>
                <a:gd name="T8" fmla="*/ 102 w 204"/>
                <a:gd name="T9" fmla="*/ 0 h 272"/>
                <a:gd name="T10" fmla="*/ 73 w 204"/>
                <a:gd name="T11" fmla="*/ 0 h 272"/>
                <a:gd name="T12" fmla="*/ 46 w 204"/>
                <a:gd name="T13" fmla="*/ 0 h 272"/>
                <a:gd name="T14" fmla="*/ 21 w 204"/>
                <a:gd name="T15" fmla="*/ 0 h 272"/>
                <a:gd name="T16" fmla="*/ 0 w 204"/>
                <a:gd name="T17" fmla="*/ 0 h 272"/>
                <a:gd name="T18" fmla="*/ 199 w 204"/>
                <a:gd name="T19" fmla="*/ 272 h 272"/>
                <a:gd name="T20" fmla="*/ 204 w 204"/>
                <a:gd name="T21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" h="272">
                  <a:moveTo>
                    <a:pt x="204" y="0"/>
                  </a:moveTo>
                  <a:lnTo>
                    <a:pt x="181" y="0"/>
                  </a:lnTo>
                  <a:lnTo>
                    <a:pt x="156" y="0"/>
                  </a:lnTo>
                  <a:lnTo>
                    <a:pt x="129" y="0"/>
                  </a:lnTo>
                  <a:lnTo>
                    <a:pt x="102" y="0"/>
                  </a:lnTo>
                  <a:lnTo>
                    <a:pt x="73" y="0"/>
                  </a:lnTo>
                  <a:lnTo>
                    <a:pt x="46" y="0"/>
                  </a:lnTo>
                  <a:lnTo>
                    <a:pt x="21" y="0"/>
                  </a:lnTo>
                  <a:lnTo>
                    <a:pt x="0" y="0"/>
                  </a:lnTo>
                  <a:lnTo>
                    <a:pt x="199" y="272"/>
                  </a:lnTo>
                  <a:lnTo>
                    <a:pt x="20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/>
          </p:nvSpPr>
          <p:spPr bwMode="auto">
            <a:xfrm>
              <a:off x="8190390" y="2693339"/>
              <a:ext cx="454025" cy="1793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3" name="Rectangle 16"/>
            <p:cNvSpPr>
              <a:spLocks noChangeArrowheads="1"/>
            </p:cNvSpPr>
            <p:nvPr/>
          </p:nvSpPr>
          <p:spPr bwMode="auto">
            <a:xfrm>
              <a:off x="8334852" y="2733026"/>
              <a:ext cx="141064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ti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4" name="Rectangle 17"/>
            <p:cNvSpPr>
              <a:spLocks noChangeArrowheads="1"/>
            </p:cNvSpPr>
            <p:nvPr/>
          </p:nvSpPr>
          <p:spPr bwMode="auto">
            <a:xfrm>
              <a:off x="8499952" y="2733026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5" name="Freeform 18"/>
            <p:cNvSpPr>
              <a:spLocks/>
            </p:cNvSpPr>
            <p:nvPr/>
          </p:nvSpPr>
          <p:spPr bwMode="auto">
            <a:xfrm>
              <a:off x="7296627" y="1778939"/>
              <a:ext cx="107950" cy="144463"/>
            </a:xfrm>
            <a:custGeom>
              <a:avLst/>
              <a:gdLst>
                <a:gd name="T0" fmla="*/ 0 w 204"/>
                <a:gd name="T1" fmla="*/ 0 h 272"/>
                <a:gd name="T2" fmla="*/ 23 w 204"/>
                <a:gd name="T3" fmla="*/ 0 h 272"/>
                <a:gd name="T4" fmla="*/ 47 w 204"/>
                <a:gd name="T5" fmla="*/ 0 h 272"/>
                <a:gd name="T6" fmla="*/ 75 w 204"/>
                <a:gd name="T7" fmla="*/ 0 h 272"/>
                <a:gd name="T8" fmla="*/ 102 w 204"/>
                <a:gd name="T9" fmla="*/ 0 h 272"/>
                <a:gd name="T10" fmla="*/ 131 w 204"/>
                <a:gd name="T11" fmla="*/ 0 h 272"/>
                <a:gd name="T12" fmla="*/ 157 w 204"/>
                <a:gd name="T13" fmla="*/ 0 h 272"/>
                <a:gd name="T14" fmla="*/ 183 w 204"/>
                <a:gd name="T15" fmla="*/ 0 h 272"/>
                <a:gd name="T16" fmla="*/ 204 w 204"/>
                <a:gd name="T17" fmla="*/ 0 h 272"/>
                <a:gd name="T18" fmla="*/ 5 w 204"/>
                <a:gd name="T19" fmla="*/ 272 h 272"/>
                <a:gd name="T20" fmla="*/ 0 w 204"/>
                <a:gd name="T21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" h="272">
                  <a:moveTo>
                    <a:pt x="0" y="0"/>
                  </a:moveTo>
                  <a:lnTo>
                    <a:pt x="23" y="0"/>
                  </a:lnTo>
                  <a:lnTo>
                    <a:pt x="47" y="0"/>
                  </a:lnTo>
                  <a:lnTo>
                    <a:pt x="75" y="0"/>
                  </a:lnTo>
                  <a:lnTo>
                    <a:pt x="102" y="0"/>
                  </a:lnTo>
                  <a:lnTo>
                    <a:pt x="131" y="0"/>
                  </a:lnTo>
                  <a:lnTo>
                    <a:pt x="157" y="0"/>
                  </a:lnTo>
                  <a:lnTo>
                    <a:pt x="183" y="0"/>
                  </a:lnTo>
                  <a:lnTo>
                    <a:pt x="204" y="0"/>
                  </a:lnTo>
                  <a:lnTo>
                    <a:pt x="5" y="2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6" name="Rectangle 19"/>
            <p:cNvSpPr>
              <a:spLocks noChangeArrowheads="1"/>
            </p:cNvSpPr>
            <p:nvPr/>
          </p:nvSpPr>
          <p:spPr bwMode="auto">
            <a:xfrm>
              <a:off x="7296627" y="1631301"/>
              <a:ext cx="454025" cy="1809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7" name="Rectangle 20"/>
            <p:cNvSpPr>
              <a:spLocks noChangeArrowheads="1"/>
            </p:cNvSpPr>
            <p:nvPr/>
          </p:nvSpPr>
          <p:spPr bwMode="auto">
            <a:xfrm>
              <a:off x="7372827" y="1672576"/>
              <a:ext cx="259686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avkaz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8" name="Rectangle 21"/>
            <p:cNvSpPr>
              <a:spLocks noChangeArrowheads="1"/>
            </p:cNvSpPr>
            <p:nvPr/>
          </p:nvSpPr>
          <p:spPr bwMode="auto">
            <a:xfrm>
              <a:off x="7674452" y="1672576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9" name="Freeform 22"/>
            <p:cNvSpPr>
              <a:spLocks/>
            </p:cNvSpPr>
            <p:nvPr/>
          </p:nvSpPr>
          <p:spPr bwMode="auto">
            <a:xfrm>
              <a:off x="4986815" y="2150414"/>
              <a:ext cx="107950" cy="144463"/>
            </a:xfrm>
            <a:custGeom>
              <a:avLst/>
              <a:gdLst>
                <a:gd name="T0" fmla="*/ 0 w 203"/>
                <a:gd name="T1" fmla="*/ 0 h 273"/>
                <a:gd name="T2" fmla="*/ 21 w 203"/>
                <a:gd name="T3" fmla="*/ 0 h 273"/>
                <a:gd name="T4" fmla="*/ 46 w 203"/>
                <a:gd name="T5" fmla="*/ 0 h 273"/>
                <a:gd name="T6" fmla="*/ 73 w 203"/>
                <a:gd name="T7" fmla="*/ 0 h 273"/>
                <a:gd name="T8" fmla="*/ 102 w 203"/>
                <a:gd name="T9" fmla="*/ 0 h 273"/>
                <a:gd name="T10" fmla="*/ 129 w 203"/>
                <a:gd name="T11" fmla="*/ 1 h 273"/>
                <a:gd name="T12" fmla="*/ 157 w 203"/>
                <a:gd name="T13" fmla="*/ 1 h 273"/>
                <a:gd name="T14" fmla="*/ 181 w 203"/>
                <a:gd name="T15" fmla="*/ 1 h 273"/>
                <a:gd name="T16" fmla="*/ 203 w 203"/>
                <a:gd name="T17" fmla="*/ 1 h 273"/>
                <a:gd name="T18" fmla="*/ 4 w 203"/>
                <a:gd name="T19" fmla="*/ 273 h 273"/>
                <a:gd name="T20" fmla="*/ 0 w 203"/>
                <a:gd name="T21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" h="273">
                  <a:moveTo>
                    <a:pt x="0" y="0"/>
                  </a:moveTo>
                  <a:lnTo>
                    <a:pt x="21" y="0"/>
                  </a:lnTo>
                  <a:lnTo>
                    <a:pt x="46" y="0"/>
                  </a:lnTo>
                  <a:lnTo>
                    <a:pt x="73" y="0"/>
                  </a:lnTo>
                  <a:lnTo>
                    <a:pt x="102" y="0"/>
                  </a:lnTo>
                  <a:lnTo>
                    <a:pt x="129" y="1"/>
                  </a:lnTo>
                  <a:lnTo>
                    <a:pt x="157" y="1"/>
                  </a:lnTo>
                  <a:lnTo>
                    <a:pt x="181" y="1"/>
                  </a:lnTo>
                  <a:lnTo>
                    <a:pt x="203" y="1"/>
                  </a:lnTo>
                  <a:lnTo>
                    <a:pt x="4" y="2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95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0" name="Rectangle 23"/>
            <p:cNvSpPr>
              <a:spLocks noChangeArrowheads="1"/>
            </p:cNvSpPr>
            <p:nvPr/>
          </p:nvSpPr>
          <p:spPr bwMode="auto">
            <a:xfrm>
              <a:off x="4986815" y="2002776"/>
              <a:ext cx="454025" cy="180975"/>
            </a:xfrm>
            <a:prstGeom prst="rect">
              <a:avLst/>
            </a:prstGeom>
            <a:solidFill>
              <a:srgbClr val="9495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1" name="Rectangle 24"/>
            <p:cNvSpPr>
              <a:spLocks noChangeArrowheads="1"/>
            </p:cNvSpPr>
            <p:nvPr/>
          </p:nvSpPr>
          <p:spPr bwMode="auto">
            <a:xfrm>
              <a:off x="5090002" y="2044051"/>
              <a:ext cx="213200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Varn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2" name="Rectangle 25"/>
            <p:cNvSpPr>
              <a:spLocks noChangeArrowheads="1"/>
            </p:cNvSpPr>
            <p:nvPr/>
          </p:nvSpPr>
          <p:spPr bwMode="auto">
            <a:xfrm>
              <a:off x="5336065" y="2044051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3" name="Freeform 26"/>
            <p:cNvSpPr>
              <a:spLocks/>
            </p:cNvSpPr>
            <p:nvPr/>
          </p:nvSpPr>
          <p:spPr bwMode="auto">
            <a:xfrm>
              <a:off x="5921852" y="2987026"/>
              <a:ext cx="109538" cy="142875"/>
            </a:xfrm>
            <a:custGeom>
              <a:avLst/>
              <a:gdLst>
                <a:gd name="T0" fmla="*/ 0 w 205"/>
                <a:gd name="T1" fmla="*/ 0 h 272"/>
                <a:gd name="T2" fmla="*/ 22 w 205"/>
                <a:gd name="T3" fmla="*/ 0 h 272"/>
                <a:gd name="T4" fmla="*/ 48 w 205"/>
                <a:gd name="T5" fmla="*/ 0 h 272"/>
                <a:gd name="T6" fmla="*/ 74 w 205"/>
                <a:gd name="T7" fmla="*/ 0 h 272"/>
                <a:gd name="T8" fmla="*/ 103 w 205"/>
                <a:gd name="T9" fmla="*/ 0 h 272"/>
                <a:gd name="T10" fmla="*/ 130 w 205"/>
                <a:gd name="T11" fmla="*/ 0 h 272"/>
                <a:gd name="T12" fmla="*/ 158 w 205"/>
                <a:gd name="T13" fmla="*/ 0 h 272"/>
                <a:gd name="T14" fmla="*/ 182 w 205"/>
                <a:gd name="T15" fmla="*/ 0 h 272"/>
                <a:gd name="T16" fmla="*/ 205 w 205"/>
                <a:gd name="T17" fmla="*/ 0 h 272"/>
                <a:gd name="T18" fmla="*/ 5 w 205"/>
                <a:gd name="T19" fmla="*/ 272 h 272"/>
                <a:gd name="T20" fmla="*/ 0 w 205"/>
                <a:gd name="T21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" h="272">
                  <a:moveTo>
                    <a:pt x="0" y="0"/>
                  </a:moveTo>
                  <a:lnTo>
                    <a:pt x="22" y="0"/>
                  </a:lnTo>
                  <a:lnTo>
                    <a:pt x="48" y="0"/>
                  </a:lnTo>
                  <a:lnTo>
                    <a:pt x="74" y="0"/>
                  </a:lnTo>
                  <a:lnTo>
                    <a:pt x="103" y="0"/>
                  </a:lnTo>
                  <a:lnTo>
                    <a:pt x="130" y="0"/>
                  </a:lnTo>
                  <a:lnTo>
                    <a:pt x="158" y="0"/>
                  </a:lnTo>
                  <a:lnTo>
                    <a:pt x="182" y="0"/>
                  </a:lnTo>
                  <a:lnTo>
                    <a:pt x="205" y="0"/>
                  </a:lnTo>
                  <a:lnTo>
                    <a:pt x="5" y="2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495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4" name="Rectangle 27"/>
            <p:cNvSpPr>
              <a:spLocks noChangeArrowheads="1"/>
            </p:cNvSpPr>
            <p:nvPr/>
          </p:nvSpPr>
          <p:spPr bwMode="auto">
            <a:xfrm>
              <a:off x="5925027" y="2844151"/>
              <a:ext cx="539750" cy="179388"/>
            </a:xfrm>
            <a:prstGeom prst="rect">
              <a:avLst/>
            </a:prstGeom>
            <a:solidFill>
              <a:srgbClr val="9495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5" name="Rectangle 28"/>
            <p:cNvSpPr>
              <a:spLocks noChangeArrowheads="1"/>
            </p:cNvSpPr>
            <p:nvPr/>
          </p:nvSpPr>
          <p:spPr bwMode="auto">
            <a:xfrm>
              <a:off x="5974240" y="2883839"/>
              <a:ext cx="376706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Zonguldak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6" name="Rectangle 29"/>
            <p:cNvSpPr>
              <a:spLocks noChangeArrowheads="1"/>
            </p:cNvSpPr>
            <p:nvPr/>
          </p:nvSpPr>
          <p:spPr bwMode="auto">
            <a:xfrm>
              <a:off x="6415565" y="2883839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7" name="Freeform 30"/>
            <p:cNvSpPr>
              <a:spLocks noEditPoints="1"/>
            </p:cNvSpPr>
            <p:nvPr/>
          </p:nvSpPr>
          <p:spPr bwMode="auto">
            <a:xfrm>
              <a:off x="7226777" y="1977376"/>
              <a:ext cx="611188" cy="1333500"/>
            </a:xfrm>
            <a:custGeom>
              <a:avLst/>
              <a:gdLst>
                <a:gd name="T0" fmla="*/ 42 w 1154"/>
                <a:gd name="T1" fmla="*/ 201 h 2519"/>
                <a:gd name="T2" fmla="*/ 76 w 1154"/>
                <a:gd name="T3" fmla="*/ 210 h 2519"/>
                <a:gd name="T4" fmla="*/ 68 w 1154"/>
                <a:gd name="T5" fmla="*/ 108 h 2519"/>
                <a:gd name="T6" fmla="*/ 21 w 1154"/>
                <a:gd name="T7" fmla="*/ 302 h 2519"/>
                <a:gd name="T8" fmla="*/ 48 w 1154"/>
                <a:gd name="T9" fmla="*/ 362 h 2519"/>
                <a:gd name="T10" fmla="*/ 65 w 1154"/>
                <a:gd name="T11" fmla="*/ 259 h 2519"/>
                <a:gd name="T12" fmla="*/ 8 w 1154"/>
                <a:gd name="T13" fmla="*/ 393 h 2519"/>
                <a:gd name="T14" fmla="*/ 0 w 1154"/>
                <a:gd name="T15" fmla="*/ 499 h 2519"/>
                <a:gd name="T16" fmla="*/ 36 w 1154"/>
                <a:gd name="T17" fmla="*/ 501 h 2519"/>
                <a:gd name="T18" fmla="*/ 43 w 1154"/>
                <a:gd name="T19" fmla="*/ 397 h 2519"/>
                <a:gd name="T20" fmla="*/ 0 w 1154"/>
                <a:gd name="T21" fmla="*/ 547 h 2519"/>
                <a:gd name="T22" fmla="*/ 3 w 1154"/>
                <a:gd name="T23" fmla="*/ 649 h 2519"/>
                <a:gd name="T24" fmla="*/ 36 w 1154"/>
                <a:gd name="T25" fmla="*/ 595 h 2519"/>
                <a:gd name="T26" fmla="*/ 0 w 1154"/>
                <a:gd name="T27" fmla="*/ 538 h 2519"/>
                <a:gd name="T28" fmla="*/ 10 w 1154"/>
                <a:gd name="T29" fmla="*/ 736 h 2519"/>
                <a:gd name="T30" fmla="*/ 55 w 1154"/>
                <a:gd name="T31" fmla="*/ 787 h 2519"/>
                <a:gd name="T32" fmla="*/ 41 w 1154"/>
                <a:gd name="T33" fmla="*/ 686 h 2519"/>
                <a:gd name="T34" fmla="*/ 25 w 1154"/>
                <a:gd name="T35" fmla="*/ 828 h 2519"/>
                <a:gd name="T36" fmla="*/ 50 w 1154"/>
                <a:gd name="T37" fmla="*/ 936 h 2519"/>
                <a:gd name="T38" fmla="*/ 70 w 1154"/>
                <a:gd name="T39" fmla="*/ 866 h 2519"/>
                <a:gd name="T40" fmla="*/ 59 w 1154"/>
                <a:gd name="T41" fmla="*/ 971 h 2519"/>
                <a:gd name="T42" fmla="*/ 92 w 1154"/>
                <a:gd name="T43" fmla="*/ 1074 h 2519"/>
                <a:gd name="T44" fmla="*/ 104 w 1154"/>
                <a:gd name="T45" fmla="*/ 996 h 2519"/>
                <a:gd name="T46" fmla="*/ 105 w 1154"/>
                <a:gd name="T47" fmla="*/ 1109 h 2519"/>
                <a:gd name="T48" fmla="*/ 179 w 1154"/>
                <a:gd name="T49" fmla="*/ 1195 h 2519"/>
                <a:gd name="T50" fmla="*/ 105 w 1154"/>
                <a:gd name="T51" fmla="*/ 1109 h 2519"/>
                <a:gd name="T52" fmla="*/ 210 w 1154"/>
                <a:gd name="T53" fmla="*/ 1339 h 2519"/>
                <a:gd name="T54" fmla="*/ 194 w 1154"/>
                <a:gd name="T55" fmla="*/ 1227 h 2519"/>
                <a:gd name="T56" fmla="*/ 232 w 1154"/>
                <a:gd name="T57" fmla="*/ 1383 h 2519"/>
                <a:gd name="T58" fmla="*/ 311 w 1154"/>
                <a:gd name="T59" fmla="*/ 1448 h 2519"/>
                <a:gd name="T60" fmla="*/ 258 w 1154"/>
                <a:gd name="T61" fmla="*/ 1355 h 2519"/>
                <a:gd name="T62" fmla="*/ 326 w 1154"/>
                <a:gd name="T63" fmla="*/ 1540 h 2519"/>
                <a:gd name="T64" fmla="*/ 356 w 1154"/>
                <a:gd name="T65" fmla="*/ 1521 h 2519"/>
                <a:gd name="T66" fmla="*/ 378 w 1154"/>
                <a:gd name="T67" fmla="*/ 1618 h 2519"/>
                <a:gd name="T68" fmla="*/ 470 w 1154"/>
                <a:gd name="T69" fmla="*/ 1685 h 2519"/>
                <a:gd name="T70" fmla="*/ 378 w 1154"/>
                <a:gd name="T71" fmla="*/ 1618 h 2519"/>
                <a:gd name="T72" fmla="*/ 529 w 1154"/>
                <a:gd name="T73" fmla="*/ 1822 h 2519"/>
                <a:gd name="T74" fmla="*/ 491 w 1154"/>
                <a:gd name="T75" fmla="*/ 1714 h 2519"/>
                <a:gd name="T76" fmla="*/ 596 w 1154"/>
                <a:gd name="T77" fmla="*/ 1906 h 2519"/>
                <a:gd name="T78" fmla="*/ 624 w 1154"/>
                <a:gd name="T79" fmla="*/ 1884 h 2519"/>
                <a:gd name="T80" fmla="*/ 642 w 1154"/>
                <a:gd name="T81" fmla="*/ 1961 h 2519"/>
                <a:gd name="T82" fmla="*/ 712 w 1154"/>
                <a:gd name="T83" fmla="*/ 2044 h 2519"/>
                <a:gd name="T84" fmla="*/ 680 w 1154"/>
                <a:gd name="T85" fmla="*/ 1952 h 2519"/>
                <a:gd name="T86" fmla="*/ 737 w 1154"/>
                <a:gd name="T87" fmla="*/ 2072 h 2519"/>
                <a:gd name="T88" fmla="*/ 834 w 1154"/>
                <a:gd name="T89" fmla="*/ 2129 h 2519"/>
                <a:gd name="T90" fmla="*/ 737 w 1154"/>
                <a:gd name="T91" fmla="*/ 2072 h 2519"/>
                <a:gd name="T92" fmla="*/ 903 w 1154"/>
                <a:gd name="T93" fmla="*/ 2261 h 2519"/>
                <a:gd name="T94" fmla="*/ 859 w 1154"/>
                <a:gd name="T95" fmla="*/ 2156 h 2519"/>
                <a:gd name="T96" fmla="*/ 936 w 1154"/>
                <a:gd name="T97" fmla="*/ 2297 h 2519"/>
                <a:gd name="T98" fmla="*/ 1026 w 1154"/>
                <a:gd name="T99" fmla="*/ 2344 h 2519"/>
                <a:gd name="T100" fmla="*/ 954 w 1154"/>
                <a:gd name="T101" fmla="*/ 2263 h 2519"/>
                <a:gd name="T102" fmla="*/ 1043 w 1154"/>
                <a:gd name="T103" fmla="*/ 2417 h 2519"/>
                <a:gd name="T104" fmla="*/ 1069 w 1154"/>
                <a:gd name="T105" fmla="*/ 2393 h 2519"/>
                <a:gd name="T106" fmla="*/ 146 w 1154"/>
                <a:gd name="T107" fmla="*/ 159 h 2519"/>
                <a:gd name="T108" fmla="*/ 146 w 1154"/>
                <a:gd name="T109" fmla="*/ 159 h 2519"/>
                <a:gd name="T110" fmla="*/ 1115 w 1154"/>
                <a:gd name="T111" fmla="*/ 2363 h 2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4" h="2519">
                  <a:moveTo>
                    <a:pt x="68" y="108"/>
                  </a:moveTo>
                  <a:lnTo>
                    <a:pt x="55" y="150"/>
                  </a:lnTo>
                  <a:lnTo>
                    <a:pt x="42" y="201"/>
                  </a:lnTo>
                  <a:lnTo>
                    <a:pt x="39" y="215"/>
                  </a:lnTo>
                  <a:lnTo>
                    <a:pt x="74" y="222"/>
                  </a:lnTo>
                  <a:lnTo>
                    <a:pt x="76" y="210"/>
                  </a:lnTo>
                  <a:lnTo>
                    <a:pt x="89" y="160"/>
                  </a:lnTo>
                  <a:lnTo>
                    <a:pt x="102" y="120"/>
                  </a:lnTo>
                  <a:lnTo>
                    <a:pt x="68" y="108"/>
                  </a:lnTo>
                  <a:close/>
                  <a:moveTo>
                    <a:pt x="30" y="250"/>
                  </a:moveTo>
                  <a:lnTo>
                    <a:pt x="30" y="252"/>
                  </a:lnTo>
                  <a:lnTo>
                    <a:pt x="21" y="302"/>
                  </a:lnTo>
                  <a:lnTo>
                    <a:pt x="13" y="352"/>
                  </a:lnTo>
                  <a:lnTo>
                    <a:pt x="12" y="358"/>
                  </a:lnTo>
                  <a:lnTo>
                    <a:pt x="48" y="362"/>
                  </a:lnTo>
                  <a:lnTo>
                    <a:pt x="48" y="358"/>
                  </a:lnTo>
                  <a:lnTo>
                    <a:pt x="56" y="308"/>
                  </a:lnTo>
                  <a:lnTo>
                    <a:pt x="65" y="259"/>
                  </a:lnTo>
                  <a:lnTo>
                    <a:pt x="65" y="257"/>
                  </a:lnTo>
                  <a:lnTo>
                    <a:pt x="30" y="250"/>
                  </a:lnTo>
                  <a:close/>
                  <a:moveTo>
                    <a:pt x="8" y="393"/>
                  </a:moveTo>
                  <a:lnTo>
                    <a:pt x="7" y="401"/>
                  </a:lnTo>
                  <a:lnTo>
                    <a:pt x="3" y="450"/>
                  </a:lnTo>
                  <a:lnTo>
                    <a:pt x="0" y="499"/>
                  </a:lnTo>
                  <a:lnTo>
                    <a:pt x="0" y="502"/>
                  </a:lnTo>
                  <a:lnTo>
                    <a:pt x="36" y="503"/>
                  </a:lnTo>
                  <a:lnTo>
                    <a:pt x="36" y="501"/>
                  </a:lnTo>
                  <a:lnTo>
                    <a:pt x="39" y="454"/>
                  </a:lnTo>
                  <a:lnTo>
                    <a:pt x="43" y="406"/>
                  </a:lnTo>
                  <a:lnTo>
                    <a:pt x="43" y="397"/>
                  </a:lnTo>
                  <a:lnTo>
                    <a:pt x="8" y="393"/>
                  </a:lnTo>
                  <a:close/>
                  <a:moveTo>
                    <a:pt x="0" y="538"/>
                  </a:moveTo>
                  <a:lnTo>
                    <a:pt x="0" y="547"/>
                  </a:lnTo>
                  <a:lnTo>
                    <a:pt x="0" y="595"/>
                  </a:lnTo>
                  <a:lnTo>
                    <a:pt x="2" y="643"/>
                  </a:lnTo>
                  <a:lnTo>
                    <a:pt x="3" y="649"/>
                  </a:lnTo>
                  <a:lnTo>
                    <a:pt x="38" y="646"/>
                  </a:lnTo>
                  <a:lnTo>
                    <a:pt x="38" y="640"/>
                  </a:lnTo>
                  <a:lnTo>
                    <a:pt x="36" y="595"/>
                  </a:lnTo>
                  <a:lnTo>
                    <a:pt x="35" y="548"/>
                  </a:lnTo>
                  <a:lnTo>
                    <a:pt x="36" y="540"/>
                  </a:lnTo>
                  <a:lnTo>
                    <a:pt x="0" y="538"/>
                  </a:lnTo>
                  <a:close/>
                  <a:moveTo>
                    <a:pt x="5" y="684"/>
                  </a:moveTo>
                  <a:lnTo>
                    <a:pt x="6" y="689"/>
                  </a:lnTo>
                  <a:lnTo>
                    <a:pt x="10" y="736"/>
                  </a:lnTo>
                  <a:lnTo>
                    <a:pt x="18" y="782"/>
                  </a:lnTo>
                  <a:lnTo>
                    <a:pt x="19" y="793"/>
                  </a:lnTo>
                  <a:lnTo>
                    <a:pt x="55" y="787"/>
                  </a:lnTo>
                  <a:lnTo>
                    <a:pt x="53" y="776"/>
                  </a:lnTo>
                  <a:lnTo>
                    <a:pt x="46" y="732"/>
                  </a:lnTo>
                  <a:lnTo>
                    <a:pt x="41" y="686"/>
                  </a:lnTo>
                  <a:lnTo>
                    <a:pt x="41" y="682"/>
                  </a:lnTo>
                  <a:lnTo>
                    <a:pt x="5" y="684"/>
                  </a:lnTo>
                  <a:close/>
                  <a:moveTo>
                    <a:pt x="25" y="828"/>
                  </a:moveTo>
                  <a:lnTo>
                    <a:pt x="35" y="873"/>
                  </a:lnTo>
                  <a:lnTo>
                    <a:pt x="45" y="918"/>
                  </a:lnTo>
                  <a:lnTo>
                    <a:pt x="50" y="936"/>
                  </a:lnTo>
                  <a:lnTo>
                    <a:pt x="85" y="926"/>
                  </a:lnTo>
                  <a:lnTo>
                    <a:pt x="80" y="909"/>
                  </a:lnTo>
                  <a:lnTo>
                    <a:pt x="70" y="866"/>
                  </a:lnTo>
                  <a:lnTo>
                    <a:pt x="61" y="822"/>
                  </a:lnTo>
                  <a:lnTo>
                    <a:pt x="25" y="828"/>
                  </a:lnTo>
                  <a:close/>
                  <a:moveTo>
                    <a:pt x="59" y="971"/>
                  </a:moveTo>
                  <a:lnTo>
                    <a:pt x="70" y="1006"/>
                  </a:lnTo>
                  <a:lnTo>
                    <a:pt x="84" y="1049"/>
                  </a:lnTo>
                  <a:lnTo>
                    <a:pt x="92" y="1074"/>
                  </a:lnTo>
                  <a:lnTo>
                    <a:pt x="126" y="1062"/>
                  </a:lnTo>
                  <a:lnTo>
                    <a:pt x="118" y="1039"/>
                  </a:lnTo>
                  <a:lnTo>
                    <a:pt x="104" y="996"/>
                  </a:lnTo>
                  <a:lnTo>
                    <a:pt x="93" y="960"/>
                  </a:lnTo>
                  <a:lnTo>
                    <a:pt x="59" y="971"/>
                  </a:lnTo>
                  <a:close/>
                  <a:moveTo>
                    <a:pt x="105" y="1109"/>
                  </a:moveTo>
                  <a:lnTo>
                    <a:pt x="115" y="1135"/>
                  </a:lnTo>
                  <a:lnTo>
                    <a:pt x="146" y="1209"/>
                  </a:lnTo>
                  <a:lnTo>
                    <a:pt x="179" y="1195"/>
                  </a:lnTo>
                  <a:lnTo>
                    <a:pt x="148" y="1123"/>
                  </a:lnTo>
                  <a:lnTo>
                    <a:pt x="139" y="1096"/>
                  </a:lnTo>
                  <a:lnTo>
                    <a:pt x="105" y="1109"/>
                  </a:lnTo>
                  <a:close/>
                  <a:moveTo>
                    <a:pt x="161" y="1243"/>
                  </a:moveTo>
                  <a:lnTo>
                    <a:pt x="190" y="1302"/>
                  </a:lnTo>
                  <a:lnTo>
                    <a:pt x="210" y="1339"/>
                  </a:lnTo>
                  <a:lnTo>
                    <a:pt x="241" y="1323"/>
                  </a:lnTo>
                  <a:lnTo>
                    <a:pt x="222" y="1286"/>
                  </a:lnTo>
                  <a:lnTo>
                    <a:pt x="194" y="1227"/>
                  </a:lnTo>
                  <a:lnTo>
                    <a:pt x="161" y="1243"/>
                  </a:lnTo>
                  <a:close/>
                  <a:moveTo>
                    <a:pt x="226" y="1371"/>
                  </a:moveTo>
                  <a:lnTo>
                    <a:pt x="232" y="1383"/>
                  </a:lnTo>
                  <a:lnTo>
                    <a:pt x="278" y="1462"/>
                  </a:lnTo>
                  <a:lnTo>
                    <a:pt x="280" y="1467"/>
                  </a:lnTo>
                  <a:lnTo>
                    <a:pt x="311" y="1448"/>
                  </a:lnTo>
                  <a:lnTo>
                    <a:pt x="309" y="1444"/>
                  </a:lnTo>
                  <a:lnTo>
                    <a:pt x="264" y="1367"/>
                  </a:lnTo>
                  <a:lnTo>
                    <a:pt x="258" y="1355"/>
                  </a:lnTo>
                  <a:lnTo>
                    <a:pt x="226" y="1371"/>
                  </a:lnTo>
                  <a:close/>
                  <a:moveTo>
                    <a:pt x="299" y="1497"/>
                  </a:moveTo>
                  <a:lnTo>
                    <a:pt x="326" y="1540"/>
                  </a:lnTo>
                  <a:lnTo>
                    <a:pt x="358" y="1588"/>
                  </a:lnTo>
                  <a:lnTo>
                    <a:pt x="388" y="1569"/>
                  </a:lnTo>
                  <a:lnTo>
                    <a:pt x="356" y="1521"/>
                  </a:lnTo>
                  <a:lnTo>
                    <a:pt x="330" y="1478"/>
                  </a:lnTo>
                  <a:lnTo>
                    <a:pt x="299" y="1497"/>
                  </a:lnTo>
                  <a:close/>
                  <a:moveTo>
                    <a:pt x="378" y="1618"/>
                  </a:moveTo>
                  <a:lnTo>
                    <a:pt x="430" y="1691"/>
                  </a:lnTo>
                  <a:lnTo>
                    <a:pt x="441" y="1707"/>
                  </a:lnTo>
                  <a:lnTo>
                    <a:pt x="470" y="1685"/>
                  </a:lnTo>
                  <a:lnTo>
                    <a:pt x="458" y="1671"/>
                  </a:lnTo>
                  <a:lnTo>
                    <a:pt x="407" y="1598"/>
                  </a:lnTo>
                  <a:lnTo>
                    <a:pt x="378" y="1618"/>
                  </a:lnTo>
                  <a:close/>
                  <a:moveTo>
                    <a:pt x="463" y="1735"/>
                  </a:moveTo>
                  <a:lnTo>
                    <a:pt x="484" y="1764"/>
                  </a:lnTo>
                  <a:lnTo>
                    <a:pt x="529" y="1822"/>
                  </a:lnTo>
                  <a:lnTo>
                    <a:pt x="557" y="1800"/>
                  </a:lnTo>
                  <a:lnTo>
                    <a:pt x="513" y="1743"/>
                  </a:lnTo>
                  <a:lnTo>
                    <a:pt x="491" y="1714"/>
                  </a:lnTo>
                  <a:lnTo>
                    <a:pt x="463" y="1735"/>
                  </a:lnTo>
                  <a:close/>
                  <a:moveTo>
                    <a:pt x="551" y="1850"/>
                  </a:moveTo>
                  <a:lnTo>
                    <a:pt x="596" y="1906"/>
                  </a:lnTo>
                  <a:lnTo>
                    <a:pt x="620" y="1934"/>
                  </a:lnTo>
                  <a:lnTo>
                    <a:pt x="646" y="1912"/>
                  </a:lnTo>
                  <a:lnTo>
                    <a:pt x="624" y="1884"/>
                  </a:lnTo>
                  <a:lnTo>
                    <a:pt x="578" y="1828"/>
                  </a:lnTo>
                  <a:lnTo>
                    <a:pt x="551" y="1850"/>
                  </a:lnTo>
                  <a:close/>
                  <a:moveTo>
                    <a:pt x="642" y="1961"/>
                  </a:moveTo>
                  <a:lnTo>
                    <a:pt x="653" y="1975"/>
                  </a:lnTo>
                  <a:lnTo>
                    <a:pt x="710" y="2042"/>
                  </a:lnTo>
                  <a:lnTo>
                    <a:pt x="712" y="2044"/>
                  </a:lnTo>
                  <a:lnTo>
                    <a:pt x="740" y="2021"/>
                  </a:lnTo>
                  <a:lnTo>
                    <a:pt x="738" y="2019"/>
                  </a:lnTo>
                  <a:lnTo>
                    <a:pt x="680" y="1952"/>
                  </a:lnTo>
                  <a:lnTo>
                    <a:pt x="670" y="1939"/>
                  </a:lnTo>
                  <a:lnTo>
                    <a:pt x="642" y="1961"/>
                  </a:lnTo>
                  <a:close/>
                  <a:moveTo>
                    <a:pt x="737" y="2072"/>
                  </a:moveTo>
                  <a:lnTo>
                    <a:pt x="769" y="2108"/>
                  </a:lnTo>
                  <a:lnTo>
                    <a:pt x="808" y="2153"/>
                  </a:lnTo>
                  <a:lnTo>
                    <a:pt x="834" y="2129"/>
                  </a:lnTo>
                  <a:lnTo>
                    <a:pt x="795" y="2085"/>
                  </a:lnTo>
                  <a:lnTo>
                    <a:pt x="763" y="2048"/>
                  </a:lnTo>
                  <a:lnTo>
                    <a:pt x="737" y="2072"/>
                  </a:lnTo>
                  <a:close/>
                  <a:moveTo>
                    <a:pt x="831" y="2180"/>
                  </a:moveTo>
                  <a:lnTo>
                    <a:pt x="881" y="2235"/>
                  </a:lnTo>
                  <a:lnTo>
                    <a:pt x="903" y="2261"/>
                  </a:lnTo>
                  <a:lnTo>
                    <a:pt x="930" y="2237"/>
                  </a:lnTo>
                  <a:lnTo>
                    <a:pt x="909" y="2212"/>
                  </a:lnTo>
                  <a:lnTo>
                    <a:pt x="859" y="2156"/>
                  </a:lnTo>
                  <a:lnTo>
                    <a:pt x="831" y="2180"/>
                  </a:lnTo>
                  <a:close/>
                  <a:moveTo>
                    <a:pt x="928" y="2287"/>
                  </a:moveTo>
                  <a:lnTo>
                    <a:pt x="936" y="2297"/>
                  </a:lnTo>
                  <a:lnTo>
                    <a:pt x="990" y="2358"/>
                  </a:lnTo>
                  <a:lnTo>
                    <a:pt x="999" y="2368"/>
                  </a:lnTo>
                  <a:lnTo>
                    <a:pt x="1026" y="2344"/>
                  </a:lnTo>
                  <a:lnTo>
                    <a:pt x="1017" y="2334"/>
                  </a:lnTo>
                  <a:lnTo>
                    <a:pt x="963" y="2274"/>
                  </a:lnTo>
                  <a:lnTo>
                    <a:pt x="954" y="2263"/>
                  </a:lnTo>
                  <a:lnTo>
                    <a:pt x="928" y="2287"/>
                  </a:lnTo>
                  <a:close/>
                  <a:moveTo>
                    <a:pt x="1023" y="2395"/>
                  </a:moveTo>
                  <a:lnTo>
                    <a:pt x="1043" y="2417"/>
                  </a:lnTo>
                  <a:lnTo>
                    <a:pt x="1063" y="2439"/>
                  </a:lnTo>
                  <a:lnTo>
                    <a:pt x="1089" y="2416"/>
                  </a:lnTo>
                  <a:lnTo>
                    <a:pt x="1069" y="2393"/>
                  </a:lnTo>
                  <a:lnTo>
                    <a:pt x="1050" y="2370"/>
                  </a:lnTo>
                  <a:lnTo>
                    <a:pt x="1023" y="2395"/>
                  </a:lnTo>
                  <a:close/>
                  <a:moveTo>
                    <a:pt x="146" y="159"/>
                  </a:moveTo>
                  <a:lnTo>
                    <a:pt x="123" y="0"/>
                  </a:lnTo>
                  <a:lnTo>
                    <a:pt x="9" y="114"/>
                  </a:lnTo>
                  <a:lnTo>
                    <a:pt x="146" y="159"/>
                  </a:lnTo>
                  <a:close/>
                  <a:moveTo>
                    <a:pt x="1005" y="2456"/>
                  </a:moveTo>
                  <a:lnTo>
                    <a:pt x="1154" y="2519"/>
                  </a:lnTo>
                  <a:lnTo>
                    <a:pt x="1115" y="2363"/>
                  </a:lnTo>
                  <a:lnTo>
                    <a:pt x="1005" y="2456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8" name="Freeform 31"/>
            <p:cNvSpPr>
              <a:spLocks noEditPoints="1"/>
            </p:cNvSpPr>
            <p:nvPr/>
          </p:nvSpPr>
          <p:spPr bwMode="auto">
            <a:xfrm>
              <a:off x="7312502" y="2036114"/>
              <a:ext cx="1336675" cy="981075"/>
            </a:xfrm>
            <a:custGeom>
              <a:avLst/>
              <a:gdLst>
                <a:gd name="T0" fmla="*/ 81 w 2527"/>
                <a:gd name="T1" fmla="*/ 223 h 1853"/>
                <a:gd name="T2" fmla="*/ 79 w 2527"/>
                <a:gd name="T3" fmla="*/ 108 h 1853"/>
                <a:gd name="T4" fmla="*/ 109 w 2527"/>
                <a:gd name="T5" fmla="*/ 293 h 1853"/>
                <a:gd name="T6" fmla="*/ 143 w 2527"/>
                <a:gd name="T7" fmla="*/ 279 h 1853"/>
                <a:gd name="T8" fmla="*/ 154 w 2527"/>
                <a:gd name="T9" fmla="*/ 388 h 1853"/>
                <a:gd name="T10" fmla="*/ 235 w 2527"/>
                <a:gd name="T11" fmla="*/ 467 h 1853"/>
                <a:gd name="T12" fmla="*/ 154 w 2527"/>
                <a:gd name="T13" fmla="*/ 388 h 1853"/>
                <a:gd name="T14" fmla="*/ 278 w 2527"/>
                <a:gd name="T15" fmla="*/ 609 h 1853"/>
                <a:gd name="T16" fmla="*/ 253 w 2527"/>
                <a:gd name="T17" fmla="*/ 499 h 1853"/>
                <a:gd name="T18" fmla="*/ 300 w 2527"/>
                <a:gd name="T19" fmla="*/ 642 h 1853"/>
                <a:gd name="T20" fmla="*/ 389 w 2527"/>
                <a:gd name="T21" fmla="*/ 707 h 1853"/>
                <a:gd name="T22" fmla="*/ 328 w 2527"/>
                <a:gd name="T23" fmla="*/ 621 h 1853"/>
                <a:gd name="T24" fmla="*/ 416 w 2527"/>
                <a:gd name="T25" fmla="*/ 800 h 1853"/>
                <a:gd name="T26" fmla="*/ 444 w 2527"/>
                <a:gd name="T27" fmla="*/ 779 h 1853"/>
                <a:gd name="T28" fmla="*/ 474 w 2527"/>
                <a:gd name="T29" fmla="*/ 870 h 1853"/>
                <a:gd name="T30" fmla="*/ 548 w 2527"/>
                <a:gd name="T31" fmla="*/ 951 h 1853"/>
                <a:gd name="T32" fmla="*/ 507 w 2527"/>
                <a:gd name="T33" fmla="*/ 853 h 1853"/>
                <a:gd name="T34" fmla="*/ 574 w 2527"/>
                <a:gd name="T35" fmla="*/ 977 h 1853"/>
                <a:gd name="T36" fmla="*/ 675 w 2527"/>
                <a:gd name="T37" fmla="*/ 1025 h 1853"/>
                <a:gd name="T38" fmla="*/ 574 w 2527"/>
                <a:gd name="T39" fmla="*/ 977 h 1853"/>
                <a:gd name="T40" fmla="*/ 760 w 2527"/>
                <a:gd name="T41" fmla="*/ 1146 h 1853"/>
                <a:gd name="T42" fmla="*/ 703 w 2527"/>
                <a:gd name="T43" fmla="*/ 1050 h 1853"/>
                <a:gd name="T44" fmla="*/ 843 w 2527"/>
                <a:gd name="T45" fmla="*/ 1211 h 1853"/>
                <a:gd name="T46" fmla="*/ 866 w 2527"/>
                <a:gd name="T47" fmla="*/ 1183 h 1853"/>
                <a:gd name="T48" fmla="*/ 905 w 2527"/>
                <a:gd name="T49" fmla="*/ 1256 h 1853"/>
                <a:gd name="T50" fmla="*/ 1015 w 2527"/>
                <a:gd name="T51" fmla="*/ 1287 h 1853"/>
                <a:gd name="T52" fmla="*/ 905 w 2527"/>
                <a:gd name="T53" fmla="*/ 1256 h 1853"/>
                <a:gd name="T54" fmla="*/ 1119 w 2527"/>
                <a:gd name="T55" fmla="*/ 1393 h 1853"/>
                <a:gd name="T56" fmla="*/ 1045 w 2527"/>
                <a:gd name="T57" fmla="*/ 1306 h 1853"/>
                <a:gd name="T58" fmla="*/ 1185 w 2527"/>
                <a:gd name="T59" fmla="*/ 1429 h 1853"/>
                <a:gd name="T60" fmla="*/ 1202 w 2527"/>
                <a:gd name="T61" fmla="*/ 1398 h 1853"/>
                <a:gd name="T62" fmla="*/ 1279 w 2527"/>
                <a:gd name="T63" fmla="*/ 1478 h 1853"/>
                <a:gd name="T64" fmla="*/ 1391 w 2527"/>
                <a:gd name="T65" fmla="*/ 1492 h 1853"/>
                <a:gd name="T66" fmla="*/ 1279 w 2527"/>
                <a:gd name="T67" fmla="*/ 1478 h 1853"/>
                <a:gd name="T68" fmla="*/ 1510 w 2527"/>
                <a:gd name="T69" fmla="*/ 1580 h 1853"/>
                <a:gd name="T70" fmla="*/ 1424 w 2527"/>
                <a:gd name="T71" fmla="*/ 1505 h 1853"/>
                <a:gd name="T72" fmla="*/ 1564 w 2527"/>
                <a:gd name="T73" fmla="*/ 1601 h 1853"/>
                <a:gd name="T74" fmla="*/ 1577 w 2527"/>
                <a:gd name="T75" fmla="*/ 1568 h 1853"/>
                <a:gd name="T76" fmla="*/ 1681 w 2527"/>
                <a:gd name="T77" fmla="*/ 1642 h 1853"/>
                <a:gd name="T78" fmla="*/ 1794 w 2527"/>
                <a:gd name="T79" fmla="*/ 1640 h 1853"/>
                <a:gd name="T80" fmla="*/ 1681 w 2527"/>
                <a:gd name="T81" fmla="*/ 1642 h 1853"/>
                <a:gd name="T82" fmla="*/ 1923 w 2527"/>
                <a:gd name="T83" fmla="*/ 1712 h 1853"/>
                <a:gd name="T84" fmla="*/ 1829 w 2527"/>
                <a:gd name="T85" fmla="*/ 1650 h 1853"/>
                <a:gd name="T86" fmla="*/ 1975 w 2527"/>
                <a:gd name="T87" fmla="*/ 1726 h 1853"/>
                <a:gd name="T88" fmla="*/ 1984 w 2527"/>
                <a:gd name="T89" fmla="*/ 1691 h 1853"/>
                <a:gd name="T90" fmla="*/ 2101 w 2527"/>
                <a:gd name="T91" fmla="*/ 1753 h 1853"/>
                <a:gd name="T92" fmla="*/ 2212 w 2527"/>
                <a:gd name="T93" fmla="*/ 1737 h 1853"/>
                <a:gd name="T94" fmla="*/ 2101 w 2527"/>
                <a:gd name="T95" fmla="*/ 1753 h 1853"/>
                <a:gd name="T96" fmla="*/ 2350 w 2527"/>
                <a:gd name="T97" fmla="*/ 1794 h 1853"/>
                <a:gd name="T98" fmla="*/ 2248 w 2527"/>
                <a:gd name="T99" fmla="*/ 1743 h 1853"/>
                <a:gd name="T100" fmla="*/ 2404 w 2527"/>
                <a:gd name="T101" fmla="*/ 1801 h 1853"/>
                <a:gd name="T102" fmla="*/ 2385 w 2527"/>
                <a:gd name="T103" fmla="*/ 1799 h 1853"/>
                <a:gd name="T104" fmla="*/ 0 w 2527"/>
                <a:gd name="T105" fmla="*/ 158 h 1853"/>
                <a:gd name="T106" fmla="*/ 2527 w 2527"/>
                <a:gd name="T107" fmla="*/ 1796 h 1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27" h="1853">
                  <a:moveTo>
                    <a:pt x="45" y="120"/>
                  </a:moveTo>
                  <a:lnTo>
                    <a:pt x="71" y="198"/>
                  </a:lnTo>
                  <a:lnTo>
                    <a:pt x="81" y="223"/>
                  </a:lnTo>
                  <a:lnTo>
                    <a:pt x="115" y="209"/>
                  </a:lnTo>
                  <a:lnTo>
                    <a:pt x="106" y="188"/>
                  </a:lnTo>
                  <a:lnTo>
                    <a:pt x="79" y="108"/>
                  </a:lnTo>
                  <a:lnTo>
                    <a:pt x="45" y="120"/>
                  </a:lnTo>
                  <a:close/>
                  <a:moveTo>
                    <a:pt x="95" y="256"/>
                  </a:moveTo>
                  <a:lnTo>
                    <a:pt x="109" y="293"/>
                  </a:lnTo>
                  <a:lnTo>
                    <a:pt x="138" y="355"/>
                  </a:lnTo>
                  <a:lnTo>
                    <a:pt x="171" y="340"/>
                  </a:lnTo>
                  <a:lnTo>
                    <a:pt x="143" y="279"/>
                  </a:lnTo>
                  <a:lnTo>
                    <a:pt x="127" y="242"/>
                  </a:lnTo>
                  <a:lnTo>
                    <a:pt x="95" y="256"/>
                  </a:lnTo>
                  <a:close/>
                  <a:moveTo>
                    <a:pt x="154" y="388"/>
                  </a:moveTo>
                  <a:lnTo>
                    <a:pt x="197" y="472"/>
                  </a:lnTo>
                  <a:lnTo>
                    <a:pt x="204" y="485"/>
                  </a:lnTo>
                  <a:lnTo>
                    <a:pt x="235" y="467"/>
                  </a:lnTo>
                  <a:lnTo>
                    <a:pt x="229" y="456"/>
                  </a:lnTo>
                  <a:lnTo>
                    <a:pt x="186" y="372"/>
                  </a:lnTo>
                  <a:lnTo>
                    <a:pt x="154" y="388"/>
                  </a:lnTo>
                  <a:close/>
                  <a:moveTo>
                    <a:pt x="222" y="517"/>
                  </a:moveTo>
                  <a:lnTo>
                    <a:pt x="246" y="558"/>
                  </a:lnTo>
                  <a:lnTo>
                    <a:pt x="278" y="609"/>
                  </a:lnTo>
                  <a:lnTo>
                    <a:pt x="309" y="590"/>
                  </a:lnTo>
                  <a:lnTo>
                    <a:pt x="277" y="540"/>
                  </a:lnTo>
                  <a:lnTo>
                    <a:pt x="253" y="499"/>
                  </a:lnTo>
                  <a:lnTo>
                    <a:pt x="222" y="517"/>
                  </a:lnTo>
                  <a:close/>
                  <a:moveTo>
                    <a:pt x="297" y="640"/>
                  </a:moveTo>
                  <a:lnTo>
                    <a:pt x="300" y="642"/>
                  </a:lnTo>
                  <a:lnTo>
                    <a:pt x="356" y="723"/>
                  </a:lnTo>
                  <a:lnTo>
                    <a:pt x="361" y="729"/>
                  </a:lnTo>
                  <a:lnTo>
                    <a:pt x="389" y="707"/>
                  </a:lnTo>
                  <a:lnTo>
                    <a:pt x="386" y="702"/>
                  </a:lnTo>
                  <a:lnTo>
                    <a:pt x="329" y="623"/>
                  </a:lnTo>
                  <a:lnTo>
                    <a:pt x="328" y="621"/>
                  </a:lnTo>
                  <a:lnTo>
                    <a:pt x="297" y="640"/>
                  </a:lnTo>
                  <a:close/>
                  <a:moveTo>
                    <a:pt x="382" y="758"/>
                  </a:moveTo>
                  <a:lnTo>
                    <a:pt x="416" y="800"/>
                  </a:lnTo>
                  <a:lnTo>
                    <a:pt x="450" y="843"/>
                  </a:lnTo>
                  <a:lnTo>
                    <a:pt x="478" y="819"/>
                  </a:lnTo>
                  <a:lnTo>
                    <a:pt x="444" y="779"/>
                  </a:lnTo>
                  <a:lnTo>
                    <a:pt x="411" y="736"/>
                  </a:lnTo>
                  <a:lnTo>
                    <a:pt x="382" y="758"/>
                  </a:lnTo>
                  <a:close/>
                  <a:moveTo>
                    <a:pt x="474" y="870"/>
                  </a:moveTo>
                  <a:lnTo>
                    <a:pt x="479" y="876"/>
                  </a:lnTo>
                  <a:lnTo>
                    <a:pt x="546" y="949"/>
                  </a:lnTo>
                  <a:lnTo>
                    <a:pt x="548" y="951"/>
                  </a:lnTo>
                  <a:lnTo>
                    <a:pt x="574" y="926"/>
                  </a:lnTo>
                  <a:lnTo>
                    <a:pt x="572" y="925"/>
                  </a:lnTo>
                  <a:lnTo>
                    <a:pt x="507" y="853"/>
                  </a:lnTo>
                  <a:lnTo>
                    <a:pt x="501" y="847"/>
                  </a:lnTo>
                  <a:lnTo>
                    <a:pt x="474" y="870"/>
                  </a:lnTo>
                  <a:close/>
                  <a:moveTo>
                    <a:pt x="574" y="977"/>
                  </a:moveTo>
                  <a:lnTo>
                    <a:pt x="616" y="1018"/>
                  </a:lnTo>
                  <a:lnTo>
                    <a:pt x="652" y="1052"/>
                  </a:lnTo>
                  <a:lnTo>
                    <a:pt x="675" y="1025"/>
                  </a:lnTo>
                  <a:lnTo>
                    <a:pt x="642" y="994"/>
                  </a:lnTo>
                  <a:lnTo>
                    <a:pt x="599" y="951"/>
                  </a:lnTo>
                  <a:lnTo>
                    <a:pt x="574" y="977"/>
                  </a:lnTo>
                  <a:close/>
                  <a:moveTo>
                    <a:pt x="678" y="1076"/>
                  </a:moveTo>
                  <a:lnTo>
                    <a:pt x="688" y="1086"/>
                  </a:lnTo>
                  <a:lnTo>
                    <a:pt x="760" y="1146"/>
                  </a:lnTo>
                  <a:lnTo>
                    <a:pt x="784" y="1120"/>
                  </a:lnTo>
                  <a:lnTo>
                    <a:pt x="713" y="1059"/>
                  </a:lnTo>
                  <a:lnTo>
                    <a:pt x="703" y="1050"/>
                  </a:lnTo>
                  <a:lnTo>
                    <a:pt x="678" y="1076"/>
                  </a:lnTo>
                  <a:close/>
                  <a:moveTo>
                    <a:pt x="789" y="1170"/>
                  </a:moveTo>
                  <a:lnTo>
                    <a:pt x="843" y="1211"/>
                  </a:lnTo>
                  <a:lnTo>
                    <a:pt x="876" y="1236"/>
                  </a:lnTo>
                  <a:lnTo>
                    <a:pt x="897" y="1206"/>
                  </a:lnTo>
                  <a:lnTo>
                    <a:pt x="866" y="1183"/>
                  </a:lnTo>
                  <a:lnTo>
                    <a:pt x="811" y="1141"/>
                  </a:lnTo>
                  <a:lnTo>
                    <a:pt x="789" y="1170"/>
                  </a:lnTo>
                  <a:close/>
                  <a:moveTo>
                    <a:pt x="905" y="1256"/>
                  </a:moveTo>
                  <a:lnTo>
                    <a:pt x="925" y="1271"/>
                  </a:lnTo>
                  <a:lnTo>
                    <a:pt x="995" y="1317"/>
                  </a:lnTo>
                  <a:lnTo>
                    <a:pt x="1015" y="1287"/>
                  </a:lnTo>
                  <a:lnTo>
                    <a:pt x="945" y="1241"/>
                  </a:lnTo>
                  <a:lnTo>
                    <a:pt x="926" y="1227"/>
                  </a:lnTo>
                  <a:lnTo>
                    <a:pt x="905" y="1256"/>
                  </a:lnTo>
                  <a:close/>
                  <a:moveTo>
                    <a:pt x="1026" y="1337"/>
                  </a:moveTo>
                  <a:lnTo>
                    <a:pt x="1096" y="1379"/>
                  </a:lnTo>
                  <a:lnTo>
                    <a:pt x="1119" y="1393"/>
                  </a:lnTo>
                  <a:lnTo>
                    <a:pt x="1136" y="1361"/>
                  </a:lnTo>
                  <a:lnTo>
                    <a:pt x="1114" y="1348"/>
                  </a:lnTo>
                  <a:lnTo>
                    <a:pt x="1045" y="1306"/>
                  </a:lnTo>
                  <a:lnTo>
                    <a:pt x="1026" y="1337"/>
                  </a:lnTo>
                  <a:close/>
                  <a:moveTo>
                    <a:pt x="1151" y="1410"/>
                  </a:moveTo>
                  <a:lnTo>
                    <a:pt x="1185" y="1429"/>
                  </a:lnTo>
                  <a:lnTo>
                    <a:pt x="1247" y="1461"/>
                  </a:lnTo>
                  <a:lnTo>
                    <a:pt x="1263" y="1429"/>
                  </a:lnTo>
                  <a:lnTo>
                    <a:pt x="1202" y="1398"/>
                  </a:lnTo>
                  <a:lnTo>
                    <a:pt x="1168" y="1379"/>
                  </a:lnTo>
                  <a:lnTo>
                    <a:pt x="1151" y="1410"/>
                  </a:lnTo>
                  <a:close/>
                  <a:moveTo>
                    <a:pt x="1279" y="1478"/>
                  </a:moveTo>
                  <a:lnTo>
                    <a:pt x="1370" y="1521"/>
                  </a:lnTo>
                  <a:lnTo>
                    <a:pt x="1377" y="1525"/>
                  </a:lnTo>
                  <a:lnTo>
                    <a:pt x="1391" y="1492"/>
                  </a:lnTo>
                  <a:lnTo>
                    <a:pt x="1386" y="1488"/>
                  </a:lnTo>
                  <a:lnTo>
                    <a:pt x="1295" y="1446"/>
                  </a:lnTo>
                  <a:lnTo>
                    <a:pt x="1279" y="1478"/>
                  </a:lnTo>
                  <a:close/>
                  <a:moveTo>
                    <a:pt x="1410" y="1538"/>
                  </a:moveTo>
                  <a:lnTo>
                    <a:pt x="1467" y="1563"/>
                  </a:lnTo>
                  <a:lnTo>
                    <a:pt x="1510" y="1580"/>
                  </a:lnTo>
                  <a:lnTo>
                    <a:pt x="1524" y="1547"/>
                  </a:lnTo>
                  <a:lnTo>
                    <a:pt x="1480" y="1530"/>
                  </a:lnTo>
                  <a:lnTo>
                    <a:pt x="1424" y="1505"/>
                  </a:lnTo>
                  <a:lnTo>
                    <a:pt x="1410" y="1538"/>
                  </a:lnTo>
                  <a:close/>
                  <a:moveTo>
                    <a:pt x="1544" y="1594"/>
                  </a:moveTo>
                  <a:lnTo>
                    <a:pt x="1564" y="1601"/>
                  </a:lnTo>
                  <a:lnTo>
                    <a:pt x="1646" y="1631"/>
                  </a:lnTo>
                  <a:lnTo>
                    <a:pt x="1658" y="1597"/>
                  </a:lnTo>
                  <a:lnTo>
                    <a:pt x="1577" y="1568"/>
                  </a:lnTo>
                  <a:lnTo>
                    <a:pt x="1557" y="1560"/>
                  </a:lnTo>
                  <a:lnTo>
                    <a:pt x="1544" y="1594"/>
                  </a:lnTo>
                  <a:close/>
                  <a:moveTo>
                    <a:pt x="1681" y="1642"/>
                  </a:moveTo>
                  <a:lnTo>
                    <a:pt x="1766" y="1670"/>
                  </a:lnTo>
                  <a:lnTo>
                    <a:pt x="1784" y="1675"/>
                  </a:lnTo>
                  <a:lnTo>
                    <a:pt x="1794" y="1640"/>
                  </a:lnTo>
                  <a:lnTo>
                    <a:pt x="1777" y="1636"/>
                  </a:lnTo>
                  <a:lnTo>
                    <a:pt x="1692" y="1608"/>
                  </a:lnTo>
                  <a:lnTo>
                    <a:pt x="1681" y="1642"/>
                  </a:lnTo>
                  <a:close/>
                  <a:moveTo>
                    <a:pt x="1819" y="1685"/>
                  </a:moveTo>
                  <a:lnTo>
                    <a:pt x="1870" y="1700"/>
                  </a:lnTo>
                  <a:lnTo>
                    <a:pt x="1923" y="1712"/>
                  </a:lnTo>
                  <a:lnTo>
                    <a:pt x="1933" y="1677"/>
                  </a:lnTo>
                  <a:lnTo>
                    <a:pt x="1880" y="1665"/>
                  </a:lnTo>
                  <a:lnTo>
                    <a:pt x="1829" y="1650"/>
                  </a:lnTo>
                  <a:lnTo>
                    <a:pt x="1819" y="1685"/>
                  </a:lnTo>
                  <a:close/>
                  <a:moveTo>
                    <a:pt x="1958" y="1722"/>
                  </a:moveTo>
                  <a:lnTo>
                    <a:pt x="1975" y="1726"/>
                  </a:lnTo>
                  <a:lnTo>
                    <a:pt x="2065" y="1745"/>
                  </a:lnTo>
                  <a:lnTo>
                    <a:pt x="2072" y="1710"/>
                  </a:lnTo>
                  <a:lnTo>
                    <a:pt x="1984" y="1691"/>
                  </a:lnTo>
                  <a:lnTo>
                    <a:pt x="1967" y="1687"/>
                  </a:lnTo>
                  <a:lnTo>
                    <a:pt x="1958" y="1722"/>
                  </a:lnTo>
                  <a:close/>
                  <a:moveTo>
                    <a:pt x="2101" y="1753"/>
                  </a:moveTo>
                  <a:lnTo>
                    <a:pt x="2191" y="1770"/>
                  </a:lnTo>
                  <a:lnTo>
                    <a:pt x="2207" y="1773"/>
                  </a:lnTo>
                  <a:lnTo>
                    <a:pt x="2212" y="1737"/>
                  </a:lnTo>
                  <a:lnTo>
                    <a:pt x="2197" y="1735"/>
                  </a:lnTo>
                  <a:lnTo>
                    <a:pt x="2107" y="1718"/>
                  </a:lnTo>
                  <a:lnTo>
                    <a:pt x="2101" y="1753"/>
                  </a:lnTo>
                  <a:close/>
                  <a:moveTo>
                    <a:pt x="2243" y="1778"/>
                  </a:moveTo>
                  <a:lnTo>
                    <a:pt x="2300" y="1788"/>
                  </a:lnTo>
                  <a:lnTo>
                    <a:pt x="2350" y="1794"/>
                  </a:lnTo>
                  <a:lnTo>
                    <a:pt x="2355" y="1758"/>
                  </a:lnTo>
                  <a:lnTo>
                    <a:pt x="2307" y="1753"/>
                  </a:lnTo>
                  <a:lnTo>
                    <a:pt x="2248" y="1743"/>
                  </a:lnTo>
                  <a:lnTo>
                    <a:pt x="2243" y="1778"/>
                  </a:lnTo>
                  <a:close/>
                  <a:moveTo>
                    <a:pt x="2385" y="1799"/>
                  </a:moveTo>
                  <a:lnTo>
                    <a:pt x="2404" y="1801"/>
                  </a:lnTo>
                  <a:lnTo>
                    <a:pt x="2410" y="1766"/>
                  </a:lnTo>
                  <a:lnTo>
                    <a:pt x="2390" y="1762"/>
                  </a:lnTo>
                  <a:lnTo>
                    <a:pt x="2385" y="1799"/>
                  </a:lnTo>
                  <a:close/>
                  <a:moveTo>
                    <a:pt x="138" y="115"/>
                  </a:moveTo>
                  <a:lnTo>
                    <a:pt x="27" y="0"/>
                  </a:lnTo>
                  <a:lnTo>
                    <a:pt x="0" y="158"/>
                  </a:lnTo>
                  <a:lnTo>
                    <a:pt x="138" y="115"/>
                  </a:lnTo>
                  <a:close/>
                  <a:moveTo>
                    <a:pt x="2376" y="1853"/>
                  </a:moveTo>
                  <a:lnTo>
                    <a:pt x="2527" y="1796"/>
                  </a:lnTo>
                  <a:lnTo>
                    <a:pt x="2391" y="1709"/>
                  </a:lnTo>
                  <a:lnTo>
                    <a:pt x="2376" y="1853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9" name="Freeform 32"/>
            <p:cNvSpPr>
              <a:spLocks noEditPoints="1"/>
            </p:cNvSpPr>
            <p:nvPr/>
          </p:nvSpPr>
          <p:spPr bwMode="auto">
            <a:xfrm>
              <a:off x="7868127" y="3041001"/>
              <a:ext cx="682625" cy="280988"/>
            </a:xfrm>
            <a:custGeom>
              <a:avLst/>
              <a:gdLst>
                <a:gd name="T0" fmla="*/ 110 w 1290"/>
                <a:gd name="T1" fmla="*/ 414 h 531"/>
                <a:gd name="T2" fmla="*/ 153 w 1290"/>
                <a:gd name="T3" fmla="*/ 362 h 531"/>
                <a:gd name="T4" fmla="*/ 105 w 1290"/>
                <a:gd name="T5" fmla="*/ 365 h 531"/>
                <a:gd name="T6" fmla="*/ 58 w 1290"/>
                <a:gd name="T7" fmla="*/ 424 h 531"/>
                <a:gd name="T8" fmla="*/ 177 w 1290"/>
                <a:gd name="T9" fmla="*/ 337 h 531"/>
                <a:gd name="T10" fmla="*/ 218 w 1290"/>
                <a:gd name="T11" fmla="*/ 294 h 531"/>
                <a:gd name="T12" fmla="*/ 253 w 1290"/>
                <a:gd name="T13" fmla="*/ 262 h 531"/>
                <a:gd name="T14" fmla="*/ 213 w 1290"/>
                <a:gd name="T15" fmla="*/ 250 h 531"/>
                <a:gd name="T16" fmla="*/ 170 w 1290"/>
                <a:gd name="T17" fmla="*/ 291 h 531"/>
                <a:gd name="T18" fmla="*/ 177 w 1290"/>
                <a:gd name="T19" fmla="*/ 337 h 531"/>
                <a:gd name="T20" fmla="*/ 298 w 1290"/>
                <a:gd name="T21" fmla="*/ 225 h 531"/>
                <a:gd name="T22" fmla="*/ 336 w 1290"/>
                <a:gd name="T23" fmla="*/ 199 h 531"/>
                <a:gd name="T24" fmla="*/ 367 w 1290"/>
                <a:gd name="T25" fmla="*/ 180 h 531"/>
                <a:gd name="T26" fmla="*/ 335 w 1290"/>
                <a:gd name="T27" fmla="*/ 156 h 531"/>
                <a:gd name="T28" fmla="*/ 296 w 1290"/>
                <a:gd name="T29" fmla="*/ 183 h 531"/>
                <a:gd name="T30" fmla="*/ 257 w 1290"/>
                <a:gd name="T31" fmla="*/ 212 h 531"/>
                <a:gd name="T32" fmla="*/ 397 w 1290"/>
                <a:gd name="T33" fmla="*/ 164 h 531"/>
                <a:gd name="T34" fmla="*/ 461 w 1290"/>
                <a:gd name="T35" fmla="*/ 138 h 531"/>
                <a:gd name="T36" fmla="*/ 487 w 1290"/>
                <a:gd name="T37" fmla="*/ 94 h 531"/>
                <a:gd name="T38" fmla="*/ 449 w 1290"/>
                <a:gd name="T39" fmla="*/ 104 h 531"/>
                <a:gd name="T40" fmla="*/ 382 w 1290"/>
                <a:gd name="T41" fmla="*/ 131 h 531"/>
                <a:gd name="T42" fmla="*/ 528 w 1290"/>
                <a:gd name="T43" fmla="*/ 122 h 531"/>
                <a:gd name="T44" fmla="*/ 597 w 1290"/>
                <a:gd name="T45" fmla="*/ 115 h 531"/>
                <a:gd name="T46" fmla="*/ 633 w 1290"/>
                <a:gd name="T47" fmla="*/ 115 h 531"/>
                <a:gd name="T48" fmla="*/ 630 w 1290"/>
                <a:gd name="T49" fmla="*/ 79 h 531"/>
                <a:gd name="T50" fmla="*/ 559 w 1290"/>
                <a:gd name="T51" fmla="*/ 82 h 531"/>
                <a:gd name="T52" fmla="*/ 528 w 1290"/>
                <a:gd name="T53" fmla="*/ 122 h 531"/>
                <a:gd name="T54" fmla="*/ 700 w 1290"/>
                <a:gd name="T55" fmla="*/ 117 h 531"/>
                <a:gd name="T56" fmla="*/ 777 w 1290"/>
                <a:gd name="T57" fmla="*/ 122 h 531"/>
                <a:gd name="T58" fmla="*/ 774 w 1290"/>
                <a:gd name="T59" fmla="*/ 86 h 531"/>
                <a:gd name="T60" fmla="*/ 671 w 1290"/>
                <a:gd name="T61" fmla="*/ 80 h 531"/>
                <a:gd name="T62" fmla="*/ 812 w 1290"/>
                <a:gd name="T63" fmla="*/ 125 h 531"/>
                <a:gd name="T64" fmla="*/ 884 w 1290"/>
                <a:gd name="T65" fmla="*/ 127 h 531"/>
                <a:gd name="T66" fmla="*/ 921 w 1290"/>
                <a:gd name="T67" fmla="*/ 91 h 531"/>
                <a:gd name="T68" fmla="*/ 847 w 1290"/>
                <a:gd name="T69" fmla="*/ 91 h 531"/>
                <a:gd name="T70" fmla="*/ 812 w 1290"/>
                <a:gd name="T71" fmla="*/ 125 h 531"/>
                <a:gd name="T72" fmla="*/ 966 w 1290"/>
                <a:gd name="T73" fmla="*/ 125 h 531"/>
                <a:gd name="T74" fmla="*/ 1052 w 1290"/>
                <a:gd name="T75" fmla="*/ 113 h 531"/>
                <a:gd name="T76" fmla="*/ 1060 w 1290"/>
                <a:gd name="T77" fmla="*/ 75 h 531"/>
                <a:gd name="T78" fmla="*/ 1004 w 1290"/>
                <a:gd name="T79" fmla="*/ 84 h 531"/>
                <a:gd name="T80" fmla="*/ 956 w 1290"/>
                <a:gd name="T81" fmla="*/ 88 h 531"/>
                <a:gd name="T82" fmla="*/ 1104 w 1290"/>
                <a:gd name="T83" fmla="*/ 101 h 531"/>
                <a:gd name="T84" fmla="*/ 1186 w 1290"/>
                <a:gd name="T85" fmla="*/ 74 h 531"/>
                <a:gd name="T86" fmla="*/ 1135 w 1290"/>
                <a:gd name="T87" fmla="*/ 54 h 531"/>
                <a:gd name="T88" fmla="*/ 1104 w 1290"/>
                <a:gd name="T89" fmla="*/ 101 h 531"/>
                <a:gd name="T90" fmla="*/ 0 w 1290"/>
                <a:gd name="T91" fmla="*/ 531 h 531"/>
                <a:gd name="T92" fmla="*/ 28 w 1290"/>
                <a:gd name="T93" fmla="*/ 372 h 531"/>
                <a:gd name="T94" fmla="*/ 1290 w 1290"/>
                <a:gd name="T95" fmla="*/ 10 h 531"/>
                <a:gd name="T96" fmla="*/ 1186 w 1290"/>
                <a:gd name="T97" fmla="*/ 132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90" h="531">
                  <a:moveTo>
                    <a:pt x="87" y="445"/>
                  </a:moveTo>
                  <a:lnTo>
                    <a:pt x="110" y="414"/>
                  </a:lnTo>
                  <a:lnTo>
                    <a:pt x="132" y="388"/>
                  </a:lnTo>
                  <a:lnTo>
                    <a:pt x="153" y="362"/>
                  </a:lnTo>
                  <a:lnTo>
                    <a:pt x="127" y="339"/>
                  </a:lnTo>
                  <a:lnTo>
                    <a:pt x="105" y="365"/>
                  </a:lnTo>
                  <a:lnTo>
                    <a:pt x="81" y="393"/>
                  </a:lnTo>
                  <a:lnTo>
                    <a:pt x="58" y="424"/>
                  </a:lnTo>
                  <a:lnTo>
                    <a:pt x="87" y="445"/>
                  </a:lnTo>
                  <a:close/>
                  <a:moveTo>
                    <a:pt x="177" y="337"/>
                  </a:moveTo>
                  <a:lnTo>
                    <a:pt x="197" y="316"/>
                  </a:lnTo>
                  <a:lnTo>
                    <a:pt x="218" y="294"/>
                  </a:lnTo>
                  <a:lnTo>
                    <a:pt x="238" y="275"/>
                  </a:lnTo>
                  <a:lnTo>
                    <a:pt x="253" y="262"/>
                  </a:lnTo>
                  <a:lnTo>
                    <a:pt x="229" y="235"/>
                  </a:lnTo>
                  <a:lnTo>
                    <a:pt x="213" y="250"/>
                  </a:lnTo>
                  <a:lnTo>
                    <a:pt x="192" y="269"/>
                  </a:lnTo>
                  <a:lnTo>
                    <a:pt x="170" y="291"/>
                  </a:lnTo>
                  <a:lnTo>
                    <a:pt x="151" y="311"/>
                  </a:lnTo>
                  <a:lnTo>
                    <a:pt x="177" y="337"/>
                  </a:lnTo>
                  <a:close/>
                  <a:moveTo>
                    <a:pt x="280" y="239"/>
                  </a:moveTo>
                  <a:lnTo>
                    <a:pt x="298" y="225"/>
                  </a:lnTo>
                  <a:lnTo>
                    <a:pt x="317" y="212"/>
                  </a:lnTo>
                  <a:lnTo>
                    <a:pt x="336" y="199"/>
                  </a:lnTo>
                  <a:lnTo>
                    <a:pt x="354" y="187"/>
                  </a:lnTo>
                  <a:lnTo>
                    <a:pt x="367" y="180"/>
                  </a:lnTo>
                  <a:lnTo>
                    <a:pt x="349" y="149"/>
                  </a:lnTo>
                  <a:lnTo>
                    <a:pt x="335" y="156"/>
                  </a:lnTo>
                  <a:lnTo>
                    <a:pt x="315" y="169"/>
                  </a:lnTo>
                  <a:lnTo>
                    <a:pt x="296" y="183"/>
                  </a:lnTo>
                  <a:lnTo>
                    <a:pt x="276" y="198"/>
                  </a:lnTo>
                  <a:lnTo>
                    <a:pt x="257" y="212"/>
                  </a:lnTo>
                  <a:lnTo>
                    <a:pt x="280" y="239"/>
                  </a:lnTo>
                  <a:close/>
                  <a:moveTo>
                    <a:pt x="397" y="164"/>
                  </a:moveTo>
                  <a:lnTo>
                    <a:pt x="426" y="150"/>
                  </a:lnTo>
                  <a:lnTo>
                    <a:pt x="461" y="138"/>
                  </a:lnTo>
                  <a:lnTo>
                    <a:pt x="495" y="129"/>
                  </a:lnTo>
                  <a:lnTo>
                    <a:pt x="487" y="94"/>
                  </a:lnTo>
                  <a:lnTo>
                    <a:pt x="486" y="94"/>
                  </a:lnTo>
                  <a:lnTo>
                    <a:pt x="449" y="104"/>
                  </a:lnTo>
                  <a:lnTo>
                    <a:pt x="411" y="118"/>
                  </a:lnTo>
                  <a:lnTo>
                    <a:pt x="382" y="131"/>
                  </a:lnTo>
                  <a:lnTo>
                    <a:pt x="397" y="164"/>
                  </a:lnTo>
                  <a:close/>
                  <a:moveTo>
                    <a:pt x="528" y="122"/>
                  </a:moveTo>
                  <a:lnTo>
                    <a:pt x="563" y="117"/>
                  </a:lnTo>
                  <a:lnTo>
                    <a:pt x="597" y="115"/>
                  </a:lnTo>
                  <a:lnTo>
                    <a:pt x="631" y="115"/>
                  </a:lnTo>
                  <a:lnTo>
                    <a:pt x="633" y="115"/>
                  </a:lnTo>
                  <a:lnTo>
                    <a:pt x="635" y="79"/>
                  </a:lnTo>
                  <a:lnTo>
                    <a:pt x="630" y="79"/>
                  </a:lnTo>
                  <a:lnTo>
                    <a:pt x="595" y="80"/>
                  </a:lnTo>
                  <a:lnTo>
                    <a:pt x="559" y="82"/>
                  </a:lnTo>
                  <a:lnTo>
                    <a:pt x="524" y="86"/>
                  </a:lnTo>
                  <a:lnTo>
                    <a:pt x="528" y="122"/>
                  </a:lnTo>
                  <a:close/>
                  <a:moveTo>
                    <a:pt x="668" y="116"/>
                  </a:moveTo>
                  <a:lnTo>
                    <a:pt x="700" y="117"/>
                  </a:lnTo>
                  <a:lnTo>
                    <a:pt x="772" y="122"/>
                  </a:lnTo>
                  <a:lnTo>
                    <a:pt x="777" y="122"/>
                  </a:lnTo>
                  <a:lnTo>
                    <a:pt x="779" y="86"/>
                  </a:lnTo>
                  <a:lnTo>
                    <a:pt x="774" y="86"/>
                  </a:lnTo>
                  <a:lnTo>
                    <a:pt x="701" y="81"/>
                  </a:lnTo>
                  <a:lnTo>
                    <a:pt x="671" y="80"/>
                  </a:lnTo>
                  <a:lnTo>
                    <a:pt x="668" y="116"/>
                  </a:lnTo>
                  <a:close/>
                  <a:moveTo>
                    <a:pt x="812" y="125"/>
                  </a:moveTo>
                  <a:lnTo>
                    <a:pt x="846" y="127"/>
                  </a:lnTo>
                  <a:lnTo>
                    <a:pt x="884" y="127"/>
                  </a:lnTo>
                  <a:lnTo>
                    <a:pt x="921" y="127"/>
                  </a:lnTo>
                  <a:lnTo>
                    <a:pt x="921" y="91"/>
                  </a:lnTo>
                  <a:lnTo>
                    <a:pt x="885" y="92"/>
                  </a:lnTo>
                  <a:lnTo>
                    <a:pt x="847" y="91"/>
                  </a:lnTo>
                  <a:lnTo>
                    <a:pt x="814" y="88"/>
                  </a:lnTo>
                  <a:lnTo>
                    <a:pt x="812" y="125"/>
                  </a:lnTo>
                  <a:close/>
                  <a:moveTo>
                    <a:pt x="958" y="125"/>
                  </a:moveTo>
                  <a:lnTo>
                    <a:pt x="966" y="125"/>
                  </a:lnTo>
                  <a:lnTo>
                    <a:pt x="1008" y="120"/>
                  </a:lnTo>
                  <a:lnTo>
                    <a:pt x="1052" y="113"/>
                  </a:lnTo>
                  <a:lnTo>
                    <a:pt x="1068" y="110"/>
                  </a:lnTo>
                  <a:lnTo>
                    <a:pt x="1060" y="75"/>
                  </a:lnTo>
                  <a:lnTo>
                    <a:pt x="1047" y="78"/>
                  </a:lnTo>
                  <a:lnTo>
                    <a:pt x="1004" y="84"/>
                  </a:lnTo>
                  <a:lnTo>
                    <a:pt x="964" y="88"/>
                  </a:lnTo>
                  <a:lnTo>
                    <a:pt x="956" y="88"/>
                  </a:lnTo>
                  <a:lnTo>
                    <a:pt x="958" y="125"/>
                  </a:lnTo>
                  <a:close/>
                  <a:moveTo>
                    <a:pt x="1104" y="101"/>
                  </a:moveTo>
                  <a:lnTo>
                    <a:pt x="1144" y="89"/>
                  </a:lnTo>
                  <a:lnTo>
                    <a:pt x="1186" y="74"/>
                  </a:lnTo>
                  <a:lnTo>
                    <a:pt x="1173" y="40"/>
                  </a:lnTo>
                  <a:lnTo>
                    <a:pt x="1135" y="54"/>
                  </a:lnTo>
                  <a:lnTo>
                    <a:pt x="1094" y="66"/>
                  </a:lnTo>
                  <a:lnTo>
                    <a:pt x="1104" y="101"/>
                  </a:lnTo>
                  <a:close/>
                  <a:moveTo>
                    <a:pt x="28" y="372"/>
                  </a:moveTo>
                  <a:lnTo>
                    <a:pt x="0" y="531"/>
                  </a:lnTo>
                  <a:lnTo>
                    <a:pt x="144" y="458"/>
                  </a:lnTo>
                  <a:lnTo>
                    <a:pt x="28" y="372"/>
                  </a:lnTo>
                  <a:close/>
                  <a:moveTo>
                    <a:pt x="1186" y="132"/>
                  </a:moveTo>
                  <a:lnTo>
                    <a:pt x="1290" y="10"/>
                  </a:lnTo>
                  <a:lnTo>
                    <a:pt x="1128" y="0"/>
                  </a:lnTo>
                  <a:lnTo>
                    <a:pt x="1186" y="132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0" name="Freeform 33"/>
            <p:cNvSpPr>
              <a:spLocks noEditPoints="1"/>
            </p:cNvSpPr>
            <p:nvPr/>
          </p:nvSpPr>
          <p:spPr bwMode="auto">
            <a:xfrm>
              <a:off x="4986815" y="1999601"/>
              <a:ext cx="2219325" cy="374650"/>
            </a:xfrm>
            <a:custGeom>
              <a:avLst/>
              <a:gdLst>
                <a:gd name="T0" fmla="*/ 190 w 4194"/>
                <a:gd name="T1" fmla="*/ 648 h 706"/>
                <a:gd name="T2" fmla="*/ 263 w 4194"/>
                <a:gd name="T3" fmla="*/ 628 h 706"/>
                <a:gd name="T4" fmla="*/ 310 w 4194"/>
                <a:gd name="T5" fmla="*/ 656 h 706"/>
                <a:gd name="T6" fmla="*/ 408 w 4194"/>
                <a:gd name="T7" fmla="*/ 638 h 706"/>
                <a:gd name="T8" fmla="*/ 477 w 4194"/>
                <a:gd name="T9" fmla="*/ 665 h 706"/>
                <a:gd name="T10" fmla="*/ 551 w 4194"/>
                <a:gd name="T11" fmla="*/ 645 h 706"/>
                <a:gd name="T12" fmla="*/ 597 w 4194"/>
                <a:gd name="T13" fmla="*/ 672 h 706"/>
                <a:gd name="T14" fmla="*/ 719 w 4194"/>
                <a:gd name="T15" fmla="*/ 653 h 706"/>
                <a:gd name="T16" fmla="*/ 742 w 4194"/>
                <a:gd name="T17" fmla="*/ 654 h 706"/>
                <a:gd name="T18" fmla="*/ 862 w 4194"/>
                <a:gd name="T19" fmla="*/ 658 h 706"/>
                <a:gd name="T20" fmla="*/ 885 w 4194"/>
                <a:gd name="T21" fmla="*/ 682 h 706"/>
                <a:gd name="T22" fmla="*/ 1006 w 4194"/>
                <a:gd name="T23" fmla="*/ 661 h 706"/>
                <a:gd name="T24" fmla="*/ 1030 w 4194"/>
                <a:gd name="T25" fmla="*/ 661 h 706"/>
                <a:gd name="T26" fmla="*/ 1125 w 4194"/>
                <a:gd name="T27" fmla="*/ 661 h 706"/>
                <a:gd name="T28" fmla="*/ 1174 w 4194"/>
                <a:gd name="T29" fmla="*/ 686 h 706"/>
                <a:gd name="T30" fmla="*/ 1293 w 4194"/>
                <a:gd name="T31" fmla="*/ 661 h 706"/>
                <a:gd name="T32" fmla="*/ 1319 w 4194"/>
                <a:gd name="T33" fmla="*/ 685 h 706"/>
                <a:gd name="T34" fmla="*/ 1413 w 4194"/>
                <a:gd name="T35" fmla="*/ 657 h 706"/>
                <a:gd name="T36" fmla="*/ 1462 w 4194"/>
                <a:gd name="T37" fmla="*/ 679 h 706"/>
                <a:gd name="T38" fmla="*/ 1566 w 4194"/>
                <a:gd name="T39" fmla="*/ 652 h 706"/>
                <a:gd name="T40" fmla="*/ 1630 w 4194"/>
                <a:gd name="T41" fmla="*/ 672 h 706"/>
                <a:gd name="T42" fmla="*/ 1700 w 4194"/>
                <a:gd name="T43" fmla="*/ 642 h 706"/>
                <a:gd name="T44" fmla="*/ 1750 w 4194"/>
                <a:gd name="T45" fmla="*/ 663 h 706"/>
                <a:gd name="T46" fmla="*/ 1868 w 4194"/>
                <a:gd name="T47" fmla="*/ 629 h 706"/>
                <a:gd name="T48" fmla="*/ 1891 w 4194"/>
                <a:gd name="T49" fmla="*/ 627 h 706"/>
                <a:gd name="T50" fmla="*/ 1987 w 4194"/>
                <a:gd name="T51" fmla="*/ 618 h 706"/>
                <a:gd name="T52" fmla="*/ 2036 w 4194"/>
                <a:gd name="T53" fmla="*/ 636 h 706"/>
                <a:gd name="T54" fmla="*/ 2082 w 4194"/>
                <a:gd name="T55" fmla="*/ 607 h 706"/>
                <a:gd name="T56" fmla="*/ 2203 w 4194"/>
                <a:gd name="T57" fmla="*/ 614 h 706"/>
                <a:gd name="T58" fmla="*/ 2271 w 4194"/>
                <a:gd name="T59" fmla="*/ 580 h 706"/>
                <a:gd name="T60" fmla="*/ 2322 w 4194"/>
                <a:gd name="T61" fmla="*/ 596 h 706"/>
                <a:gd name="T62" fmla="*/ 2437 w 4194"/>
                <a:gd name="T63" fmla="*/ 553 h 706"/>
                <a:gd name="T64" fmla="*/ 2460 w 4194"/>
                <a:gd name="T65" fmla="*/ 549 h 706"/>
                <a:gd name="T66" fmla="*/ 2582 w 4194"/>
                <a:gd name="T67" fmla="*/ 550 h 706"/>
                <a:gd name="T68" fmla="*/ 2648 w 4194"/>
                <a:gd name="T69" fmla="*/ 511 h 706"/>
                <a:gd name="T70" fmla="*/ 2700 w 4194"/>
                <a:gd name="T71" fmla="*/ 525 h 706"/>
                <a:gd name="T72" fmla="*/ 2812 w 4194"/>
                <a:gd name="T73" fmla="*/ 475 h 706"/>
                <a:gd name="T74" fmla="*/ 2835 w 4194"/>
                <a:gd name="T75" fmla="*/ 469 h 706"/>
                <a:gd name="T76" fmla="*/ 2952 w 4194"/>
                <a:gd name="T77" fmla="*/ 440 h 706"/>
                <a:gd name="T78" fmla="*/ 2981 w 4194"/>
                <a:gd name="T79" fmla="*/ 457 h 706"/>
                <a:gd name="T80" fmla="*/ 3083 w 4194"/>
                <a:gd name="T81" fmla="*/ 405 h 706"/>
                <a:gd name="T82" fmla="*/ 3143 w 4194"/>
                <a:gd name="T83" fmla="*/ 413 h 706"/>
                <a:gd name="T84" fmla="*/ 3206 w 4194"/>
                <a:gd name="T85" fmla="*/ 369 h 706"/>
                <a:gd name="T86" fmla="*/ 3259 w 4194"/>
                <a:gd name="T87" fmla="*/ 379 h 706"/>
                <a:gd name="T88" fmla="*/ 3365 w 4194"/>
                <a:gd name="T89" fmla="*/ 319 h 706"/>
                <a:gd name="T90" fmla="*/ 3388 w 4194"/>
                <a:gd name="T91" fmla="*/ 312 h 706"/>
                <a:gd name="T92" fmla="*/ 3509 w 4194"/>
                <a:gd name="T93" fmla="*/ 296 h 706"/>
                <a:gd name="T94" fmla="*/ 3532 w 4194"/>
                <a:gd name="T95" fmla="*/ 288 h 706"/>
                <a:gd name="T96" fmla="*/ 3637 w 4194"/>
                <a:gd name="T97" fmla="*/ 225 h 706"/>
                <a:gd name="T98" fmla="*/ 3659 w 4194"/>
                <a:gd name="T99" fmla="*/ 216 h 706"/>
                <a:gd name="T100" fmla="*/ 3779 w 4194"/>
                <a:gd name="T101" fmla="*/ 195 h 706"/>
                <a:gd name="T102" fmla="*/ 3838 w 4194"/>
                <a:gd name="T103" fmla="*/ 147 h 706"/>
                <a:gd name="T104" fmla="*/ 3892 w 4194"/>
                <a:gd name="T105" fmla="*/ 150 h 706"/>
                <a:gd name="T106" fmla="*/ 3993 w 4194"/>
                <a:gd name="T107" fmla="*/ 82 h 706"/>
                <a:gd name="T108" fmla="*/ 4033 w 4194"/>
                <a:gd name="T109" fmla="*/ 91 h 706"/>
                <a:gd name="T110" fmla="*/ 139 w 4194"/>
                <a:gd name="T111" fmla="*/ 706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94" h="706">
                  <a:moveTo>
                    <a:pt x="120" y="620"/>
                  </a:moveTo>
                  <a:lnTo>
                    <a:pt x="144" y="621"/>
                  </a:lnTo>
                  <a:lnTo>
                    <a:pt x="142" y="645"/>
                  </a:lnTo>
                  <a:lnTo>
                    <a:pt x="119" y="644"/>
                  </a:lnTo>
                  <a:lnTo>
                    <a:pt x="120" y="620"/>
                  </a:lnTo>
                  <a:close/>
                  <a:moveTo>
                    <a:pt x="167" y="623"/>
                  </a:moveTo>
                  <a:lnTo>
                    <a:pt x="192" y="624"/>
                  </a:lnTo>
                  <a:lnTo>
                    <a:pt x="190" y="648"/>
                  </a:lnTo>
                  <a:lnTo>
                    <a:pt x="166" y="646"/>
                  </a:lnTo>
                  <a:lnTo>
                    <a:pt x="167" y="623"/>
                  </a:lnTo>
                  <a:close/>
                  <a:moveTo>
                    <a:pt x="215" y="626"/>
                  </a:moveTo>
                  <a:lnTo>
                    <a:pt x="240" y="627"/>
                  </a:lnTo>
                  <a:lnTo>
                    <a:pt x="237" y="652"/>
                  </a:lnTo>
                  <a:lnTo>
                    <a:pt x="214" y="649"/>
                  </a:lnTo>
                  <a:lnTo>
                    <a:pt x="215" y="626"/>
                  </a:lnTo>
                  <a:close/>
                  <a:moveTo>
                    <a:pt x="263" y="628"/>
                  </a:moveTo>
                  <a:lnTo>
                    <a:pt x="287" y="630"/>
                  </a:lnTo>
                  <a:lnTo>
                    <a:pt x="286" y="654"/>
                  </a:lnTo>
                  <a:lnTo>
                    <a:pt x="262" y="653"/>
                  </a:lnTo>
                  <a:lnTo>
                    <a:pt x="263" y="628"/>
                  </a:lnTo>
                  <a:close/>
                  <a:moveTo>
                    <a:pt x="311" y="631"/>
                  </a:moveTo>
                  <a:lnTo>
                    <a:pt x="335" y="634"/>
                  </a:lnTo>
                  <a:lnTo>
                    <a:pt x="334" y="657"/>
                  </a:lnTo>
                  <a:lnTo>
                    <a:pt x="310" y="656"/>
                  </a:lnTo>
                  <a:lnTo>
                    <a:pt x="311" y="631"/>
                  </a:lnTo>
                  <a:close/>
                  <a:moveTo>
                    <a:pt x="360" y="635"/>
                  </a:moveTo>
                  <a:lnTo>
                    <a:pt x="383" y="636"/>
                  </a:lnTo>
                  <a:lnTo>
                    <a:pt x="382" y="660"/>
                  </a:lnTo>
                  <a:lnTo>
                    <a:pt x="357" y="659"/>
                  </a:lnTo>
                  <a:lnTo>
                    <a:pt x="360" y="635"/>
                  </a:lnTo>
                  <a:close/>
                  <a:moveTo>
                    <a:pt x="407" y="638"/>
                  </a:moveTo>
                  <a:lnTo>
                    <a:pt x="408" y="638"/>
                  </a:lnTo>
                  <a:lnTo>
                    <a:pt x="431" y="639"/>
                  </a:lnTo>
                  <a:lnTo>
                    <a:pt x="430" y="663"/>
                  </a:lnTo>
                  <a:lnTo>
                    <a:pt x="406" y="661"/>
                  </a:lnTo>
                  <a:lnTo>
                    <a:pt x="405" y="661"/>
                  </a:lnTo>
                  <a:lnTo>
                    <a:pt x="407" y="638"/>
                  </a:lnTo>
                  <a:close/>
                  <a:moveTo>
                    <a:pt x="455" y="640"/>
                  </a:moveTo>
                  <a:lnTo>
                    <a:pt x="479" y="641"/>
                  </a:lnTo>
                  <a:lnTo>
                    <a:pt x="477" y="665"/>
                  </a:lnTo>
                  <a:lnTo>
                    <a:pt x="454" y="664"/>
                  </a:lnTo>
                  <a:lnTo>
                    <a:pt x="455" y="640"/>
                  </a:lnTo>
                  <a:close/>
                  <a:moveTo>
                    <a:pt x="503" y="643"/>
                  </a:moveTo>
                  <a:lnTo>
                    <a:pt x="526" y="644"/>
                  </a:lnTo>
                  <a:lnTo>
                    <a:pt x="525" y="668"/>
                  </a:lnTo>
                  <a:lnTo>
                    <a:pt x="502" y="666"/>
                  </a:lnTo>
                  <a:lnTo>
                    <a:pt x="503" y="643"/>
                  </a:lnTo>
                  <a:close/>
                  <a:moveTo>
                    <a:pt x="551" y="645"/>
                  </a:moveTo>
                  <a:lnTo>
                    <a:pt x="575" y="646"/>
                  </a:lnTo>
                  <a:lnTo>
                    <a:pt x="573" y="671"/>
                  </a:lnTo>
                  <a:lnTo>
                    <a:pt x="550" y="669"/>
                  </a:lnTo>
                  <a:lnTo>
                    <a:pt x="551" y="645"/>
                  </a:lnTo>
                  <a:close/>
                  <a:moveTo>
                    <a:pt x="599" y="647"/>
                  </a:moveTo>
                  <a:lnTo>
                    <a:pt x="623" y="648"/>
                  </a:lnTo>
                  <a:lnTo>
                    <a:pt x="621" y="673"/>
                  </a:lnTo>
                  <a:lnTo>
                    <a:pt x="597" y="672"/>
                  </a:lnTo>
                  <a:lnTo>
                    <a:pt x="599" y="647"/>
                  </a:lnTo>
                  <a:close/>
                  <a:moveTo>
                    <a:pt x="646" y="649"/>
                  </a:moveTo>
                  <a:lnTo>
                    <a:pt x="671" y="651"/>
                  </a:lnTo>
                  <a:lnTo>
                    <a:pt x="670" y="675"/>
                  </a:lnTo>
                  <a:lnTo>
                    <a:pt x="645" y="674"/>
                  </a:lnTo>
                  <a:lnTo>
                    <a:pt x="646" y="649"/>
                  </a:lnTo>
                  <a:close/>
                  <a:moveTo>
                    <a:pt x="694" y="652"/>
                  </a:moveTo>
                  <a:lnTo>
                    <a:pt x="719" y="653"/>
                  </a:lnTo>
                  <a:lnTo>
                    <a:pt x="717" y="677"/>
                  </a:lnTo>
                  <a:lnTo>
                    <a:pt x="693" y="676"/>
                  </a:lnTo>
                  <a:lnTo>
                    <a:pt x="694" y="652"/>
                  </a:lnTo>
                  <a:close/>
                  <a:moveTo>
                    <a:pt x="742" y="654"/>
                  </a:moveTo>
                  <a:lnTo>
                    <a:pt x="766" y="655"/>
                  </a:lnTo>
                  <a:lnTo>
                    <a:pt x="765" y="678"/>
                  </a:lnTo>
                  <a:lnTo>
                    <a:pt x="742" y="678"/>
                  </a:lnTo>
                  <a:lnTo>
                    <a:pt x="742" y="654"/>
                  </a:lnTo>
                  <a:close/>
                  <a:moveTo>
                    <a:pt x="791" y="656"/>
                  </a:moveTo>
                  <a:lnTo>
                    <a:pt x="814" y="656"/>
                  </a:lnTo>
                  <a:lnTo>
                    <a:pt x="813" y="680"/>
                  </a:lnTo>
                  <a:lnTo>
                    <a:pt x="790" y="679"/>
                  </a:lnTo>
                  <a:lnTo>
                    <a:pt x="791" y="656"/>
                  </a:lnTo>
                  <a:close/>
                  <a:moveTo>
                    <a:pt x="839" y="657"/>
                  </a:moveTo>
                  <a:lnTo>
                    <a:pt x="847" y="658"/>
                  </a:lnTo>
                  <a:lnTo>
                    <a:pt x="862" y="658"/>
                  </a:lnTo>
                  <a:lnTo>
                    <a:pt x="862" y="682"/>
                  </a:lnTo>
                  <a:lnTo>
                    <a:pt x="846" y="681"/>
                  </a:lnTo>
                  <a:lnTo>
                    <a:pt x="837" y="681"/>
                  </a:lnTo>
                  <a:lnTo>
                    <a:pt x="839" y="657"/>
                  </a:lnTo>
                  <a:close/>
                  <a:moveTo>
                    <a:pt x="886" y="658"/>
                  </a:moveTo>
                  <a:lnTo>
                    <a:pt x="910" y="659"/>
                  </a:lnTo>
                  <a:lnTo>
                    <a:pt x="910" y="682"/>
                  </a:lnTo>
                  <a:lnTo>
                    <a:pt x="885" y="682"/>
                  </a:lnTo>
                  <a:lnTo>
                    <a:pt x="886" y="658"/>
                  </a:lnTo>
                  <a:close/>
                  <a:moveTo>
                    <a:pt x="934" y="659"/>
                  </a:moveTo>
                  <a:lnTo>
                    <a:pt x="957" y="660"/>
                  </a:lnTo>
                  <a:lnTo>
                    <a:pt x="957" y="683"/>
                  </a:lnTo>
                  <a:lnTo>
                    <a:pt x="933" y="683"/>
                  </a:lnTo>
                  <a:lnTo>
                    <a:pt x="934" y="659"/>
                  </a:lnTo>
                  <a:close/>
                  <a:moveTo>
                    <a:pt x="982" y="660"/>
                  </a:moveTo>
                  <a:lnTo>
                    <a:pt x="1006" y="661"/>
                  </a:lnTo>
                  <a:lnTo>
                    <a:pt x="1005" y="685"/>
                  </a:lnTo>
                  <a:lnTo>
                    <a:pt x="982" y="685"/>
                  </a:lnTo>
                  <a:lnTo>
                    <a:pt x="982" y="660"/>
                  </a:lnTo>
                  <a:close/>
                  <a:moveTo>
                    <a:pt x="1030" y="661"/>
                  </a:moveTo>
                  <a:lnTo>
                    <a:pt x="1054" y="661"/>
                  </a:lnTo>
                  <a:lnTo>
                    <a:pt x="1053" y="686"/>
                  </a:lnTo>
                  <a:lnTo>
                    <a:pt x="1030" y="686"/>
                  </a:lnTo>
                  <a:lnTo>
                    <a:pt x="1030" y="661"/>
                  </a:lnTo>
                  <a:close/>
                  <a:moveTo>
                    <a:pt x="1077" y="662"/>
                  </a:moveTo>
                  <a:lnTo>
                    <a:pt x="1079" y="662"/>
                  </a:lnTo>
                  <a:lnTo>
                    <a:pt x="1102" y="662"/>
                  </a:lnTo>
                  <a:lnTo>
                    <a:pt x="1102" y="686"/>
                  </a:lnTo>
                  <a:lnTo>
                    <a:pt x="1079" y="686"/>
                  </a:lnTo>
                  <a:lnTo>
                    <a:pt x="1077" y="686"/>
                  </a:lnTo>
                  <a:lnTo>
                    <a:pt x="1077" y="662"/>
                  </a:lnTo>
                  <a:close/>
                  <a:moveTo>
                    <a:pt x="1125" y="661"/>
                  </a:moveTo>
                  <a:lnTo>
                    <a:pt x="1150" y="661"/>
                  </a:lnTo>
                  <a:lnTo>
                    <a:pt x="1150" y="686"/>
                  </a:lnTo>
                  <a:lnTo>
                    <a:pt x="1125" y="686"/>
                  </a:lnTo>
                  <a:lnTo>
                    <a:pt x="1125" y="661"/>
                  </a:lnTo>
                  <a:close/>
                  <a:moveTo>
                    <a:pt x="1173" y="661"/>
                  </a:moveTo>
                  <a:lnTo>
                    <a:pt x="1197" y="661"/>
                  </a:lnTo>
                  <a:lnTo>
                    <a:pt x="1197" y="686"/>
                  </a:lnTo>
                  <a:lnTo>
                    <a:pt x="1174" y="686"/>
                  </a:lnTo>
                  <a:lnTo>
                    <a:pt x="1173" y="661"/>
                  </a:lnTo>
                  <a:close/>
                  <a:moveTo>
                    <a:pt x="1222" y="661"/>
                  </a:moveTo>
                  <a:lnTo>
                    <a:pt x="1245" y="661"/>
                  </a:lnTo>
                  <a:lnTo>
                    <a:pt x="1245" y="685"/>
                  </a:lnTo>
                  <a:lnTo>
                    <a:pt x="1222" y="686"/>
                  </a:lnTo>
                  <a:lnTo>
                    <a:pt x="1222" y="661"/>
                  </a:lnTo>
                  <a:close/>
                  <a:moveTo>
                    <a:pt x="1270" y="661"/>
                  </a:moveTo>
                  <a:lnTo>
                    <a:pt x="1293" y="661"/>
                  </a:lnTo>
                  <a:lnTo>
                    <a:pt x="1294" y="685"/>
                  </a:lnTo>
                  <a:lnTo>
                    <a:pt x="1270" y="685"/>
                  </a:lnTo>
                  <a:lnTo>
                    <a:pt x="1270" y="661"/>
                  </a:lnTo>
                  <a:close/>
                  <a:moveTo>
                    <a:pt x="1318" y="661"/>
                  </a:moveTo>
                  <a:lnTo>
                    <a:pt x="1319" y="661"/>
                  </a:lnTo>
                  <a:lnTo>
                    <a:pt x="1341" y="660"/>
                  </a:lnTo>
                  <a:lnTo>
                    <a:pt x="1342" y="683"/>
                  </a:lnTo>
                  <a:lnTo>
                    <a:pt x="1319" y="685"/>
                  </a:lnTo>
                  <a:lnTo>
                    <a:pt x="1318" y="685"/>
                  </a:lnTo>
                  <a:lnTo>
                    <a:pt x="1318" y="661"/>
                  </a:lnTo>
                  <a:close/>
                  <a:moveTo>
                    <a:pt x="1365" y="659"/>
                  </a:moveTo>
                  <a:lnTo>
                    <a:pt x="1389" y="658"/>
                  </a:lnTo>
                  <a:lnTo>
                    <a:pt x="1390" y="682"/>
                  </a:lnTo>
                  <a:lnTo>
                    <a:pt x="1366" y="683"/>
                  </a:lnTo>
                  <a:lnTo>
                    <a:pt x="1365" y="659"/>
                  </a:lnTo>
                  <a:close/>
                  <a:moveTo>
                    <a:pt x="1413" y="657"/>
                  </a:moveTo>
                  <a:lnTo>
                    <a:pt x="1436" y="656"/>
                  </a:lnTo>
                  <a:lnTo>
                    <a:pt x="1438" y="680"/>
                  </a:lnTo>
                  <a:lnTo>
                    <a:pt x="1414" y="681"/>
                  </a:lnTo>
                  <a:lnTo>
                    <a:pt x="1413" y="657"/>
                  </a:lnTo>
                  <a:close/>
                  <a:moveTo>
                    <a:pt x="1461" y="656"/>
                  </a:moveTo>
                  <a:lnTo>
                    <a:pt x="1485" y="655"/>
                  </a:lnTo>
                  <a:lnTo>
                    <a:pt x="1486" y="678"/>
                  </a:lnTo>
                  <a:lnTo>
                    <a:pt x="1462" y="679"/>
                  </a:lnTo>
                  <a:lnTo>
                    <a:pt x="1461" y="656"/>
                  </a:lnTo>
                  <a:close/>
                  <a:moveTo>
                    <a:pt x="1509" y="654"/>
                  </a:moveTo>
                  <a:lnTo>
                    <a:pt x="1533" y="653"/>
                  </a:lnTo>
                  <a:lnTo>
                    <a:pt x="1534" y="677"/>
                  </a:lnTo>
                  <a:lnTo>
                    <a:pt x="1510" y="678"/>
                  </a:lnTo>
                  <a:lnTo>
                    <a:pt x="1509" y="654"/>
                  </a:lnTo>
                  <a:close/>
                  <a:moveTo>
                    <a:pt x="1556" y="652"/>
                  </a:moveTo>
                  <a:lnTo>
                    <a:pt x="1566" y="652"/>
                  </a:lnTo>
                  <a:lnTo>
                    <a:pt x="1581" y="651"/>
                  </a:lnTo>
                  <a:lnTo>
                    <a:pt x="1582" y="675"/>
                  </a:lnTo>
                  <a:lnTo>
                    <a:pt x="1567" y="676"/>
                  </a:lnTo>
                  <a:lnTo>
                    <a:pt x="1558" y="676"/>
                  </a:lnTo>
                  <a:lnTo>
                    <a:pt x="1556" y="652"/>
                  </a:lnTo>
                  <a:close/>
                  <a:moveTo>
                    <a:pt x="1604" y="649"/>
                  </a:moveTo>
                  <a:lnTo>
                    <a:pt x="1629" y="647"/>
                  </a:lnTo>
                  <a:lnTo>
                    <a:pt x="1630" y="672"/>
                  </a:lnTo>
                  <a:lnTo>
                    <a:pt x="1606" y="673"/>
                  </a:lnTo>
                  <a:lnTo>
                    <a:pt x="1604" y="649"/>
                  </a:lnTo>
                  <a:close/>
                  <a:moveTo>
                    <a:pt x="1652" y="646"/>
                  </a:moveTo>
                  <a:lnTo>
                    <a:pt x="1676" y="644"/>
                  </a:lnTo>
                  <a:lnTo>
                    <a:pt x="1678" y="669"/>
                  </a:lnTo>
                  <a:lnTo>
                    <a:pt x="1654" y="670"/>
                  </a:lnTo>
                  <a:lnTo>
                    <a:pt x="1652" y="646"/>
                  </a:lnTo>
                  <a:close/>
                  <a:moveTo>
                    <a:pt x="1700" y="642"/>
                  </a:moveTo>
                  <a:lnTo>
                    <a:pt x="1724" y="641"/>
                  </a:lnTo>
                  <a:lnTo>
                    <a:pt x="1726" y="664"/>
                  </a:lnTo>
                  <a:lnTo>
                    <a:pt x="1702" y="666"/>
                  </a:lnTo>
                  <a:lnTo>
                    <a:pt x="1700" y="642"/>
                  </a:lnTo>
                  <a:close/>
                  <a:moveTo>
                    <a:pt x="1748" y="639"/>
                  </a:moveTo>
                  <a:lnTo>
                    <a:pt x="1772" y="638"/>
                  </a:lnTo>
                  <a:lnTo>
                    <a:pt x="1773" y="661"/>
                  </a:lnTo>
                  <a:lnTo>
                    <a:pt x="1750" y="663"/>
                  </a:lnTo>
                  <a:lnTo>
                    <a:pt x="1748" y="639"/>
                  </a:lnTo>
                  <a:close/>
                  <a:moveTo>
                    <a:pt x="1795" y="636"/>
                  </a:moveTo>
                  <a:lnTo>
                    <a:pt x="1820" y="634"/>
                  </a:lnTo>
                  <a:lnTo>
                    <a:pt x="1822" y="658"/>
                  </a:lnTo>
                  <a:lnTo>
                    <a:pt x="1798" y="660"/>
                  </a:lnTo>
                  <a:lnTo>
                    <a:pt x="1795" y="636"/>
                  </a:lnTo>
                  <a:close/>
                  <a:moveTo>
                    <a:pt x="1843" y="631"/>
                  </a:moveTo>
                  <a:lnTo>
                    <a:pt x="1868" y="629"/>
                  </a:lnTo>
                  <a:lnTo>
                    <a:pt x="1870" y="654"/>
                  </a:lnTo>
                  <a:lnTo>
                    <a:pt x="1845" y="656"/>
                  </a:lnTo>
                  <a:lnTo>
                    <a:pt x="1843" y="631"/>
                  </a:lnTo>
                  <a:close/>
                  <a:moveTo>
                    <a:pt x="1891" y="627"/>
                  </a:moveTo>
                  <a:lnTo>
                    <a:pt x="1915" y="625"/>
                  </a:lnTo>
                  <a:lnTo>
                    <a:pt x="1918" y="648"/>
                  </a:lnTo>
                  <a:lnTo>
                    <a:pt x="1893" y="652"/>
                  </a:lnTo>
                  <a:lnTo>
                    <a:pt x="1891" y="627"/>
                  </a:lnTo>
                  <a:close/>
                  <a:moveTo>
                    <a:pt x="1939" y="623"/>
                  </a:moveTo>
                  <a:lnTo>
                    <a:pt x="1954" y="621"/>
                  </a:lnTo>
                  <a:lnTo>
                    <a:pt x="1963" y="621"/>
                  </a:lnTo>
                  <a:lnTo>
                    <a:pt x="1965" y="644"/>
                  </a:lnTo>
                  <a:lnTo>
                    <a:pt x="1956" y="645"/>
                  </a:lnTo>
                  <a:lnTo>
                    <a:pt x="1941" y="646"/>
                  </a:lnTo>
                  <a:lnTo>
                    <a:pt x="1939" y="623"/>
                  </a:lnTo>
                  <a:close/>
                  <a:moveTo>
                    <a:pt x="1987" y="618"/>
                  </a:moveTo>
                  <a:lnTo>
                    <a:pt x="2010" y="614"/>
                  </a:lnTo>
                  <a:lnTo>
                    <a:pt x="2013" y="639"/>
                  </a:lnTo>
                  <a:lnTo>
                    <a:pt x="1989" y="641"/>
                  </a:lnTo>
                  <a:lnTo>
                    <a:pt x="1987" y="618"/>
                  </a:lnTo>
                  <a:close/>
                  <a:moveTo>
                    <a:pt x="2034" y="612"/>
                  </a:moveTo>
                  <a:lnTo>
                    <a:pt x="2058" y="609"/>
                  </a:lnTo>
                  <a:lnTo>
                    <a:pt x="2061" y="634"/>
                  </a:lnTo>
                  <a:lnTo>
                    <a:pt x="2036" y="636"/>
                  </a:lnTo>
                  <a:lnTo>
                    <a:pt x="2034" y="612"/>
                  </a:lnTo>
                  <a:close/>
                  <a:moveTo>
                    <a:pt x="2082" y="607"/>
                  </a:moveTo>
                  <a:lnTo>
                    <a:pt x="2087" y="606"/>
                  </a:lnTo>
                  <a:lnTo>
                    <a:pt x="2106" y="604"/>
                  </a:lnTo>
                  <a:lnTo>
                    <a:pt x="2109" y="627"/>
                  </a:lnTo>
                  <a:lnTo>
                    <a:pt x="2090" y="630"/>
                  </a:lnTo>
                  <a:lnTo>
                    <a:pt x="2084" y="630"/>
                  </a:lnTo>
                  <a:lnTo>
                    <a:pt x="2082" y="607"/>
                  </a:lnTo>
                  <a:close/>
                  <a:moveTo>
                    <a:pt x="2129" y="601"/>
                  </a:moveTo>
                  <a:lnTo>
                    <a:pt x="2153" y="597"/>
                  </a:lnTo>
                  <a:lnTo>
                    <a:pt x="2156" y="621"/>
                  </a:lnTo>
                  <a:lnTo>
                    <a:pt x="2132" y="624"/>
                  </a:lnTo>
                  <a:lnTo>
                    <a:pt x="2129" y="601"/>
                  </a:lnTo>
                  <a:close/>
                  <a:moveTo>
                    <a:pt x="2177" y="594"/>
                  </a:moveTo>
                  <a:lnTo>
                    <a:pt x="2200" y="591"/>
                  </a:lnTo>
                  <a:lnTo>
                    <a:pt x="2203" y="614"/>
                  </a:lnTo>
                  <a:lnTo>
                    <a:pt x="2180" y="618"/>
                  </a:lnTo>
                  <a:lnTo>
                    <a:pt x="2177" y="594"/>
                  </a:lnTo>
                  <a:close/>
                  <a:moveTo>
                    <a:pt x="2224" y="588"/>
                  </a:moveTo>
                  <a:lnTo>
                    <a:pt x="2248" y="584"/>
                  </a:lnTo>
                  <a:lnTo>
                    <a:pt x="2251" y="608"/>
                  </a:lnTo>
                  <a:lnTo>
                    <a:pt x="2228" y="611"/>
                  </a:lnTo>
                  <a:lnTo>
                    <a:pt x="2224" y="588"/>
                  </a:lnTo>
                  <a:close/>
                  <a:moveTo>
                    <a:pt x="2271" y="580"/>
                  </a:moveTo>
                  <a:lnTo>
                    <a:pt x="2295" y="576"/>
                  </a:lnTo>
                  <a:lnTo>
                    <a:pt x="2299" y="601"/>
                  </a:lnTo>
                  <a:lnTo>
                    <a:pt x="2275" y="604"/>
                  </a:lnTo>
                  <a:lnTo>
                    <a:pt x="2271" y="580"/>
                  </a:lnTo>
                  <a:close/>
                  <a:moveTo>
                    <a:pt x="2319" y="573"/>
                  </a:moveTo>
                  <a:lnTo>
                    <a:pt x="2342" y="569"/>
                  </a:lnTo>
                  <a:lnTo>
                    <a:pt x="2347" y="593"/>
                  </a:lnTo>
                  <a:lnTo>
                    <a:pt x="2322" y="596"/>
                  </a:lnTo>
                  <a:lnTo>
                    <a:pt x="2319" y="573"/>
                  </a:lnTo>
                  <a:close/>
                  <a:moveTo>
                    <a:pt x="2366" y="566"/>
                  </a:moveTo>
                  <a:lnTo>
                    <a:pt x="2389" y="561"/>
                  </a:lnTo>
                  <a:lnTo>
                    <a:pt x="2394" y="585"/>
                  </a:lnTo>
                  <a:lnTo>
                    <a:pt x="2370" y="589"/>
                  </a:lnTo>
                  <a:lnTo>
                    <a:pt x="2366" y="566"/>
                  </a:lnTo>
                  <a:close/>
                  <a:moveTo>
                    <a:pt x="2413" y="557"/>
                  </a:moveTo>
                  <a:lnTo>
                    <a:pt x="2437" y="553"/>
                  </a:lnTo>
                  <a:lnTo>
                    <a:pt x="2441" y="576"/>
                  </a:lnTo>
                  <a:lnTo>
                    <a:pt x="2418" y="580"/>
                  </a:lnTo>
                  <a:lnTo>
                    <a:pt x="2413" y="557"/>
                  </a:lnTo>
                  <a:close/>
                  <a:moveTo>
                    <a:pt x="2460" y="549"/>
                  </a:moveTo>
                  <a:lnTo>
                    <a:pt x="2484" y="544"/>
                  </a:lnTo>
                  <a:lnTo>
                    <a:pt x="2489" y="568"/>
                  </a:lnTo>
                  <a:lnTo>
                    <a:pt x="2464" y="572"/>
                  </a:lnTo>
                  <a:lnTo>
                    <a:pt x="2460" y="549"/>
                  </a:lnTo>
                  <a:close/>
                  <a:moveTo>
                    <a:pt x="2507" y="540"/>
                  </a:moveTo>
                  <a:lnTo>
                    <a:pt x="2531" y="536"/>
                  </a:lnTo>
                  <a:lnTo>
                    <a:pt x="2536" y="559"/>
                  </a:lnTo>
                  <a:lnTo>
                    <a:pt x="2512" y="563"/>
                  </a:lnTo>
                  <a:lnTo>
                    <a:pt x="2507" y="540"/>
                  </a:lnTo>
                  <a:close/>
                  <a:moveTo>
                    <a:pt x="2555" y="531"/>
                  </a:moveTo>
                  <a:lnTo>
                    <a:pt x="2578" y="526"/>
                  </a:lnTo>
                  <a:lnTo>
                    <a:pt x="2582" y="550"/>
                  </a:lnTo>
                  <a:lnTo>
                    <a:pt x="2559" y="554"/>
                  </a:lnTo>
                  <a:lnTo>
                    <a:pt x="2555" y="531"/>
                  </a:lnTo>
                  <a:close/>
                  <a:moveTo>
                    <a:pt x="2601" y="521"/>
                  </a:moveTo>
                  <a:lnTo>
                    <a:pt x="2625" y="517"/>
                  </a:lnTo>
                  <a:lnTo>
                    <a:pt x="2630" y="540"/>
                  </a:lnTo>
                  <a:lnTo>
                    <a:pt x="2606" y="545"/>
                  </a:lnTo>
                  <a:lnTo>
                    <a:pt x="2601" y="521"/>
                  </a:lnTo>
                  <a:close/>
                  <a:moveTo>
                    <a:pt x="2648" y="511"/>
                  </a:moveTo>
                  <a:lnTo>
                    <a:pt x="2672" y="507"/>
                  </a:lnTo>
                  <a:lnTo>
                    <a:pt x="2677" y="531"/>
                  </a:lnTo>
                  <a:lnTo>
                    <a:pt x="2653" y="536"/>
                  </a:lnTo>
                  <a:lnTo>
                    <a:pt x="2648" y="511"/>
                  </a:lnTo>
                  <a:close/>
                  <a:moveTo>
                    <a:pt x="2695" y="502"/>
                  </a:moveTo>
                  <a:lnTo>
                    <a:pt x="2718" y="497"/>
                  </a:lnTo>
                  <a:lnTo>
                    <a:pt x="2724" y="520"/>
                  </a:lnTo>
                  <a:lnTo>
                    <a:pt x="2700" y="525"/>
                  </a:lnTo>
                  <a:lnTo>
                    <a:pt x="2695" y="502"/>
                  </a:lnTo>
                  <a:close/>
                  <a:moveTo>
                    <a:pt x="2742" y="491"/>
                  </a:moveTo>
                  <a:lnTo>
                    <a:pt x="2765" y="486"/>
                  </a:lnTo>
                  <a:lnTo>
                    <a:pt x="2770" y="509"/>
                  </a:lnTo>
                  <a:lnTo>
                    <a:pt x="2747" y="515"/>
                  </a:lnTo>
                  <a:lnTo>
                    <a:pt x="2742" y="491"/>
                  </a:lnTo>
                  <a:close/>
                  <a:moveTo>
                    <a:pt x="2788" y="481"/>
                  </a:moveTo>
                  <a:lnTo>
                    <a:pt x="2812" y="475"/>
                  </a:lnTo>
                  <a:lnTo>
                    <a:pt x="2817" y="499"/>
                  </a:lnTo>
                  <a:lnTo>
                    <a:pt x="2795" y="504"/>
                  </a:lnTo>
                  <a:lnTo>
                    <a:pt x="2788" y="481"/>
                  </a:lnTo>
                  <a:close/>
                  <a:moveTo>
                    <a:pt x="2835" y="469"/>
                  </a:moveTo>
                  <a:lnTo>
                    <a:pt x="2858" y="464"/>
                  </a:lnTo>
                  <a:lnTo>
                    <a:pt x="2865" y="487"/>
                  </a:lnTo>
                  <a:lnTo>
                    <a:pt x="2841" y="492"/>
                  </a:lnTo>
                  <a:lnTo>
                    <a:pt x="2835" y="469"/>
                  </a:lnTo>
                  <a:close/>
                  <a:moveTo>
                    <a:pt x="2882" y="458"/>
                  </a:moveTo>
                  <a:lnTo>
                    <a:pt x="2905" y="452"/>
                  </a:lnTo>
                  <a:lnTo>
                    <a:pt x="2911" y="475"/>
                  </a:lnTo>
                  <a:lnTo>
                    <a:pt x="2887" y="482"/>
                  </a:lnTo>
                  <a:lnTo>
                    <a:pt x="2882" y="458"/>
                  </a:lnTo>
                  <a:close/>
                  <a:moveTo>
                    <a:pt x="2929" y="447"/>
                  </a:moveTo>
                  <a:lnTo>
                    <a:pt x="2934" y="446"/>
                  </a:lnTo>
                  <a:lnTo>
                    <a:pt x="2952" y="440"/>
                  </a:lnTo>
                  <a:lnTo>
                    <a:pt x="2957" y="464"/>
                  </a:lnTo>
                  <a:lnTo>
                    <a:pt x="2940" y="469"/>
                  </a:lnTo>
                  <a:lnTo>
                    <a:pt x="2934" y="470"/>
                  </a:lnTo>
                  <a:lnTo>
                    <a:pt x="2929" y="447"/>
                  </a:lnTo>
                  <a:close/>
                  <a:moveTo>
                    <a:pt x="2974" y="434"/>
                  </a:moveTo>
                  <a:lnTo>
                    <a:pt x="2998" y="429"/>
                  </a:lnTo>
                  <a:lnTo>
                    <a:pt x="3004" y="451"/>
                  </a:lnTo>
                  <a:lnTo>
                    <a:pt x="2981" y="457"/>
                  </a:lnTo>
                  <a:lnTo>
                    <a:pt x="2974" y="434"/>
                  </a:lnTo>
                  <a:close/>
                  <a:moveTo>
                    <a:pt x="3021" y="422"/>
                  </a:moveTo>
                  <a:lnTo>
                    <a:pt x="3044" y="416"/>
                  </a:lnTo>
                  <a:lnTo>
                    <a:pt x="3051" y="439"/>
                  </a:lnTo>
                  <a:lnTo>
                    <a:pt x="3027" y="445"/>
                  </a:lnTo>
                  <a:lnTo>
                    <a:pt x="3021" y="422"/>
                  </a:lnTo>
                  <a:close/>
                  <a:moveTo>
                    <a:pt x="3068" y="409"/>
                  </a:moveTo>
                  <a:lnTo>
                    <a:pt x="3083" y="405"/>
                  </a:lnTo>
                  <a:lnTo>
                    <a:pt x="3090" y="403"/>
                  </a:lnTo>
                  <a:lnTo>
                    <a:pt x="3096" y="426"/>
                  </a:lnTo>
                  <a:lnTo>
                    <a:pt x="3089" y="429"/>
                  </a:lnTo>
                  <a:lnTo>
                    <a:pt x="3074" y="433"/>
                  </a:lnTo>
                  <a:lnTo>
                    <a:pt x="3068" y="409"/>
                  </a:lnTo>
                  <a:close/>
                  <a:moveTo>
                    <a:pt x="3113" y="397"/>
                  </a:moveTo>
                  <a:lnTo>
                    <a:pt x="3137" y="389"/>
                  </a:lnTo>
                  <a:lnTo>
                    <a:pt x="3143" y="413"/>
                  </a:lnTo>
                  <a:lnTo>
                    <a:pt x="3120" y="419"/>
                  </a:lnTo>
                  <a:lnTo>
                    <a:pt x="3113" y="397"/>
                  </a:lnTo>
                  <a:close/>
                  <a:moveTo>
                    <a:pt x="3159" y="383"/>
                  </a:moveTo>
                  <a:lnTo>
                    <a:pt x="3182" y="377"/>
                  </a:lnTo>
                  <a:lnTo>
                    <a:pt x="3189" y="399"/>
                  </a:lnTo>
                  <a:lnTo>
                    <a:pt x="3166" y="406"/>
                  </a:lnTo>
                  <a:lnTo>
                    <a:pt x="3159" y="383"/>
                  </a:lnTo>
                  <a:close/>
                  <a:moveTo>
                    <a:pt x="3206" y="369"/>
                  </a:moveTo>
                  <a:lnTo>
                    <a:pt x="3228" y="363"/>
                  </a:lnTo>
                  <a:lnTo>
                    <a:pt x="3235" y="386"/>
                  </a:lnTo>
                  <a:lnTo>
                    <a:pt x="3212" y="392"/>
                  </a:lnTo>
                  <a:lnTo>
                    <a:pt x="3206" y="369"/>
                  </a:lnTo>
                  <a:close/>
                  <a:moveTo>
                    <a:pt x="3251" y="355"/>
                  </a:moveTo>
                  <a:lnTo>
                    <a:pt x="3274" y="348"/>
                  </a:lnTo>
                  <a:lnTo>
                    <a:pt x="3281" y="371"/>
                  </a:lnTo>
                  <a:lnTo>
                    <a:pt x="3259" y="379"/>
                  </a:lnTo>
                  <a:lnTo>
                    <a:pt x="3251" y="355"/>
                  </a:lnTo>
                  <a:close/>
                  <a:moveTo>
                    <a:pt x="3297" y="342"/>
                  </a:moveTo>
                  <a:lnTo>
                    <a:pt x="3319" y="334"/>
                  </a:lnTo>
                  <a:lnTo>
                    <a:pt x="3327" y="356"/>
                  </a:lnTo>
                  <a:lnTo>
                    <a:pt x="3303" y="364"/>
                  </a:lnTo>
                  <a:lnTo>
                    <a:pt x="3297" y="342"/>
                  </a:lnTo>
                  <a:close/>
                  <a:moveTo>
                    <a:pt x="3343" y="327"/>
                  </a:moveTo>
                  <a:lnTo>
                    <a:pt x="3365" y="319"/>
                  </a:lnTo>
                  <a:lnTo>
                    <a:pt x="3372" y="342"/>
                  </a:lnTo>
                  <a:lnTo>
                    <a:pt x="3350" y="349"/>
                  </a:lnTo>
                  <a:lnTo>
                    <a:pt x="3343" y="327"/>
                  </a:lnTo>
                  <a:close/>
                  <a:moveTo>
                    <a:pt x="3388" y="312"/>
                  </a:moveTo>
                  <a:lnTo>
                    <a:pt x="3411" y="304"/>
                  </a:lnTo>
                  <a:lnTo>
                    <a:pt x="3418" y="327"/>
                  </a:lnTo>
                  <a:lnTo>
                    <a:pt x="3396" y="334"/>
                  </a:lnTo>
                  <a:lnTo>
                    <a:pt x="3388" y="312"/>
                  </a:lnTo>
                  <a:close/>
                  <a:moveTo>
                    <a:pt x="3433" y="297"/>
                  </a:moveTo>
                  <a:lnTo>
                    <a:pt x="3456" y="288"/>
                  </a:lnTo>
                  <a:lnTo>
                    <a:pt x="3464" y="312"/>
                  </a:lnTo>
                  <a:lnTo>
                    <a:pt x="3440" y="319"/>
                  </a:lnTo>
                  <a:lnTo>
                    <a:pt x="3433" y="297"/>
                  </a:lnTo>
                  <a:close/>
                  <a:moveTo>
                    <a:pt x="3479" y="281"/>
                  </a:moveTo>
                  <a:lnTo>
                    <a:pt x="3501" y="274"/>
                  </a:lnTo>
                  <a:lnTo>
                    <a:pt x="3509" y="296"/>
                  </a:lnTo>
                  <a:lnTo>
                    <a:pt x="3486" y="303"/>
                  </a:lnTo>
                  <a:lnTo>
                    <a:pt x="3479" y="281"/>
                  </a:lnTo>
                  <a:close/>
                  <a:moveTo>
                    <a:pt x="3524" y="265"/>
                  </a:moveTo>
                  <a:lnTo>
                    <a:pt x="3542" y="259"/>
                  </a:lnTo>
                  <a:lnTo>
                    <a:pt x="3547" y="258"/>
                  </a:lnTo>
                  <a:lnTo>
                    <a:pt x="3555" y="280"/>
                  </a:lnTo>
                  <a:lnTo>
                    <a:pt x="3551" y="282"/>
                  </a:lnTo>
                  <a:lnTo>
                    <a:pt x="3532" y="288"/>
                  </a:lnTo>
                  <a:lnTo>
                    <a:pt x="3524" y="265"/>
                  </a:lnTo>
                  <a:close/>
                  <a:moveTo>
                    <a:pt x="3569" y="249"/>
                  </a:moveTo>
                  <a:lnTo>
                    <a:pt x="3591" y="241"/>
                  </a:lnTo>
                  <a:lnTo>
                    <a:pt x="3600" y="263"/>
                  </a:lnTo>
                  <a:lnTo>
                    <a:pt x="3577" y="271"/>
                  </a:lnTo>
                  <a:lnTo>
                    <a:pt x="3569" y="249"/>
                  </a:lnTo>
                  <a:close/>
                  <a:moveTo>
                    <a:pt x="3614" y="232"/>
                  </a:moveTo>
                  <a:lnTo>
                    <a:pt x="3637" y="225"/>
                  </a:lnTo>
                  <a:lnTo>
                    <a:pt x="3645" y="247"/>
                  </a:lnTo>
                  <a:lnTo>
                    <a:pt x="3622" y="255"/>
                  </a:lnTo>
                  <a:lnTo>
                    <a:pt x="3614" y="232"/>
                  </a:lnTo>
                  <a:close/>
                  <a:moveTo>
                    <a:pt x="3659" y="216"/>
                  </a:moveTo>
                  <a:lnTo>
                    <a:pt x="3682" y="208"/>
                  </a:lnTo>
                  <a:lnTo>
                    <a:pt x="3690" y="230"/>
                  </a:lnTo>
                  <a:lnTo>
                    <a:pt x="3668" y="238"/>
                  </a:lnTo>
                  <a:lnTo>
                    <a:pt x="3659" y="216"/>
                  </a:lnTo>
                  <a:close/>
                  <a:moveTo>
                    <a:pt x="3704" y="199"/>
                  </a:moveTo>
                  <a:lnTo>
                    <a:pt x="3726" y="191"/>
                  </a:lnTo>
                  <a:lnTo>
                    <a:pt x="3735" y="213"/>
                  </a:lnTo>
                  <a:lnTo>
                    <a:pt x="3712" y="222"/>
                  </a:lnTo>
                  <a:lnTo>
                    <a:pt x="3704" y="199"/>
                  </a:lnTo>
                  <a:close/>
                  <a:moveTo>
                    <a:pt x="3748" y="182"/>
                  </a:moveTo>
                  <a:lnTo>
                    <a:pt x="3771" y="173"/>
                  </a:lnTo>
                  <a:lnTo>
                    <a:pt x="3779" y="195"/>
                  </a:lnTo>
                  <a:lnTo>
                    <a:pt x="3757" y="205"/>
                  </a:lnTo>
                  <a:lnTo>
                    <a:pt x="3748" y="182"/>
                  </a:lnTo>
                  <a:close/>
                  <a:moveTo>
                    <a:pt x="3793" y="164"/>
                  </a:moveTo>
                  <a:lnTo>
                    <a:pt x="3815" y="156"/>
                  </a:lnTo>
                  <a:lnTo>
                    <a:pt x="3824" y="178"/>
                  </a:lnTo>
                  <a:lnTo>
                    <a:pt x="3802" y="186"/>
                  </a:lnTo>
                  <a:lnTo>
                    <a:pt x="3793" y="164"/>
                  </a:lnTo>
                  <a:close/>
                  <a:moveTo>
                    <a:pt x="3838" y="147"/>
                  </a:moveTo>
                  <a:lnTo>
                    <a:pt x="3860" y="138"/>
                  </a:lnTo>
                  <a:lnTo>
                    <a:pt x="3868" y="160"/>
                  </a:lnTo>
                  <a:lnTo>
                    <a:pt x="3846" y="169"/>
                  </a:lnTo>
                  <a:lnTo>
                    <a:pt x="3838" y="147"/>
                  </a:lnTo>
                  <a:close/>
                  <a:moveTo>
                    <a:pt x="3882" y="129"/>
                  </a:moveTo>
                  <a:lnTo>
                    <a:pt x="3905" y="120"/>
                  </a:lnTo>
                  <a:lnTo>
                    <a:pt x="3913" y="142"/>
                  </a:lnTo>
                  <a:lnTo>
                    <a:pt x="3892" y="150"/>
                  </a:lnTo>
                  <a:lnTo>
                    <a:pt x="3882" y="129"/>
                  </a:lnTo>
                  <a:close/>
                  <a:moveTo>
                    <a:pt x="3926" y="110"/>
                  </a:moveTo>
                  <a:lnTo>
                    <a:pt x="3948" y="100"/>
                  </a:lnTo>
                  <a:lnTo>
                    <a:pt x="3958" y="123"/>
                  </a:lnTo>
                  <a:lnTo>
                    <a:pt x="3935" y="132"/>
                  </a:lnTo>
                  <a:lnTo>
                    <a:pt x="3926" y="110"/>
                  </a:lnTo>
                  <a:close/>
                  <a:moveTo>
                    <a:pt x="3970" y="92"/>
                  </a:moveTo>
                  <a:lnTo>
                    <a:pt x="3993" y="82"/>
                  </a:lnTo>
                  <a:lnTo>
                    <a:pt x="4002" y="105"/>
                  </a:lnTo>
                  <a:lnTo>
                    <a:pt x="3980" y="113"/>
                  </a:lnTo>
                  <a:lnTo>
                    <a:pt x="3970" y="92"/>
                  </a:lnTo>
                  <a:close/>
                  <a:moveTo>
                    <a:pt x="4015" y="73"/>
                  </a:moveTo>
                  <a:lnTo>
                    <a:pt x="4023" y="69"/>
                  </a:lnTo>
                  <a:lnTo>
                    <a:pt x="4036" y="63"/>
                  </a:lnTo>
                  <a:lnTo>
                    <a:pt x="4046" y="86"/>
                  </a:lnTo>
                  <a:lnTo>
                    <a:pt x="4033" y="91"/>
                  </a:lnTo>
                  <a:lnTo>
                    <a:pt x="4023" y="95"/>
                  </a:lnTo>
                  <a:lnTo>
                    <a:pt x="4015" y="73"/>
                  </a:lnTo>
                  <a:close/>
                  <a:moveTo>
                    <a:pt x="4059" y="54"/>
                  </a:moveTo>
                  <a:lnTo>
                    <a:pt x="4080" y="44"/>
                  </a:lnTo>
                  <a:lnTo>
                    <a:pt x="4089" y="65"/>
                  </a:lnTo>
                  <a:lnTo>
                    <a:pt x="4068" y="75"/>
                  </a:lnTo>
                  <a:lnTo>
                    <a:pt x="4059" y="54"/>
                  </a:lnTo>
                  <a:close/>
                  <a:moveTo>
                    <a:pt x="139" y="706"/>
                  </a:moveTo>
                  <a:lnTo>
                    <a:pt x="0" y="624"/>
                  </a:lnTo>
                  <a:lnTo>
                    <a:pt x="147" y="561"/>
                  </a:lnTo>
                  <a:lnTo>
                    <a:pt x="139" y="706"/>
                  </a:lnTo>
                  <a:close/>
                  <a:moveTo>
                    <a:pt x="4033" y="0"/>
                  </a:moveTo>
                  <a:lnTo>
                    <a:pt x="4194" y="6"/>
                  </a:lnTo>
                  <a:lnTo>
                    <a:pt x="4093" y="130"/>
                  </a:lnTo>
                  <a:lnTo>
                    <a:pt x="4033" y="0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1" name="Freeform 34"/>
            <p:cNvSpPr>
              <a:spLocks noEditPoints="1"/>
            </p:cNvSpPr>
            <p:nvPr/>
          </p:nvSpPr>
          <p:spPr bwMode="auto">
            <a:xfrm>
              <a:off x="5005865" y="2382189"/>
              <a:ext cx="844550" cy="679450"/>
            </a:xfrm>
            <a:custGeom>
              <a:avLst/>
              <a:gdLst>
                <a:gd name="T0" fmla="*/ 95 w 1596"/>
                <a:gd name="T1" fmla="*/ 73 h 1286"/>
                <a:gd name="T2" fmla="*/ 156 w 1596"/>
                <a:gd name="T3" fmla="*/ 111 h 1286"/>
                <a:gd name="T4" fmla="*/ 197 w 1596"/>
                <a:gd name="T5" fmla="*/ 110 h 1286"/>
                <a:gd name="T6" fmla="*/ 176 w 1596"/>
                <a:gd name="T7" fmla="*/ 125 h 1286"/>
                <a:gd name="T8" fmla="*/ 235 w 1596"/>
                <a:gd name="T9" fmla="*/ 164 h 1286"/>
                <a:gd name="T10" fmla="*/ 289 w 1596"/>
                <a:gd name="T11" fmla="*/ 173 h 1286"/>
                <a:gd name="T12" fmla="*/ 309 w 1596"/>
                <a:gd name="T13" fmla="*/ 187 h 1286"/>
                <a:gd name="T14" fmla="*/ 309 w 1596"/>
                <a:gd name="T15" fmla="*/ 187 h 1286"/>
                <a:gd name="T16" fmla="*/ 352 w 1596"/>
                <a:gd name="T17" fmla="*/ 248 h 1286"/>
                <a:gd name="T18" fmla="*/ 386 w 1596"/>
                <a:gd name="T19" fmla="*/ 243 h 1286"/>
                <a:gd name="T20" fmla="*/ 386 w 1596"/>
                <a:gd name="T21" fmla="*/ 243 h 1286"/>
                <a:gd name="T22" fmla="*/ 411 w 1596"/>
                <a:gd name="T23" fmla="*/ 291 h 1286"/>
                <a:gd name="T24" fmla="*/ 467 w 1596"/>
                <a:gd name="T25" fmla="*/ 334 h 1286"/>
                <a:gd name="T26" fmla="*/ 519 w 1596"/>
                <a:gd name="T27" fmla="*/ 346 h 1286"/>
                <a:gd name="T28" fmla="*/ 538 w 1596"/>
                <a:gd name="T29" fmla="*/ 361 h 1286"/>
                <a:gd name="T30" fmla="*/ 525 w 1596"/>
                <a:gd name="T31" fmla="*/ 382 h 1286"/>
                <a:gd name="T32" fmla="*/ 582 w 1596"/>
                <a:gd name="T33" fmla="*/ 398 h 1286"/>
                <a:gd name="T34" fmla="*/ 559 w 1596"/>
                <a:gd name="T35" fmla="*/ 411 h 1286"/>
                <a:gd name="T36" fmla="*/ 629 w 1596"/>
                <a:gd name="T37" fmla="*/ 439 h 1286"/>
                <a:gd name="T38" fmla="*/ 611 w 1596"/>
                <a:gd name="T39" fmla="*/ 423 h 1286"/>
                <a:gd name="T40" fmla="*/ 632 w 1596"/>
                <a:gd name="T41" fmla="*/ 473 h 1286"/>
                <a:gd name="T42" fmla="*/ 702 w 1596"/>
                <a:gd name="T43" fmla="*/ 503 h 1286"/>
                <a:gd name="T44" fmla="*/ 684 w 1596"/>
                <a:gd name="T45" fmla="*/ 487 h 1286"/>
                <a:gd name="T46" fmla="*/ 704 w 1596"/>
                <a:gd name="T47" fmla="*/ 537 h 1286"/>
                <a:gd name="T48" fmla="*/ 757 w 1596"/>
                <a:gd name="T49" fmla="*/ 585 h 1286"/>
                <a:gd name="T50" fmla="*/ 808 w 1596"/>
                <a:gd name="T51" fmla="*/ 600 h 1286"/>
                <a:gd name="T52" fmla="*/ 826 w 1596"/>
                <a:gd name="T53" fmla="*/ 617 h 1286"/>
                <a:gd name="T54" fmla="*/ 826 w 1596"/>
                <a:gd name="T55" fmla="*/ 617 h 1286"/>
                <a:gd name="T56" fmla="*/ 844 w 1596"/>
                <a:gd name="T57" fmla="*/ 667 h 1286"/>
                <a:gd name="T58" fmla="*/ 897 w 1596"/>
                <a:gd name="T59" fmla="*/ 715 h 1286"/>
                <a:gd name="T60" fmla="*/ 935 w 1596"/>
                <a:gd name="T61" fmla="*/ 719 h 1286"/>
                <a:gd name="T62" fmla="*/ 915 w 1596"/>
                <a:gd name="T63" fmla="*/ 732 h 1286"/>
                <a:gd name="T64" fmla="*/ 984 w 1596"/>
                <a:gd name="T65" fmla="*/ 763 h 1286"/>
                <a:gd name="T66" fmla="*/ 966 w 1596"/>
                <a:gd name="T67" fmla="*/ 747 h 1286"/>
                <a:gd name="T68" fmla="*/ 985 w 1596"/>
                <a:gd name="T69" fmla="*/ 797 h 1286"/>
                <a:gd name="T70" fmla="*/ 1039 w 1596"/>
                <a:gd name="T71" fmla="*/ 845 h 1286"/>
                <a:gd name="T72" fmla="*/ 1091 w 1596"/>
                <a:gd name="T73" fmla="*/ 859 h 1286"/>
                <a:gd name="T74" fmla="*/ 1109 w 1596"/>
                <a:gd name="T75" fmla="*/ 875 h 1286"/>
                <a:gd name="T76" fmla="*/ 1098 w 1596"/>
                <a:gd name="T77" fmla="*/ 898 h 1286"/>
                <a:gd name="T78" fmla="*/ 1164 w 1596"/>
                <a:gd name="T79" fmla="*/ 922 h 1286"/>
                <a:gd name="T80" fmla="*/ 1182 w 1596"/>
                <a:gd name="T81" fmla="*/ 937 h 1286"/>
                <a:gd name="T82" fmla="*/ 1182 w 1596"/>
                <a:gd name="T83" fmla="*/ 937 h 1286"/>
                <a:gd name="T84" fmla="*/ 1202 w 1596"/>
                <a:gd name="T85" fmla="*/ 987 h 1286"/>
                <a:gd name="T86" fmla="*/ 1273 w 1596"/>
                <a:gd name="T87" fmla="*/ 1015 h 1286"/>
                <a:gd name="T88" fmla="*/ 1254 w 1596"/>
                <a:gd name="T89" fmla="*/ 1000 h 1286"/>
                <a:gd name="T90" fmla="*/ 1276 w 1596"/>
                <a:gd name="T91" fmla="*/ 1049 h 1286"/>
                <a:gd name="T92" fmla="*/ 1347 w 1596"/>
                <a:gd name="T93" fmla="*/ 1075 h 1286"/>
                <a:gd name="T94" fmla="*/ 1328 w 1596"/>
                <a:gd name="T95" fmla="*/ 1060 h 1286"/>
                <a:gd name="T96" fmla="*/ 1351 w 1596"/>
                <a:gd name="T97" fmla="*/ 1109 h 1286"/>
                <a:gd name="T98" fmla="*/ 1407 w 1596"/>
                <a:gd name="T99" fmla="*/ 1155 h 1286"/>
                <a:gd name="T100" fmla="*/ 1459 w 1596"/>
                <a:gd name="T101" fmla="*/ 1166 h 1286"/>
                <a:gd name="T102" fmla="*/ 1478 w 1596"/>
                <a:gd name="T103" fmla="*/ 1180 h 1286"/>
                <a:gd name="T104" fmla="*/ 1478 w 1596"/>
                <a:gd name="T105" fmla="*/ 1180 h 1286"/>
                <a:gd name="T106" fmla="*/ 85 w 1596"/>
                <a:gd name="T107" fmla="*/ 137 h 1286"/>
                <a:gd name="T108" fmla="*/ 1526 w 1596"/>
                <a:gd name="T109" fmla="*/ 1141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96" h="1286">
                  <a:moveTo>
                    <a:pt x="108" y="53"/>
                  </a:moveTo>
                  <a:lnTo>
                    <a:pt x="128" y="65"/>
                  </a:lnTo>
                  <a:lnTo>
                    <a:pt x="115" y="86"/>
                  </a:lnTo>
                  <a:lnTo>
                    <a:pt x="95" y="73"/>
                  </a:lnTo>
                  <a:lnTo>
                    <a:pt x="108" y="53"/>
                  </a:lnTo>
                  <a:close/>
                  <a:moveTo>
                    <a:pt x="149" y="78"/>
                  </a:moveTo>
                  <a:lnTo>
                    <a:pt x="170" y="92"/>
                  </a:lnTo>
                  <a:lnTo>
                    <a:pt x="156" y="111"/>
                  </a:lnTo>
                  <a:lnTo>
                    <a:pt x="136" y="98"/>
                  </a:lnTo>
                  <a:lnTo>
                    <a:pt x="149" y="78"/>
                  </a:lnTo>
                  <a:close/>
                  <a:moveTo>
                    <a:pt x="189" y="105"/>
                  </a:moveTo>
                  <a:lnTo>
                    <a:pt x="197" y="110"/>
                  </a:lnTo>
                  <a:lnTo>
                    <a:pt x="209" y="119"/>
                  </a:lnTo>
                  <a:lnTo>
                    <a:pt x="196" y="138"/>
                  </a:lnTo>
                  <a:lnTo>
                    <a:pt x="183" y="130"/>
                  </a:lnTo>
                  <a:lnTo>
                    <a:pt x="176" y="125"/>
                  </a:lnTo>
                  <a:lnTo>
                    <a:pt x="189" y="105"/>
                  </a:lnTo>
                  <a:close/>
                  <a:moveTo>
                    <a:pt x="229" y="131"/>
                  </a:moveTo>
                  <a:lnTo>
                    <a:pt x="249" y="145"/>
                  </a:lnTo>
                  <a:lnTo>
                    <a:pt x="235" y="164"/>
                  </a:lnTo>
                  <a:lnTo>
                    <a:pt x="216" y="151"/>
                  </a:lnTo>
                  <a:lnTo>
                    <a:pt x="229" y="131"/>
                  </a:lnTo>
                  <a:close/>
                  <a:moveTo>
                    <a:pt x="269" y="159"/>
                  </a:moveTo>
                  <a:lnTo>
                    <a:pt x="289" y="173"/>
                  </a:lnTo>
                  <a:lnTo>
                    <a:pt x="275" y="192"/>
                  </a:lnTo>
                  <a:lnTo>
                    <a:pt x="256" y="178"/>
                  </a:lnTo>
                  <a:lnTo>
                    <a:pt x="269" y="159"/>
                  </a:lnTo>
                  <a:close/>
                  <a:moveTo>
                    <a:pt x="309" y="187"/>
                  </a:moveTo>
                  <a:lnTo>
                    <a:pt x="328" y="200"/>
                  </a:lnTo>
                  <a:lnTo>
                    <a:pt x="314" y="219"/>
                  </a:lnTo>
                  <a:lnTo>
                    <a:pt x="295" y="206"/>
                  </a:lnTo>
                  <a:lnTo>
                    <a:pt x="309" y="187"/>
                  </a:lnTo>
                  <a:close/>
                  <a:moveTo>
                    <a:pt x="348" y="214"/>
                  </a:moveTo>
                  <a:lnTo>
                    <a:pt x="359" y="222"/>
                  </a:lnTo>
                  <a:lnTo>
                    <a:pt x="367" y="228"/>
                  </a:lnTo>
                  <a:lnTo>
                    <a:pt x="352" y="248"/>
                  </a:lnTo>
                  <a:lnTo>
                    <a:pt x="345" y="242"/>
                  </a:lnTo>
                  <a:lnTo>
                    <a:pt x="333" y="233"/>
                  </a:lnTo>
                  <a:lnTo>
                    <a:pt x="348" y="214"/>
                  </a:lnTo>
                  <a:close/>
                  <a:moveTo>
                    <a:pt x="386" y="243"/>
                  </a:moveTo>
                  <a:lnTo>
                    <a:pt x="405" y="257"/>
                  </a:lnTo>
                  <a:lnTo>
                    <a:pt x="392" y="276"/>
                  </a:lnTo>
                  <a:lnTo>
                    <a:pt x="372" y="262"/>
                  </a:lnTo>
                  <a:lnTo>
                    <a:pt x="386" y="243"/>
                  </a:lnTo>
                  <a:close/>
                  <a:moveTo>
                    <a:pt x="424" y="271"/>
                  </a:moveTo>
                  <a:lnTo>
                    <a:pt x="444" y="286"/>
                  </a:lnTo>
                  <a:lnTo>
                    <a:pt x="430" y="305"/>
                  </a:lnTo>
                  <a:lnTo>
                    <a:pt x="411" y="291"/>
                  </a:lnTo>
                  <a:lnTo>
                    <a:pt x="424" y="271"/>
                  </a:lnTo>
                  <a:close/>
                  <a:moveTo>
                    <a:pt x="463" y="301"/>
                  </a:moveTo>
                  <a:lnTo>
                    <a:pt x="482" y="316"/>
                  </a:lnTo>
                  <a:lnTo>
                    <a:pt x="467" y="334"/>
                  </a:lnTo>
                  <a:lnTo>
                    <a:pt x="448" y="319"/>
                  </a:lnTo>
                  <a:lnTo>
                    <a:pt x="463" y="301"/>
                  </a:lnTo>
                  <a:close/>
                  <a:moveTo>
                    <a:pt x="501" y="331"/>
                  </a:moveTo>
                  <a:lnTo>
                    <a:pt x="519" y="346"/>
                  </a:lnTo>
                  <a:lnTo>
                    <a:pt x="504" y="365"/>
                  </a:lnTo>
                  <a:lnTo>
                    <a:pt x="486" y="349"/>
                  </a:lnTo>
                  <a:lnTo>
                    <a:pt x="501" y="331"/>
                  </a:lnTo>
                  <a:close/>
                  <a:moveTo>
                    <a:pt x="538" y="361"/>
                  </a:moveTo>
                  <a:lnTo>
                    <a:pt x="540" y="363"/>
                  </a:lnTo>
                  <a:lnTo>
                    <a:pt x="556" y="377"/>
                  </a:lnTo>
                  <a:lnTo>
                    <a:pt x="541" y="395"/>
                  </a:lnTo>
                  <a:lnTo>
                    <a:pt x="525" y="382"/>
                  </a:lnTo>
                  <a:lnTo>
                    <a:pt x="523" y="380"/>
                  </a:lnTo>
                  <a:lnTo>
                    <a:pt x="538" y="361"/>
                  </a:lnTo>
                  <a:close/>
                  <a:moveTo>
                    <a:pt x="575" y="391"/>
                  </a:moveTo>
                  <a:lnTo>
                    <a:pt x="582" y="398"/>
                  </a:lnTo>
                  <a:lnTo>
                    <a:pt x="593" y="407"/>
                  </a:lnTo>
                  <a:lnTo>
                    <a:pt x="577" y="425"/>
                  </a:lnTo>
                  <a:lnTo>
                    <a:pt x="567" y="416"/>
                  </a:lnTo>
                  <a:lnTo>
                    <a:pt x="559" y="411"/>
                  </a:lnTo>
                  <a:lnTo>
                    <a:pt x="575" y="391"/>
                  </a:lnTo>
                  <a:close/>
                  <a:moveTo>
                    <a:pt x="611" y="423"/>
                  </a:moveTo>
                  <a:lnTo>
                    <a:pt x="622" y="432"/>
                  </a:lnTo>
                  <a:lnTo>
                    <a:pt x="629" y="439"/>
                  </a:lnTo>
                  <a:lnTo>
                    <a:pt x="614" y="457"/>
                  </a:lnTo>
                  <a:lnTo>
                    <a:pt x="606" y="450"/>
                  </a:lnTo>
                  <a:lnTo>
                    <a:pt x="595" y="441"/>
                  </a:lnTo>
                  <a:lnTo>
                    <a:pt x="611" y="423"/>
                  </a:lnTo>
                  <a:close/>
                  <a:moveTo>
                    <a:pt x="647" y="455"/>
                  </a:moveTo>
                  <a:lnTo>
                    <a:pt x="666" y="471"/>
                  </a:lnTo>
                  <a:lnTo>
                    <a:pt x="650" y="489"/>
                  </a:lnTo>
                  <a:lnTo>
                    <a:pt x="632" y="473"/>
                  </a:lnTo>
                  <a:lnTo>
                    <a:pt x="647" y="455"/>
                  </a:lnTo>
                  <a:close/>
                  <a:moveTo>
                    <a:pt x="684" y="487"/>
                  </a:moveTo>
                  <a:lnTo>
                    <a:pt x="700" y="501"/>
                  </a:lnTo>
                  <a:lnTo>
                    <a:pt x="702" y="503"/>
                  </a:lnTo>
                  <a:lnTo>
                    <a:pt x="686" y="520"/>
                  </a:lnTo>
                  <a:lnTo>
                    <a:pt x="684" y="519"/>
                  </a:lnTo>
                  <a:lnTo>
                    <a:pt x="668" y="505"/>
                  </a:lnTo>
                  <a:lnTo>
                    <a:pt x="684" y="487"/>
                  </a:lnTo>
                  <a:close/>
                  <a:moveTo>
                    <a:pt x="720" y="519"/>
                  </a:moveTo>
                  <a:lnTo>
                    <a:pt x="738" y="535"/>
                  </a:lnTo>
                  <a:lnTo>
                    <a:pt x="721" y="553"/>
                  </a:lnTo>
                  <a:lnTo>
                    <a:pt x="704" y="537"/>
                  </a:lnTo>
                  <a:lnTo>
                    <a:pt x="720" y="519"/>
                  </a:lnTo>
                  <a:close/>
                  <a:moveTo>
                    <a:pt x="755" y="552"/>
                  </a:moveTo>
                  <a:lnTo>
                    <a:pt x="773" y="568"/>
                  </a:lnTo>
                  <a:lnTo>
                    <a:pt x="757" y="585"/>
                  </a:lnTo>
                  <a:lnTo>
                    <a:pt x="739" y="569"/>
                  </a:lnTo>
                  <a:lnTo>
                    <a:pt x="755" y="552"/>
                  </a:lnTo>
                  <a:close/>
                  <a:moveTo>
                    <a:pt x="790" y="584"/>
                  </a:moveTo>
                  <a:lnTo>
                    <a:pt x="808" y="600"/>
                  </a:lnTo>
                  <a:lnTo>
                    <a:pt x="792" y="618"/>
                  </a:lnTo>
                  <a:lnTo>
                    <a:pt x="774" y="602"/>
                  </a:lnTo>
                  <a:lnTo>
                    <a:pt x="790" y="584"/>
                  </a:lnTo>
                  <a:close/>
                  <a:moveTo>
                    <a:pt x="826" y="617"/>
                  </a:moveTo>
                  <a:lnTo>
                    <a:pt x="843" y="633"/>
                  </a:lnTo>
                  <a:lnTo>
                    <a:pt x="827" y="651"/>
                  </a:lnTo>
                  <a:lnTo>
                    <a:pt x="809" y="634"/>
                  </a:lnTo>
                  <a:lnTo>
                    <a:pt x="826" y="617"/>
                  </a:lnTo>
                  <a:close/>
                  <a:moveTo>
                    <a:pt x="861" y="650"/>
                  </a:moveTo>
                  <a:lnTo>
                    <a:pt x="878" y="665"/>
                  </a:lnTo>
                  <a:lnTo>
                    <a:pt x="862" y="682"/>
                  </a:lnTo>
                  <a:lnTo>
                    <a:pt x="844" y="667"/>
                  </a:lnTo>
                  <a:lnTo>
                    <a:pt x="861" y="650"/>
                  </a:lnTo>
                  <a:close/>
                  <a:moveTo>
                    <a:pt x="896" y="681"/>
                  </a:moveTo>
                  <a:lnTo>
                    <a:pt x="913" y="698"/>
                  </a:lnTo>
                  <a:lnTo>
                    <a:pt x="897" y="715"/>
                  </a:lnTo>
                  <a:lnTo>
                    <a:pt x="880" y="699"/>
                  </a:lnTo>
                  <a:lnTo>
                    <a:pt x="896" y="681"/>
                  </a:lnTo>
                  <a:close/>
                  <a:moveTo>
                    <a:pt x="931" y="714"/>
                  </a:moveTo>
                  <a:lnTo>
                    <a:pt x="935" y="719"/>
                  </a:lnTo>
                  <a:lnTo>
                    <a:pt x="949" y="730"/>
                  </a:lnTo>
                  <a:lnTo>
                    <a:pt x="932" y="748"/>
                  </a:lnTo>
                  <a:lnTo>
                    <a:pt x="919" y="736"/>
                  </a:lnTo>
                  <a:lnTo>
                    <a:pt x="915" y="732"/>
                  </a:lnTo>
                  <a:lnTo>
                    <a:pt x="931" y="714"/>
                  </a:lnTo>
                  <a:close/>
                  <a:moveTo>
                    <a:pt x="966" y="747"/>
                  </a:moveTo>
                  <a:lnTo>
                    <a:pt x="978" y="757"/>
                  </a:lnTo>
                  <a:lnTo>
                    <a:pt x="984" y="763"/>
                  </a:lnTo>
                  <a:lnTo>
                    <a:pt x="968" y="781"/>
                  </a:lnTo>
                  <a:lnTo>
                    <a:pt x="961" y="775"/>
                  </a:lnTo>
                  <a:lnTo>
                    <a:pt x="950" y="764"/>
                  </a:lnTo>
                  <a:lnTo>
                    <a:pt x="966" y="747"/>
                  </a:lnTo>
                  <a:close/>
                  <a:moveTo>
                    <a:pt x="1002" y="779"/>
                  </a:moveTo>
                  <a:lnTo>
                    <a:pt x="1019" y="795"/>
                  </a:lnTo>
                  <a:lnTo>
                    <a:pt x="1003" y="813"/>
                  </a:lnTo>
                  <a:lnTo>
                    <a:pt x="985" y="797"/>
                  </a:lnTo>
                  <a:lnTo>
                    <a:pt x="1002" y="779"/>
                  </a:lnTo>
                  <a:close/>
                  <a:moveTo>
                    <a:pt x="1037" y="811"/>
                  </a:moveTo>
                  <a:lnTo>
                    <a:pt x="1055" y="827"/>
                  </a:lnTo>
                  <a:lnTo>
                    <a:pt x="1039" y="845"/>
                  </a:lnTo>
                  <a:lnTo>
                    <a:pt x="1021" y="829"/>
                  </a:lnTo>
                  <a:lnTo>
                    <a:pt x="1037" y="811"/>
                  </a:lnTo>
                  <a:close/>
                  <a:moveTo>
                    <a:pt x="1073" y="843"/>
                  </a:moveTo>
                  <a:lnTo>
                    <a:pt x="1091" y="859"/>
                  </a:lnTo>
                  <a:lnTo>
                    <a:pt x="1075" y="877"/>
                  </a:lnTo>
                  <a:lnTo>
                    <a:pt x="1057" y="861"/>
                  </a:lnTo>
                  <a:lnTo>
                    <a:pt x="1073" y="843"/>
                  </a:lnTo>
                  <a:close/>
                  <a:moveTo>
                    <a:pt x="1109" y="875"/>
                  </a:moveTo>
                  <a:lnTo>
                    <a:pt x="1114" y="880"/>
                  </a:lnTo>
                  <a:lnTo>
                    <a:pt x="1126" y="891"/>
                  </a:lnTo>
                  <a:lnTo>
                    <a:pt x="1112" y="909"/>
                  </a:lnTo>
                  <a:lnTo>
                    <a:pt x="1098" y="898"/>
                  </a:lnTo>
                  <a:lnTo>
                    <a:pt x="1094" y="893"/>
                  </a:lnTo>
                  <a:lnTo>
                    <a:pt x="1109" y="875"/>
                  </a:lnTo>
                  <a:close/>
                  <a:moveTo>
                    <a:pt x="1146" y="907"/>
                  </a:moveTo>
                  <a:lnTo>
                    <a:pt x="1164" y="922"/>
                  </a:lnTo>
                  <a:lnTo>
                    <a:pt x="1148" y="940"/>
                  </a:lnTo>
                  <a:lnTo>
                    <a:pt x="1130" y="925"/>
                  </a:lnTo>
                  <a:lnTo>
                    <a:pt x="1146" y="907"/>
                  </a:lnTo>
                  <a:close/>
                  <a:moveTo>
                    <a:pt x="1182" y="937"/>
                  </a:moveTo>
                  <a:lnTo>
                    <a:pt x="1200" y="953"/>
                  </a:lnTo>
                  <a:lnTo>
                    <a:pt x="1184" y="971"/>
                  </a:lnTo>
                  <a:lnTo>
                    <a:pt x="1166" y="956"/>
                  </a:lnTo>
                  <a:lnTo>
                    <a:pt x="1182" y="937"/>
                  </a:lnTo>
                  <a:close/>
                  <a:moveTo>
                    <a:pt x="1218" y="969"/>
                  </a:moveTo>
                  <a:lnTo>
                    <a:pt x="1236" y="984"/>
                  </a:lnTo>
                  <a:lnTo>
                    <a:pt x="1221" y="1003"/>
                  </a:lnTo>
                  <a:lnTo>
                    <a:pt x="1202" y="987"/>
                  </a:lnTo>
                  <a:lnTo>
                    <a:pt x="1218" y="969"/>
                  </a:lnTo>
                  <a:close/>
                  <a:moveTo>
                    <a:pt x="1254" y="1000"/>
                  </a:moveTo>
                  <a:lnTo>
                    <a:pt x="1273" y="1015"/>
                  </a:lnTo>
                  <a:lnTo>
                    <a:pt x="1273" y="1015"/>
                  </a:lnTo>
                  <a:lnTo>
                    <a:pt x="1257" y="1034"/>
                  </a:lnTo>
                  <a:lnTo>
                    <a:pt x="1257" y="1033"/>
                  </a:lnTo>
                  <a:lnTo>
                    <a:pt x="1239" y="1018"/>
                  </a:lnTo>
                  <a:lnTo>
                    <a:pt x="1254" y="1000"/>
                  </a:lnTo>
                  <a:close/>
                  <a:moveTo>
                    <a:pt x="1291" y="1031"/>
                  </a:moveTo>
                  <a:lnTo>
                    <a:pt x="1310" y="1046"/>
                  </a:lnTo>
                  <a:lnTo>
                    <a:pt x="1294" y="1064"/>
                  </a:lnTo>
                  <a:lnTo>
                    <a:pt x="1276" y="1049"/>
                  </a:lnTo>
                  <a:lnTo>
                    <a:pt x="1291" y="1031"/>
                  </a:lnTo>
                  <a:close/>
                  <a:moveTo>
                    <a:pt x="1328" y="1060"/>
                  </a:moveTo>
                  <a:lnTo>
                    <a:pt x="1331" y="1064"/>
                  </a:lnTo>
                  <a:lnTo>
                    <a:pt x="1347" y="1075"/>
                  </a:lnTo>
                  <a:lnTo>
                    <a:pt x="1331" y="1094"/>
                  </a:lnTo>
                  <a:lnTo>
                    <a:pt x="1317" y="1082"/>
                  </a:lnTo>
                  <a:lnTo>
                    <a:pt x="1313" y="1080"/>
                  </a:lnTo>
                  <a:lnTo>
                    <a:pt x="1328" y="1060"/>
                  </a:lnTo>
                  <a:close/>
                  <a:moveTo>
                    <a:pt x="1365" y="1091"/>
                  </a:moveTo>
                  <a:lnTo>
                    <a:pt x="1385" y="1106"/>
                  </a:lnTo>
                  <a:lnTo>
                    <a:pt x="1369" y="1124"/>
                  </a:lnTo>
                  <a:lnTo>
                    <a:pt x="1351" y="1109"/>
                  </a:lnTo>
                  <a:lnTo>
                    <a:pt x="1365" y="1091"/>
                  </a:lnTo>
                  <a:close/>
                  <a:moveTo>
                    <a:pt x="1403" y="1121"/>
                  </a:moveTo>
                  <a:lnTo>
                    <a:pt x="1422" y="1136"/>
                  </a:lnTo>
                  <a:lnTo>
                    <a:pt x="1407" y="1155"/>
                  </a:lnTo>
                  <a:lnTo>
                    <a:pt x="1388" y="1140"/>
                  </a:lnTo>
                  <a:lnTo>
                    <a:pt x="1403" y="1121"/>
                  </a:lnTo>
                  <a:close/>
                  <a:moveTo>
                    <a:pt x="1441" y="1151"/>
                  </a:moveTo>
                  <a:lnTo>
                    <a:pt x="1459" y="1166"/>
                  </a:lnTo>
                  <a:lnTo>
                    <a:pt x="1444" y="1185"/>
                  </a:lnTo>
                  <a:lnTo>
                    <a:pt x="1426" y="1170"/>
                  </a:lnTo>
                  <a:lnTo>
                    <a:pt x="1441" y="1151"/>
                  </a:lnTo>
                  <a:close/>
                  <a:moveTo>
                    <a:pt x="1478" y="1180"/>
                  </a:moveTo>
                  <a:lnTo>
                    <a:pt x="1497" y="1194"/>
                  </a:lnTo>
                  <a:lnTo>
                    <a:pt x="1482" y="1213"/>
                  </a:lnTo>
                  <a:lnTo>
                    <a:pt x="1463" y="1199"/>
                  </a:lnTo>
                  <a:lnTo>
                    <a:pt x="1478" y="1180"/>
                  </a:lnTo>
                  <a:close/>
                  <a:moveTo>
                    <a:pt x="85" y="137"/>
                  </a:moveTo>
                  <a:lnTo>
                    <a:pt x="0" y="0"/>
                  </a:lnTo>
                  <a:lnTo>
                    <a:pt x="160" y="14"/>
                  </a:lnTo>
                  <a:lnTo>
                    <a:pt x="85" y="137"/>
                  </a:lnTo>
                  <a:close/>
                  <a:moveTo>
                    <a:pt x="1526" y="1141"/>
                  </a:moveTo>
                  <a:lnTo>
                    <a:pt x="1596" y="1286"/>
                  </a:lnTo>
                  <a:lnTo>
                    <a:pt x="1439" y="1255"/>
                  </a:lnTo>
                  <a:lnTo>
                    <a:pt x="1526" y="1141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2" name="Freeform 35"/>
            <p:cNvSpPr>
              <a:spLocks noEditPoints="1"/>
            </p:cNvSpPr>
            <p:nvPr/>
          </p:nvSpPr>
          <p:spPr bwMode="auto">
            <a:xfrm>
              <a:off x="5818665" y="2072626"/>
              <a:ext cx="1317625" cy="946150"/>
            </a:xfrm>
            <a:custGeom>
              <a:avLst/>
              <a:gdLst>
                <a:gd name="T0" fmla="*/ 2372 w 2489"/>
                <a:gd name="T1" fmla="*/ 121 h 1788"/>
                <a:gd name="T2" fmla="*/ 2314 w 2489"/>
                <a:gd name="T3" fmla="*/ 166 h 1788"/>
                <a:gd name="T4" fmla="*/ 2262 w 2489"/>
                <a:gd name="T5" fmla="*/ 176 h 1788"/>
                <a:gd name="T6" fmla="*/ 2243 w 2489"/>
                <a:gd name="T7" fmla="*/ 189 h 1788"/>
                <a:gd name="T8" fmla="*/ 2217 w 2489"/>
                <a:gd name="T9" fmla="*/ 235 h 1788"/>
                <a:gd name="T10" fmla="*/ 2136 w 2489"/>
                <a:gd name="T11" fmla="*/ 288 h 1788"/>
                <a:gd name="T12" fmla="*/ 2082 w 2489"/>
                <a:gd name="T13" fmla="*/ 321 h 1788"/>
                <a:gd name="T14" fmla="*/ 2053 w 2489"/>
                <a:gd name="T15" fmla="*/ 338 h 1788"/>
                <a:gd name="T16" fmla="*/ 1992 w 2489"/>
                <a:gd name="T17" fmla="*/ 374 h 1788"/>
                <a:gd name="T18" fmla="*/ 1937 w 2489"/>
                <a:gd name="T19" fmla="*/ 377 h 1788"/>
                <a:gd name="T20" fmla="*/ 1916 w 2489"/>
                <a:gd name="T21" fmla="*/ 388 h 1788"/>
                <a:gd name="T22" fmla="*/ 1860 w 2489"/>
                <a:gd name="T23" fmla="*/ 419 h 1788"/>
                <a:gd name="T24" fmla="*/ 1832 w 2489"/>
                <a:gd name="T25" fmla="*/ 434 h 1788"/>
                <a:gd name="T26" fmla="*/ 1800 w 2489"/>
                <a:gd name="T27" fmla="*/ 477 h 1788"/>
                <a:gd name="T28" fmla="*/ 1715 w 2489"/>
                <a:gd name="T29" fmla="*/ 521 h 1788"/>
                <a:gd name="T30" fmla="*/ 1651 w 2489"/>
                <a:gd name="T31" fmla="*/ 553 h 1788"/>
                <a:gd name="T32" fmla="*/ 1597 w 2489"/>
                <a:gd name="T33" fmla="*/ 553 h 1788"/>
                <a:gd name="T34" fmla="*/ 1575 w 2489"/>
                <a:gd name="T35" fmla="*/ 564 h 1788"/>
                <a:gd name="T36" fmla="*/ 1522 w 2489"/>
                <a:gd name="T37" fmla="*/ 589 h 1788"/>
                <a:gd name="T38" fmla="*/ 1489 w 2489"/>
                <a:gd name="T39" fmla="*/ 605 h 1788"/>
                <a:gd name="T40" fmla="*/ 1456 w 2489"/>
                <a:gd name="T41" fmla="*/ 647 h 1788"/>
                <a:gd name="T42" fmla="*/ 1369 w 2489"/>
                <a:gd name="T43" fmla="*/ 688 h 1788"/>
                <a:gd name="T44" fmla="*/ 1303 w 2489"/>
                <a:gd name="T45" fmla="*/ 719 h 1788"/>
                <a:gd name="T46" fmla="*/ 1250 w 2489"/>
                <a:gd name="T47" fmla="*/ 717 h 1788"/>
                <a:gd name="T48" fmla="*/ 1228 w 2489"/>
                <a:gd name="T49" fmla="*/ 727 h 1788"/>
                <a:gd name="T50" fmla="*/ 1195 w 2489"/>
                <a:gd name="T51" fmla="*/ 770 h 1788"/>
                <a:gd name="T52" fmla="*/ 1108 w 2489"/>
                <a:gd name="T53" fmla="*/ 810 h 1788"/>
                <a:gd name="T54" fmla="*/ 1043 w 2489"/>
                <a:gd name="T55" fmla="*/ 841 h 1788"/>
                <a:gd name="T56" fmla="*/ 989 w 2489"/>
                <a:gd name="T57" fmla="*/ 839 h 1788"/>
                <a:gd name="T58" fmla="*/ 968 w 2489"/>
                <a:gd name="T59" fmla="*/ 849 h 1788"/>
                <a:gd name="T60" fmla="*/ 935 w 2489"/>
                <a:gd name="T61" fmla="*/ 892 h 1788"/>
                <a:gd name="T62" fmla="*/ 848 w 2489"/>
                <a:gd name="T63" fmla="*/ 933 h 1788"/>
                <a:gd name="T64" fmla="*/ 848 w 2489"/>
                <a:gd name="T65" fmla="*/ 933 h 1788"/>
                <a:gd name="T66" fmla="*/ 763 w 2489"/>
                <a:gd name="T67" fmla="*/ 976 h 1788"/>
                <a:gd name="T68" fmla="*/ 698 w 2489"/>
                <a:gd name="T69" fmla="*/ 1008 h 1788"/>
                <a:gd name="T70" fmla="*/ 645 w 2489"/>
                <a:gd name="T71" fmla="*/ 1010 h 1788"/>
                <a:gd name="T72" fmla="*/ 624 w 2489"/>
                <a:gd name="T73" fmla="*/ 1020 h 1788"/>
                <a:gd name="T74" fmla="*/ 593 w 2489"/>
                <a:gd name="T75" fmla="*/ 1065 h 1788"/>
                <a:gd name="T76" fmla="*/ 539 w 2489"/>
                <a:gd name="T77" fmla="*/ 1066 h 1788"/>
                <a:gd name="T78" fmla="*/ 509 w 2489"/>
                <a:gd name="T79" fmla="*/ 1110 h 1788"/>
                <a:gd name="T80" fmla="*/ 456 w 2489"/>
                <a:gd name="T81" fmla="*/ 1115 h 1788"/>
                <a:gd name="T82" fmla="*/ 426 w 2489"/>
                <a:gd name="T83" fmla="*/ 1159 h 1788"/>
                <a:gd name="T84" fmla="*/ 347 w 2489"/>
                <a:gd name="T85" fmla="*/ 1211 h 1788"/>
                <a:gd name="T86" fmla="*/ 289 w 2489"/>
                <a:gd name="T87" fmla="*/ 1252 h 1788"/>
                <a:gd name="T88" fmla="*/ 269 w 2489"/>
                <a:gd name="T89" fmla="*/ 1268 h 1788"/>
                <a:gd name="T90" fmla="*/ 223 w 2489"/>
                <a:gd name="T91" fmla="*/ 1304 h 1788"/>
                <a:gd name="T92" fmla="*/ 197 w 2489"/>
                <a:gd name="T93" fmla="*/ 1328 h 1788"/>
                <a:gd name="T94" fmla="*/ 147 w 2489"/>
                <a:gd name="T95" fmla="*/ 1378 h 1788"/>
                <a:gd name="T96" fmla="*/ 117 w 2489"/>
                <a:gd name="T97" fmla="*/ 1414 h 1788"/>
                <a:gd name="T98" fmla="*/ 102 w 2489"/>
                <a:gd name="T99" fmla="*/ 1434 h 1788"/>
                <a:gd name="T100" fmla="*/ 80 w 2489"/>
                <a:gd name="T101" fmla="*/ 1474 h 1788"/>
                <a:gd name="T102" fmla="*/ 80 w 2489"/>
                <a:gd name="T103" fmla="*/ 1474 h 1788"/>
                <a:gd name="T104" fmla="*/ 53 w 2489"/>
                <a:gd name="T105" fmla="*/ 1561 h 1788"/>
                <a:gd name="T106" fmla="*/ 53 w 2489"/>
                <a:gd name="T107" fmla="*/ 1561 h 1788"/>
                <a:gd name="T108" fmla="*/ 30 w 2489"/>
                <a:gd name="T109" fmla="*/ 1608 h 1788"/>
                <a:gd name="T110" fmla="*/ 65 w 2489"/>
                <a:gd name="T111" fmla="*/ 1648 h 1788"/>
                <a:gd name="T112" fmla="*/ 143 w 2489"/>
                <a:gd name="T113" fmla="*/ 1788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89" h="1788">
                  <a:moveTo>
                    <a:pt x="2408" y="90"/>
                  </a:moveTo>
                  <a:lnTo>
                    <a:pt x="2390" y="105"/>
                  </a:lnTo>
                  <a:lnTo>
                    <a:pt x="2375" y="87"/>
                  </a:lnTo>
                  <a:lnTo>
                    <a:pt x="2393" y="72"/>
                  </a:lnTo>
                  <a:lnTo>
                    <a:pt x="2408" y="90"/>
                  </a:lnTo>
                  <a:close/>
                  <a:moveTo>
                    <a:pt x="2372" y="121"/>
                  </a:moveTo>
                  <a:lnTo>
                    <a:pt x="2354" y="137"/>
                  </a:lnTo>
                  <a:lnTo>
                    <a:pt x="2338" y="119"/>
                  </a:lnTo>
                  <a:lnTo>
                    <a:pt x="2356" y="103"/>
                  </a:lnTo>
                  <a:lnTo>
                    <a:pt x="2372" y="121"/>
                  </a:lnTo>
                  <a:close/>
                  <a:moveTo>
                    <a:pt x="2334" y="151"/>
                  </a:moveTo>
                  <a:lnTo>
                    <a:pt x="2314" y="166"/>
                  </a:lnTo>
                  <a:lnTo>
                    <a:pt x="2301" y="146"/>
                  </a:lnTo>
                  <a:lnTo>
                    <a:pt x="2320" y="132"/>
                  </a:lnTo>
                  <a:lnTo>
                    <a:pt x="2334" y="151"/>
                  </a:lnTo>
                  <a:close/>
                  <a:moveTo>
                    <a:pt x="2295" y="180"/>
                  </a:moveTo>
                  <a:lnTo>
                    <a:pt x="2276" y="195"/>
                  </a:lnTo>
                  <a:lnTo>
                    <a:pt x="2262" y="176"/>
                  </a:lnTo>
                  <a:lnTo>
                    <a:pt x="2281" y="161"/>
                  </a:lnTo>
                  <a:lnTo>
                    <a:pt x="2295" y="180"/>
                  </a:lnTo>
                  <a:close/>
                  <a:moveTo>
                    <a:pt x="2256" y="209"/>
                  </a:moveTo>
                  <a:lnTo>
                    <a:pt x="2236" y="223"/>
                  </a:lnTo>
                  <a:lnTo>
                    <a:pt x="2223" y="202"/>
                  </a:lnTo>
                  <a:lnTo>
                    <a:pt x="2243" y="189"/>
                  </a:lnTo>
                  <a:lnTo>
                    <a:pt x="2256" y="209"/>
                  </a:lnTo>
                  <a:close/>
                  <a:moveTo>
                    <a:pt x="2217" y="235"/>
                  </a:moveTo>
                  <a:lnTo>
                    <a:pt x="2197" y="249"/>
                  </a:lnTo>
                  <a:lnTo>
                    <a:pt x="2184" y="229"/>
                  </a:lnTo>
                  <a:lnTo>
                    <a:pt x="2203" y="216"/>
                  </a:lnTo>
                  <a:lnTo>
                    <a:pt x="2217" y="235"/>
                  </a:lnTo>
                  <a:close/>
                  <a:moveTo>
                    <a:pt x="2176" y="263"/>
                  </a:moveTo>
                  <a:lnTo>
                    <a:pt x="2156" y="276"/>
                  </a:lnTo>
                  <a:lnTo>
                    <a:pt x="2143" y="256"/>
                  </a:lnTo>
                  <a:lnTo>
                    <a:pt x="2164" y="243"/>
                  </a:lnTo>
                  <a:lnTo>
                    <a:pt x="2176" y="263"/>
                  </a:lnTo>
                  <a:close/>
                  <a:moveTo>
                    <a:pt x="2136" y="288"/>
                  </a:moveTo>
                  <a:lnTo>
                    <a:pt x="2115" y="301"/>
                  </a:lnTo>
                  <a:lnTo>
                    <a:pt x="2102" y="280"/>
                  </a:lnTo>
                  <a:lnTo>
                    <a:pt x="2123" y="267"/>
                  </a:lnTo>
                  <a:lnTo>
                    <a:pt x="2136" y="288"/>
                  </a:lnTo>
                  <a:close/>
                  <a:moveTo>
                    <a:pt x="2095" y="314"/>
                  </a:moveTo>
                  <a:lnTo>
                    <a:pt x="2082" y="321"/>
                  </a:lnTo>
                  <a:lnTo>
                    <a:pt x="2074" y="326"/>
                  </a:lnTo>
                  <a:lnTo>
                    <a:pt x="2062" y="305"/>
                  </a:lnTo>
                  <a:lnTo>
                    <a:pt x="2069" y="301"/>
                  </a:lnTo>
                  <a:lnTo>
                    <a:pt x="2082" y="293"/>
                  </a:lnTo>
                  <a:lnTo>
                    <a:pt x="2095" y="314"/>
                  </a:lnTo>
                  <a:close/>
                  <a:moveTo>
                    <a:pt x="2053" y="338"/>
                  </a:moveTo>
                  <a:lnTo>
                    <a:pt x="2033" y="350"/>
                  </a:lnTo>
                  <a:lnTo>
                    <a:pt x="2020" y="330"/>
                  </a:lnTo>
                  <a:lnTo>
                    <a:pt x="2041" y="317"/>
                  </a:lnTo>
                  <a:lnTo>
                    <a:pt x="2053" y="338"/>
                  </a:lnTo>
                  <a:close/>
                  <a:moveTo>
                    <a:pt x="2012" y="362"/>
                  </a:moveTo>
                  <a:lnTo>
                    <a:pt x="1992" y="374"/>
                  </a:lnTo>
                  <a:lnTo>
                    <a:pt x="1979" y="353"/>
                  </a:lnTo>
                  <a:lnTo>
                    <a:pt x="2000" y="342"/>
                  </a:lnTo>
                  <a:lnTo>
                    <a:pt x="2012" y="362"/>
                  </a:lnTo>
                  <a:close/>
                  <a:moveTo>
                    <a:pt x="1970" y="386"/>
                  </a:moveTo>
                  <a:lnTo>
                    <a:pt x="1949" y="398"/>
                  </a:lnTo>
                  <a:lnTo>
                    <a:pt x="1937" y="377"/>
                  </a:lnTo>
                  <a:lnTo>
                    <a:pt x="1959" y="365"/>
                  </a:lnTo>
                  <a:lnTo>
                    <a:pt x="1970" y="386"/>
                  </a:lnTo>
                  <a:close/>
                  <a:moveTo>
                    <a:pt x="1928" y="410"/>
                  </a:moveTo>
                  <a:lnTo>
                    <a:pt x="1907" y="421"/>
                  </a:lnTo>
                  <a:lnTo>
                    <a:pt x="1895" y="400"/>
                  </a:lnTo>
                  <a:lnTo>
                    <a:pt x="1916" y="388"/>
                  </a:lnTo>
                  <a:lnTo>
                    <a:pt x="1928" y="410"/>
                  </a:lnTo>
                  <a:close/>
                  <a:moveTo>
                    <a:pt x="1885" y="433"/>
                  </a:moveTo>
                  <a:lnTo>
                    <a:pt x="1873" y="440"/>
                  </a:lnTo>
                  <a:lnTo>
                    <a:pt x="1864" y="444"/>
                  </a:lnTo>
                  <a:lnTo>
                    <a:pt x="1854" y="422"/>
                  </a:lnTo>
                  <a:lnTo>
                    <a:pt x="1860" y="419"/>
                  </a:lnTo>
                  <a:lnTo>
                    <a:pt x="1875" y="412"/>
                  </a:lnTo>
                  <a:lnTo>
                    <a:pt x="1885" y="433"/>
                  </a:lnTo>
                  <a:close/>
                  <a:moveTo>
                    <a:pt x="1843" y="455"/>
                  </a:moveTo>
                  <a:lnTo>
                    <a:pt x="1822" y="466"/>
                  </a:lnTo>
                  <a:lnTo>
                    <a:pt x="1811" y="445"/>
                  </a:lnTo>
                  <a:lnTo>
                    <a:pt x="1832" y="434"/>
                  </a:lnTo>
                  <a:lnTo>
                    <a:pt x="1843" y="455"/>
                  </a:lnTo>
                  <a:close/>
                  <a:moveTo>
                    <a:pt x="1800" y="477"/>
                  </a:moveTo>
                  <a:lnTo>
                    <a:pt x="1779" y="488"/>
                  </a:lnTo>
                  <a:lnTo>
                    <a:pt x="1769" y="467"/>
                  </a:lnTo>
                  <a:lnTo>
                    <a:pt x="1790" y="456"/>
                  </a:lnTo>
                  <a:lnTo>
                    <a:pt x="1800" y="477"/>
                  </a:lnTo>
                  <a:close/>
                  <a:moveTo>
                    <a:pt x="1758" y="500"/>
                  </a:moveTo>
                  <a:lnTo>
                    <a:pt x="1737" y="510"/>
                  </a:lnTo>
                  <a:lnTo>
                    <a:pt x="1726" y="489"/>
                  </a:lnTo>
                  <a:lnTo>
                    <a:pt x="1747" y="477"/>
                  </a:lnTo>
                  <a:lnTo>
                    <a:pt x="1758" y="500"/>
                  </a:lnTo>
                  <a:close/>
                  <a:moveTo>
                    <a:pt x="1715" y="521"/>
                  </a:moveTo>
                  <a:lnTo>
                    <a:pt x="1693" y="532"/>
                  </a:lnTo>
                  <a:lnTo>
                    <a:pt x="1683" y="510"/>
                  </a:lnTo>
                  <a:lnTo>
                    <a:pt x="1704" y="500"/>
                  </a:lnTo>
                  <a:lnTo>
                    <a:pt x="1715" y="521"/>
                  </a:lnTo>
                  <a:close/>
                  <a:moveTo>
                    <a:pt x="1672" y="542"/>
                  </a:moveTo>
                  <a:lnTo>
                    <a:pt x="1651" y="553"/>
                  </a:lnTo>
                  <a:lnTo>
                    <a:pt x="1640" y="532"/>
                  </a:lnTo>
                  <a:lnTo>
                    <a:pt x="1661" y="521"/>
                  </a:lnTo>
                  <a:lnTo>
                    <a:pt x="1672" y="542"/>
                  </a:lnTo>
                  <a:close/>
                  <a:moveTo>
                    <a:pt x="1628" y="564"/>
                  </a:moveTo>
                  <a:lnTo>
                    <a:pt x="1607" y="574"/>
                  </a:lnTo>
                  <a:lnTo>
                    <a:pt x="1597" y="553"/>
                  </a:lnTo>
                  <a:lnTo>
                    <a:pt x="1619" y="542"/>
                  </a:lnTo>
                  <a:lnTo>
                    <a:pt x="1628" y="564"/>
                  </a:lnTo>
                  <a:close/>
                  <a:moveTo>
                    <a:pt x="1586" y="585"/>
                  </a:moveTo>
                  <a:lnTo>
                    <a:pt x="1565" y="595"/>
                  </a:lnTo>
                  <a:lnTo>
                    <a:pt x="1554" y="573"/>
                  </a:lnTo>
                  <a:lnTo>
                    <a:pt x="1575" y="564"/>
                  </a:lnTo>
                  <a:lnTo>
                    <a:pt x="1586" y="585"/>
                  </a:lnTo>
                  <a:close/>
                  <a:moveTo>
                    <a:pt x="1542" y="606"/>
                  </a:moveTo>
                  <a:lnTo>
                    <a:pt x="1533" y="610"/>
                  </a:lnTo>
                  <a:lnTo>
                    <a:pt x="1521" y="617"/>
                  </a:lnTo>
                  <a:lnTo>
                    <a:pt x="1510" y="594"/>
                  </a:lnTo>
                  <a:lnTo>
                    <a:pt x="1522" y="589"/>
                  </a:lnTo>
                  <a:lnTo>
                    <a:pt x="1532" y="584"/>
                  </a:lnTo>
                  <a:lnTo>
                    <a:pt x="1542" y="606"/>
                  </a:lnTo>
                  <a:close/>
                  <a:moveTo>
                    <a:pt x="1499" y="626"/>
                  </a:moveTo>
                  <a:lnTo>
                    <a:pt x="1478" y="637"/>
                  </a:lnTo>
                  <a:lnTo>
                    <a:pt x="1467" y="614"/>
                  </a:lnTo>
                  <a:lnTo>
                    <a:pt x="1489" y="605"/>
                  </a:lnTo>
                  <a:lnTo>
                    <a:pt x="1499" y="626"/>
                  </a:lnTo>
                  <a:close/>
                  <a:moveTo>
                    <a:pt x="1456" y="647"/>
                  </a:moveTo>
                  <a:lnTo>
                    <a:pt x="1434" y="657"/>
                  </a:lnTo>
                  <a:lnTo>
                    <a:pt x="1423" y="636"/>
                  </a:lnTo>
                  <a:lnTo>
                    <a:pt x="1446" y="625"/>
                  </a:lnTo>
                  <a:lnTo>
                    <a:pt x="1456" y="647"/>
                  </a:lnTo>
                  <a:close/>
                  <a:moveTo>
                    <a:pt x="1413" y="668"/>
                  </a:moveTo>
                  <a:lnTo>
                    <a:pt x="1390" y="677"/>
                  </a:lnTo>
                  <a:lnTo>
                    <a:pt x="1381" y="656"/>
                  </a:lnTo>
                  <a:lnTo>
                    <a:pt x="1402" y="645"/>
                  </a:lnTo>
                  <a:lnTo>
                    <a:pt x="1413" y="668"/>
                  </a:lnTo>
                  <a:close/>
                  <a:moveTo>
                    <a:pt x="1369" y="688"/>
                  </a:moveTo>
                  <a:lnTo>
                    <a:pt x="1347" y="698"/>
                  </a:lnTo>
                  <a:lnTo>
                    <a:pt x="1337" y="676"/>
                  </a:lnTo>
                  <a:lnTo>
                    <a:pt x="1359" y="667"/>
                  </a:lnTo>
                  <a:lnTo>
                    <a:pt x="1369" y="688"/>
                  </a:lnTo>
                  <a:close/>
                  <a:moveTo>
                    <a:pt x="1326" y="708"/>
                  </a:moveTo>
                  <a:lnTo>
                    <a:pt x="1303" y="719"/>
                  </a:lnTo>
                  <a:lnTo>
                    <a:pt x="1294" y="697"/>
                  </a:lnTo>
                  <a:lnTo>
                    <a:pt x="1315" y="687"/>
                  </a:lnTo>
                  <a:lnTo>
                    <a:pt x="1326" y="708"/>
                  </a:lnTo>
                  <a:close/>
                  <a:moveTo>
                    <a:pt x="1282" y="729"/>
                  </a:moveTo>
                  <a:lnTo>
                    <a:pt x="1260" y="739"/>
                  </a:lnTo>
                  <a:lnTo>
                    <a:pt x="1250" y="717"/>
                  </a:lnTo>
                  <a:lnTo>
                    <a:pt x="1272" y="707"/>
                  </a:lnTo>
                  <a:lnTo>
                    <a:pt x="1282" y="729"/>
                  </a:lnTo>
                  <a:close/>
                  <a:moveTo>
                    <a:pt x="1239" y="749"/>
                  </a:moveTo>
                  <a:lnTo>
                    <a:pt x="1216" y="759"/>
                  </a:lnTo>
                  <a:lnTo>
                    <a:pt x="1207" y="738"/>
                  </a:lnTo>
                  <a:lnTo>
                    <a:pt x="1228" y="727"/>
                  </a:lnTo>
                  <a:lnTo>
                    <a:pt x="1239" y="749"/>
                  </a:lnTo>
                  <a:close/>
                  <a:moveTo>
                    <a:pt x="1195" y="770"/>
                  </a:moveTo>
                  <a:lnTo>
                    <a:pt x="1174" y="779"/>
                  </a:lnTo>
                  <a:lnTo>
                    <a:pt x="1163" y="758"/>
                  </a:lnTo>
                  <a:lnTo>
                    <a:pt x="1184" y="747"/>
                  </a:lnTo>
                  <a:lnTo>
                    <a:pt x="1195" y="770"/>
                  </a:lnTo>
                  <a:close/>
                  <a:moveTo>
                    <a:pt x="1152" y="790"/>
                  </a:moveTo>
                  <a:lnTo>
                    <a:pt x="1129" y="799"/>
                  </a:lnTo>
                  <a:lnTo>
                    <a:pt x="1120" y="778"/>
                  </a:lnTo>
                  <a:lnTo>
                    <a:pt x="1142" y="767"/>
                  </a:lnTo>
                  <a:lnTo>
                    <a:pt x="1152" y="790"/>
                  </a:lnTo>
                  <a:close/>
                  <a:moveTo>
                    <a:pt x="1108" y="810"/>
                  </a:moveTo>
                  <a:lnTo>
                    <a:pt x="1087" y="819"/>
                  </a:lnTo>
                  <a:lnTo>
                    <a:pt x="1076" y="798"/>
                  </a:lnTo>
                  <a:lnTo>
                    <a:pt x="1097" y="788"/>
                  </a:lnTo>
                  <a:lnTo>
                    <a:pt x="1108" y="810"/>
                  </a:lnTo>
                  <a:close/>
                  <a:moveTo>
                    <a:pt x="1064" y="830"/>
                  </a:moveTo>
                  <a:lnTo>
                    <a:pt x="1043" y="841"/>
                  </a:lnTo>
                  <a:lnTo>
                    <a:pt x="1033" y="818"/>
                  </a:lnTo>
                  <a:lnTo>
                    <a:pt x="1055" y="809"/>
                  </a:lnTo>
                  <a:lnTo>
                    <a:pt x="1064" y="830"/>
                  </a:lnTo>
                  <a:close/>
                  <a:moveTo>
                    <a:pt x="1021" y="850"/>
                  </a:moveTo>
                  <a:lnTo>
                    <a:pt x="1000" y="861"/>
                  </a:lnTo>
                  <a:lnTo>
                    <a:pt x="989" y="839"/>
                  </a:lnTo>
                  <a:lnTo>
                    <a:pt x="1011" y="829"/>
                  </a:lnTo>
                  <a:lnTo>
                    <a:pt x="1021" y="850"/>
                  </a:lnTo>
                  <a:close/>
                  <a:moveTo>
                    <a:pt x="977" y="871"/>
                  </a:moveTo>
                  <a:lnTo>
                    <a:pt x="956" y="881"/>
                  </a:lnTo>
                  <a:lnTo>
                    <a:pt x="945" y="860"/>
                  </a:lnTo>
                  <a:lnTo>
                    <a:pt x="968" y="849"/>
                  </a:lnTo>
                  <a:lnTo>
                    <a:pt x="977" y="871"/>
                  </a:lnTo>
                  <a:close/>
                  <a:moveTo>
                    <a:pt x="935" y="892"/>
                  </a:moveTo>
                  <a:lnTo>
                    <a:pt x="913" y="902"/>
                  </a:lnTo>
                  <a:lnTo>
                    <a:pt x="903" y="881"/>
                  </a:lnTo>
                  <a:lnTo>
                    <a:pt x="924" y="870"/>
                  </a:lnTo>
                  <a:lnTo>
                    <a:pt x="935" y="892"/>
                  </a:lnTo>
                  <a:close/>
                  <a:moveTo>
                    <a:pt x="891" y="913"/>
                  </a:moveTo>
                  <a:lnTo>
                    <a:pt x="870" y="924"/>
                  </a:lnTo>
                  <a:lnTo>
                    <a:pt x="859" y="901"/>
                  </a:lnTo>
                  <a:lnTo>
                    <a:pt x="881" y="891"/>
                  </a:lnTo>
                  <a:lnTo>
                    <a:pt x="891" y="913"/>
                  </a:lnTo>
                  <a:close/>
                  <a:moveTo>
                    <a:pt x="848" y="933"/>
                  </a:moveTo>
                  <a:lnTo>
                    <a:pt x="842" y="936"/>
                  </a:lnTo>
                  <a:lnTo>
                    <a:pt x="827" y="944"/>
                  </a:lnTo>
                  <a:lnTo>
                    <a:pt x="816" y="922"/>
                  </a:lnTo>
                  <a:lnTo>
                    <a:pt x="833" y="914"/>
                  </a:lnTo>
                  <a:lnTo>
                    <a:pt x="838" y="912"/>
                  </a:lnTo>
                  <a:lnTo>
                    <a:pt x="848" y="933"/>
                  </a:lnTo>
                  <a:close/>
                  <a:moveTo>
                    <a:pt x="805" y="954"/>
                  </a:moveTo>
                  <a:lnTo>
                    <a:pt x="784" y="965"/>
                  </a:lnTo>
                  <a:lnTo>
                    <a:pt x="773" y="944"/>
                  </a:lnTo>
                  <a:lnTo>
                    <a:pt x="795" y="933"/>
                  </a:lnTo>
                  <a:lnTo>
                    <a:pt x="805" y="954"/>
                  </a:lnTo>
                  <a:close/>
                  <a:moveTo>
                    <a:pt x="763" y="976"/>
                  </a:moveTo>
                  <a:lnTo>
                    <a:pt x="741" y="986"/>
                  </a:lnTo>
                  <a:lnTo>
                    <a:pt x="730" y="965"/>
                  </a:lnTo>
                  <a:lnTo>
                    <a:pt x="751" y="954"/>
                  </a:lnTo>
                  <a:lnTo>
                    <a:pt x="763" y="976"/>
                  </a:lnTo>
                  <a:close/>
                  <a:moveTo>
                    <a:pt x="719" y="998"/>
                  </a:moveTo>
                  <a:lnTo>
                    <a:pt x="698" y="1008"/>
                  </a:lnTo>
                  <a:lnTo>
                    <a:pt x="687" y="987"/>
                  </a:lnTo>
                  <a:lnTo>
                    <a:pt x="709" y="977"/>
                  </a:lnTo>
                  <a:lnTo>
                    <a:pt x="719" y="998"/>
                  </a:lnTo>
                  <a:close/>
                  <a:moveTo>
                    <a:pt x="677" y="1019"/>
                  </a:moveTo>
                  <a:lnTo>
                    <a:pt x="656" y="1031"/>
                  </a:lnTo>
                  <a:lnTo>
                    <a:pt x="645" y="1010"/>
                  </a:lnTo>
                  <a:lnTo>
                    <a:pt x="666" y="998"/>
                  </a:lnTo>
                  <a:lnTo>
                    <a:pt x="677" y="1019"/>
                  </a:lnTo>
                  <a:close/>
                  <a:moveTo>
                    <a:pt x="634" y="1041"/>
                  </a:moveTo>
                  <a:lnTo>
                    <a:pt x="613" y="1053"/>
                  </a:lnTo>
                  <a:lnTo>
                    <a:pt x="602" y="1032"/>
                  </a:lnTo>
                  <a:lnTo>
                    <a:pt x="624" y="1020"/>
                  </a:lnTo>
                  <a:lnTo>
                    <a:pt x="634" y="1041"/>
                  </a:lnTo>
                  <a:close/>
                  <a:moveTo>
                    <a:pt x="593" y="1065"/>
                  </a:moveTo>
                  <a:lnTo>
                    <a:pt x="572" y="1075"/>
                  </a:lnTo>
                  <a:lnTo>
                    <a:pt x="560" y="1055"/>
                  </a:lnTo>
                  <a:lnTo>
                    <a:pt x="581" y="1043"/>
                  </a:lnTo>
                  <a:lnTo>
                    <a:pt x="593" y="1065"/>
                  </a:lnTo>
                  <a:close/>
                  <a:moveTo>
                    <a:pt x="550" y="1087"/>
                  </a:moveTo>
                  <a:lnTo>
                    <a:pt x="538" y="1094"/>
                  </a:lnTo>
                  <a:lnTo>
                    <a:pt x="529" y="1099"/>
                  </a:lnTo>
                  <a:lnTo>
                    <a:pt x="518" y="1079"/>
                  </a:lnTo>
                  <a:lnTo>
                    <a:pt x="526" y="1073"/>
                  </a:lnTo>
                  <a:lnTo>
                    <a:pt x="539" y="1066"/>
                  </a:lnTo>
                  <a:lnTo>
                    <a:pt x="550" y="1087"/>
                  </a:lnTo>
                  <a:close/>
                  <a:moveTo>
                    <a:pt x="509" y="1110"/>
                  </a:moveTo>
                  <a:lnTo>
                    <a:pt x="488" y="1123"/>
                  </a:lnTo>
                  <a:lnTo>
                    <a:pt x="476" y="1102"/>
                  </a:lnTo>
                  <a:lnTo>
                    <a:pt x="497" y="1090"/>
                  </a:lnTo>
                  <a:lnTo>
                    <a:pt x="509" y="1110"/>
                  </a:lnTo>
                  <a:close/>
                  <a:moveTo>
                    <a:pt x="468" y="1135"/>
                  </a:moveTo>
                  <a:lnTo>
                    <a:pt x="447" y="1147"/>
                  </a:lnTo>
                  <a:lnTo>
                    <a:pt x="447" y="1147"/>
                  </a:lnTo>
                  <a:lnTo>
                    <a:pt x="435" y="1126"/>
                  </a:lnTo>
                  <a:lnTo>
                    <a:pt x="436" y="1125"/>
                  </a:lnTo>
                  <a:lnTo>
                    <a:pt x="456" y="1115"/>
                  </a:lnTo>
                  <a:lnTo>
                    <a:pt x="468" y="1135"/>
                  </a:lnTo>
                  <a:close/>
                  <a:moveTo>
                    <a:pt x="426" y="1159"/>
                  </a:moveTo>
                  <a:lnTo>
                    <a:pt x="407" y="1172"/>
                  </a:lnTo>
                  <a:lnTo>
                    <a:pt x="393" y="1152"/>
                  </a:lnTo>
                  <a:lnTo>
                    <a:pt x="414" y="1139"/>
                  </a:lnTo>
                  <a:lnTo>
                    <a:pt x="426" y="1159"/>
                  </a:lnTo>
                  <a:close/>
                  <a:moveTo>
                    <a:pt x="386" y="1186"/>
                  </a:moveTo>
                  <a:lnTo>
                    <a:pt x="366" y="1197"/>
                  </a:lnTo>
                  <a:lnTo>
                    <a:pt x="353" y="1178"/>
                  </a:lnTo>
                  <a:lnTo>
                    <a:pt x="373" y="1165"/>
                  </a:lnTo>
                  <a:lnTo>
                    <a:pt x="386" y="1186"/>
                  </a:lnTo>
                  <a:close/>
                  <a:moveTo>
                    <a:pt x="347" y="1211"/>
                  </a:moveTo>
                  <a:lnTo>
                    <a:pt x="327" y="1225"/>
                  </a:lnTo>
                  <a:lnTo>
                    <a:pt x="314" y="1205"/>
                  </a:lnTo>
                  <a:lnTo>
                    <a:pt x="333" y="1192"/>
                  </a:lnTo>
                  <a:lnTo>
                    <a:pt x="347" y="1211"/>
                  </a:lnTo>
                  <a:close/>
                  <a:moveTo>
                    <a:pt x="307" y="1239"/>
                  </a:moveTo>
                  <a:lnTo>
                    <a:pt x="289" y="1252"/>
                  </a:lnTo>
                  <a:lnTo>
                    <a:pt x="288" y="1253"/>
                  </a:lnTo>
                  <a:lnTo>
                    <a:pt x="273" y="1234"/>
                  </a:lnTo>
                  <a:lnTo>
                    <a:pt x="275" y="1231"/>
                  </a:lnTo>
                  <a:lnTo>
                    <a:pt x="293" y="1219"/>
                  </a:lnTo>
                  <a:lnTo>
                    <a:pt x="307" y="1239"/>
                  </a:lnTo>
                  <a:close/>
                  <a:moveTo>
                    <a:pt x="269" y="1268"/>
                  </a:moveTo>
                  <a:lnTo>
                    <a:pt x="251" y="1282"/>
                  </a:lnTo>
                  <a:lnTo>
                    <a:pt x="236" y="1263"/>
                  </a:lnTo>
                  <a:lnTo>
                    <a:pt x="254" y="1248"/>
                  </a:lnTo>
                  <a:lnTo>
                    <a:pt x="269" y="1268"/>
                  </a:lnTo>
                  <a:close/>
                  <a:moveTo>
                    <a:pt x="232" y="1297"/>
                  </a:moveTo>
                  <a:lnTo>
                    <a:pt x="223" y="1304"/>
                  </a:lnTo>
                  <a:lnTo>
                    <a:pt x="215" y="1312"/>
                  </a:lnTo>
                  <a:lnTo>
                    <a:pt x="198" y="1294"/>
                  </a:lnTo>
                  <a:lnTo>
                    <a:pt x="208" y="1285"/>
                  </a:lnTo>
                  <a:lnTo>
                    <a:pt x="217" y="1278"/>
                  </a:lnTo>
                  <a:lnTo>
                    <a:pt x="232" y="1297"/>
                  </a:lnTo>
                  <a:close/>
                  <a:moveTo>
                    <a:pt x="197" y="1328"/>
                  </a:moveTo>
                  <a:lnTo>
                    <a:pt x="179" y="1345"/>
                  </a:lnTo>
                  <a:lnTo>
                    <a:pt x="163" y="1327"/>
                  </a:lnTo>
                  <a:lnTo>
                    <a:pt x="180" y="1310"/>
                  </a:lnTo>
                  <a:lnTo>
                    <a:pt x="197" y="1328"/>
                  </a:lnTo>
                  <a:close/>
                  <a:moveTo>
                    <a:pt x="163" y="1360"/>
                  </a:moveTo>
                  <a:lnTo>
                    <a:pt x="147" y="1378"/>
                  </a:lnTo>
                  <a:lnTo>
                    <a:pt x="129" y="1362"/>
                  </a:lnTo>
                  <a:lnTo>
                    <a:pt x="145" y="1345"/>
                  </a:lnTo>
                  <a:lnTo>
                    <a:pt x="163" y="1360"/>
                  </a:lnTo>
                  <a:close/>
                  <a:moveTo>
                    <a:pt x="131" y="1396"/>
                  </a:moveTo>
                  <a:lnTo>
                    <a:pt x="120" y="1409"/>
                  </a:lnTo>
                  <a:lnTo>
                    <a:pt x="117" y="1414"/>
                  </a:lnTo>
                  <a:lnTo>
                    <a:pt x="97" y="1400"/>
                  </a:lnTo>
                  <a:lnTo>
                    <a:pt x="102" y="1393"/>
                  </a:lnTo>
                  <a:lnTo>
                    <a:pt x="113" y="1380"/>
                  </a:lnTo>
                  <a:lnTo>
                    <a:pt x="131" y="1396"/>
                  </a:lnTo>
                  <a:close/>
                  <a:moveTo>
                    <a:pt x="102" y="1433"/>
                  </a:moveTo>
                  <a:lnTo>
                    <a:pt x="102" y="1434"/>
                  </a:lnTo>
                  <a:lnTo>
                    <a:pt x="91" y="1453"/>
                  </a:lnTo>
                  <a:lnTo>
                    <a:pt x="70" y="1441"/>
                  </a:lnTo>
                  <a:lnTo>
                    <a:pt x="82" y="1420"/>
                  </a:lnTo>
                  <a:lnTo>
                    <a:pt x="83" y="1419"/>
                  </a:lnTo>
                  <a:lnTo>
                    <a:pt x="102" y="1433"/>
                  </a:lnTo>
                  <a:close/>
                  <a:moveTo>
                    <a:pt x="80" y="1474"/>
                  </a:moveTo>
                  <a:lnTo>
                    <a:pt x="73" y="1486"/>
                  </a:lnTo>
                  <a:lnTo>
                    <a:pt x="70" y="1494"/>
                  </a:lnTo>
                  <a:lnTo>
                    <a:pt x="48" y="1485"/>
                  </a:lnTo>
                  <a:lnTo>
                    <a:pt x="51" y="1476"/>
                  </a:lnTo>
                  <a:lnTo>
                    <a:pt x="58" y="1463"/>
                  </a:lnTo>
                  <a:lnTo>
                    <a:pt x="80" y="1474"/>
                  </a:lnTo>
                  <a:close/>
                  <a:moveTo>
                    <a:pt x="63" y="1515"/>
                  </a:moveTo>
                  <a:lnTo>
                    <a:pt x="57" y="1538"/>
                  </a:lnTo>
                  <a:lnTo>
                    <a:pt x="33" y="1532"/>
                  </a:lnTo>
                  <a:lnTo>
                    <a:pt x="40" y="1510"/>
                  </a:lnTo>
                  <a:lnTo>
                    <a:pt x="63" y="1515"/>
                  </a:lnTo>
                  <a:close/>
                  <a:moveTo>
                    <a:pt x="53" y="1561"/>
                  </a:moveTo>
                  <a:lnTo>
                    <a:pt x="52" y="1565"/>
                  </a:lnTo>
                  <a:lnTo>
                    <a:pt x="52" y="1583"/>
                  </a:lnTo>
                  <a:lnTo>
                    <a:pt x="29" y="1583"/>
                  </a:lnTo>
                  <a:lnTo>
                    <a:pt x="29" y="1562"/>
                  </a:lnTo>
                  <a:lnTo>
                    <a:pt x="30" y="1557"/>
                  </a:lnTo>
                  <a:lnTo>
                    <a:pt x="53" y="1561"/>
                  </a:lnTo>
                  <a:close/>
                  <a:moveTo>
                    <a:pt x="54" y="1605"/>
                  </a:moveTo>
                  <a:lnTo>
                    <a:pt x="56" y="1617"/>
                  </a:lnTo>
                  <a:lnTo>
                    <a:pt x="59" y="1628"/>
                  </a:lnTo>
                  <a:lnTo>
                    <a:pt x="35" y="1634"/>
                  </a:lnTo>
                  <a:lnTo>
                    <a:pt x="32" y="1619"/>
                  </a:lnTo>
                  <a:lnTo>
                    <a:pt x="30" y="1608"/>
                  </a:lnTo>
                  <a:lnTo>
                    <a:pt x="54" y="1605"/>
                  </a:lnTo>
                  <a:close/>
                  <a:moveTo>
                    <a:pt x="65" y="1648"/>
                  </a:moveTo>
                  <a:lnTo>
                    <a:pt x="76" y="1669"/>
                  </a:lnTo>
                  <a:lnTo>
                    <a:pt x="54" y="1681"/>
                  </a:lnTo>
                  <a:lnTo>
                    <a:pt x="44" y="1658"/>
                  </a:lnTo>
                  <a:lnTo>
                    <a:pt x="65" y="1648"/>
                  </a:lnTo>
                  <a:close/>
                  <a:moveTo>
                    <a:pt x="2334" y="44"/>
                  </a:moveTo>
                  <a:lnTo>
                    <a:pt x="2489" y="0"/>
                  </a:lnTo>
                  <a:lnTo>
                    <a:pt x="2431" y="149"/>
                  </a:lnTo>
                  <a:lnTo>
                    <a:pt x="2334" y="44"/>
                  </a:lnTo>
                  <a:close/>
                  <a:moveTo>
                    <a:pt x="118" y="1629"/>
                  </a:moveTo>
                  <a:lnTo>
                    <a:pt x="143" y="1788"/>
                  </a:lnTo>
                  <a:lnTo>
                    <a:pt x="0" y="1711"/>
                  </a:lnTo>
                  <a:lnTo>
                    <a:pt x="118" y="1629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3" name="Rectangle 36"/>
            <p:cNvSpPr>
              <a:spLocks noChangeArrowheads="1"/>
            </p:cNvSpPr>
            <p:nvPr/>
          </p:nvSpPr>
          <p:spPr bwMode="auto">
            <a:xfrm>
              <a:off x="4421665" y="753414"/>
              <a:ext cx="3886200" cy="4460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4" name="Rectangle 37"/>
            <p:cNvSpPr>
              <a:spLocks noChangeArrowheads="1"/>
            </p:cNvSpPr>
            <p:nvPr/>
          </p:nvSpPr>
          <p:spPr bwMode="auto">
            <a:xfrm>
              <a:off x="4421665" y="753414"/>
              <a:ext cx="3886200" cy="446088"/>
            </a:xfrm>
            <a:prstGeom prst="rect">
              <a:avLst/>
            </a:prstGeom>
            <a:noFill/>
            <a:ln w="3175">
              <a:solidFill>
                <a:srgbClr val="9495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5" name="Freeform 38"/>
            <p:cNvSpPr>
              <a:spLocks noEditPoints="1"/>
            </p:cNvSpPr>
            <p:nvPr/>
          </p:nvSpPr>
          <p:spPr bwMode="auto">
            <a:xfrm>
              <a:off x="4528027" y="1035989"/>
              <a:ext cx="671513" cy="77788"/>
            </a:xfrm>
            <a:custGeom>
              <a:avLst/>
              <a:gdLst>
                <a:gd name="T0" fmla="*/ 143 w 1269"/>
                <a:gd name="T1" fmla="*/ 61 h 145"/>
                <a:gd name="T2" fmla="*/ 120 w 1269"/>
                <a:gd name="T3" fmla="*/ 84 h 145"/>
                <a:gd name="T4" fmla="*/ 168 w 1269"/>
                <a:gd name="T5" fmla="*/ 61 h 145"/>
                <a:gd name="T6" fmla="*/ 191 w 1269"/>
                <a:gd name="T7" fmla="*/ 84 h 145"/>
                <a:gd name="T8" fmla="*/ 168 w 1269"/>
                <a:gd name="T9" fmla="*/ 61 h 145"/>
                <a:gd name="T10" fmla="*/ 240 w 1269"/>
                <a:gd name="T11" fmla="*/ 61 h 145"/>
                <a:gd name="T12" fmla="*/ 215 w 1269"/>
                <a:gd name="T13" fmla="*/ 84 h 145"/>
                <a:gd name="T14" fmla="*/ 263 w 1269"/>
                <a:gd name="T15" fmla="*/ 61 h 145"/>
                <a:gd name="T16" fmla="*/ 288 w 1269"/>
                <a:gd name="T17" fmla="*/ 84 h 145"/>
                <a:gd name="T18" fmla="*/ 263 w 1269"/>
                <a:gd name="T19" fmla="*/ 61 h 145"/>
                <a:gd name="T20" fmla="*/ 335 w 1269"/>
                <a:gd name="T21" fmla="*/ 61 h 145"/>
                <a:gd name="T22" fmla="*/ 311 w 1269"/>
                <a:gd name="T23" fmla="*/ 84 h 145"/>
                <a:gd name="T24" fmla="*/ 360 w 1269"/>
                <a:gd name="T25" fmla="*/ 61 h 145"/>
                <a:gd name="T26" fmla="*/ 383 w 1269"/>
                <a:gd name="T27" fmla="*/ 84 h 145"/>
                <a:gd name="T28" fmla="*/ 360 w 1269"/>
                <a:gd name="T29" fmla="*/ 61 h 145"/>
                <a:gd name="T30" fmla="*/ 431 w 1269"/>
                <a:gd name="T31" fmla="*/ 61 h 145"/>
                <a:gd name="T32" fmla="*/ 408 w 1269"/>
                <a:gd name="T33" fmla="*/ 84 h 145"/>
                <a:gd name="T34" fmla="*/ 456 w 1269"/>
                <a:gd name="T35" fmla="*/ 61 h 145"/>
                <a:gd name="T36" fmla="*/ 480 w 1269"/>
                <a:gd name="T37" fmla="*/ 84 h 145"/>
                <a:gd name="T38" fmla="*/ 456 w 1269"/>
                <a:gd name="T39" fmla="*/ 61 h 145"/>
                <a:gd name="T40" fmla="*/ 528 w 1269"/>
                <a:gd name="T41" fmla="*/ 61 h 145"/>
                <a:gd name="T42" fmla="*/ 503 w 1269"/>
                <a:gd name="T43" fmla="*/ 84 h 145"/>
                <a:gd name="T44" fmla="*/ 551 w 1269"/>
                <a:gd name="T45" fmla="*/ 61 h 145"/>
                <a:gd name="T46" fmla="*/ 576 w 1269"/>
                <a:gd name="T47" fmla="*/ 84 h 145"/>
                <a:gd name="T48" fmla="*/ 551 w 1269"/>
                <a:gd name="T49" fmla="*/ 61 h 145"/>
                <a:gd name="T50" fmla="*/ 623 w 1269"/>
                <a:gd name="T51" fmla="*/ 61 h 145"/>
                <a:gd name="T52" fmla="*/ 599 w 1269"/>
                <a:gd name="T53" fmla="*/ 84 h 145"/>
                <a:gd name="T54" fmla="*/ 648 w 1269"/>
                <a:gd name="T55" fmla="*/ 61 h 145"/>
                <a:gd name="T56" fmla="*/ 671 w 1269"/>
                <a:gd name="T57" fmla="*/ 84 h 145"/>
                <a:gd name="T58" fmla="*/ 648 w 1269"/>
                <a:gd name="T59" fmla="*/ 61 h 145"/>
                <a:gd name="T60" fmla="*/ 719 w 1269"/>
                <a:gd name="T61" fmla="*/ 61 h 145"/>
                <a:gd name="T62" fmla="*/ 696 w 1269"/>
                <a:gd name="T63" fmla="*/ 84 h 145"/>
                <a:gd name="T64" fmla="*/ 743 w 1269"/>
                <a:gd name="T65" fmla="*/ 61 h 145"/>
                <a:gd name="T66" fmla="*/ 768 w 1269"/>
                <a:gd name="T67" fmla="*/ 84 h 145"/>
                <a:gd name="T68" fmla="*/ 743 w 1269"/>
                <a:gd name="T69" fmla="*/ 61 h 145"/>
                <a:gd name="T70" fmla="*/ 816 w 1269"/>
                <a:gd name="T71" fmla="*/ 61 h 145"/>
                <a:gd name="T72" fmla="*/ 791 w 1269"/>
                <a:gd name="T73" fmla="*/ 84 h 145"/>
                <a:gd name="T74" fmla="*/ 839 w 1269"/>
                <a:gd name="T75" fmla="*/ 61 h 145"/>
                <a:gd name="T76" fmla="*/ 863 w 1269"/>
                <a:gd name="T77" fmla="*/ 84 h 145"/>
                <a:gd name="T78" fmla="*/ 839 w 1269"/>
                <a:gd name="T79" fmla="*/ 61 h 145"/>
                <a:gd name="T80" fmla="*/ 911 w 1269"/>
                <a:gd name="T81" fmla="*/ 61 h 145"/>
                <a:gd name="T82" fmla="*/ 888 w 1269"/>
                <a:gd name="T83" fmla="*/ 84 h 145"/>
                <a:gd name="T84" fmla="*/ 936 w 1269"/>
                <a:gd name="T85" fmla="*/ 61 h 145"/>
                <a:gd name="T86" fmla="*/ 959 w 1269"/>
                <a:gd name="T87" fmla="*/ 84 h 145"/>
                <a:gd name="T88" fmla="*/ 936 w 1269"/>
                <a:gd name="T89" fmla="*/ 61 h 145"/>
                <a:gd name="T90" fmla="*/ 1008 w 1269"/>
                <a:gd name="T91" fmla="*/ 61 h 145"/>
                <a:gd name="T92" fmla="*/ 983 w 1269"/>
                <a:gd name="T93" fmla="*/ 84 h 145"/>
                <a:gd name="T94" fmla="*/ 1031 w 1269"/>
                <a:gd name="T95" fmla="*/ 61 h 145"/>
                <a:gd name="T96" fmla="*/ 1056 w 1269"/>
                <a:gd name="T97" fmla="*/ 84 h 145"/>
                <a:gd name="T98" fmla="*/ 1031 w 1269"/>
                <a:gd name="T99" fmla="*/ 61 h 145"/>
                <a:gd name="T100" fmla="*/ 1103 w 1269"/>
                <a:gd name="T101" fmla="*/ 61 h 145"/>
                <a:gd name="T102" fmla="*/ 1079 w 1269"/>
                <a:gd name="T103" fmla="*/ 84 h 145"/>
                <a:gd name="T104" fmla="*/ 1128 w 1269"/>
                <a:gd name="T105" fmla="*/ 61 h 145"/>
                <a:gd name="T106" fmla="*/ 1149 w 1269"/>
                <a:gd name="T107" fmla="*/ 84 h 145"/>
                <a:gd name="T108" fmla="*/ 1128 w 1269"/>
                <a:gd name="T109" fmla="*/ 61 h 145"/>
                <a:gd name="T110" fmla="*/ 0 w 1269"/>
                <a:gd name="T111" fmla="*/ 73 h 145"/>
                <a:gd name="T112" fmla="*/ 143 w 1269"/>
                <a:gd name="T113" fmla="*/ 145 h 145"/>
                <a:gd name="T114" fmla="*/ 1269 w 1269"/>
                <a:gd name="T115" fmla="*/ 73 h 145"/>
                <a:gd name="T116" fmla="*/ 1126 w 1269"/>
                <a:gd name="T11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69" h="145">
                  <a:moveTo>
                    <a:pt x="120" y="61"/>
                  </a:moveTo>
                  <a:lnTo>
                    <a:pt x="143" y="61"/>
                  </a:lnTo>
                  <a:lnTo>
                    <a:pt x="143" y="84"/>
                  </a:lnTo>
                  <a:lnTo>
                    <a:pt x="120" y="84"/>
                  </a:lnTo>
                  <a:lnTo>
                    <a:pt x="120" y="61"/>
                  </a:lnTo>
                  <a:close/>
                  <a:moveTo>
                    <a:pt x="168" y="61"/>
                  </a:moveTo>
                  <a:lnTo>
                    <a:pt x="191" y="61"/>
                  </a:lnTo>
                  <a:lnTo>
                    <a:pt x="191" y="84"/>
                  </a:lnTo>
                  <a:lnTo>
                    <a:pt x="168" y="84"/>
                  </a:lnTo>
                  <a:lnTo>
                    <a:pt x="168" y="61"/>
                  </a:lnTo>
                  <a:close/>
                  <a:moveTo>
                    <a:pt x="215" y="61"/>
                  </a:moveTo>
                  <a:lnTo>
                    <a:pt x="240" y="61"/>
                  </a:lnTo>
                  <a:lnTo>
                    <a:pt x="240" y="84"/>
                  </a:lnTo>
                  <a:lnTo>
                    <a:pt x="215" y="84"/>
                  </a:lnTo>
                  <a:lnTo>
                    <a:pt x="215" y="61"/>
                  </a:lnTo>
                  <a:close/>
                  <a:moveTo>
                    <a:pt x="263" y="61"/>
                  </a:moveTo>
                  <a:lnTo>
                    <a:pt x="288" y="61"/>
                  </a:lnTo>
                  <a:lnTo>
                    <a:pt x="288" y="84"/>
                  </a:lnTo>
                  <a:lnTo>
                    <a:pt x="263" y="84"/>
                  </a:lnTo>
                  <a:lnTo>
                    <a:pt x="263" y="61"/>
                  </a:lnTo>
                  <a:close/>
                  <a:moveTo>
                    <a:pt x="311" y="61"/>
                  </a:moveTo>
                  <a:lnTo>
                    <a:pt x="335" y="61"/>
                  </a:lnTo>
                  <a:lnTo>
                    <a:pt x="335" y="84"/>
                  </a:lnTo>
                  <a:lnTo>
                    <a:pt x="311" y="84"/>
                  </a:lnTo>
                  <a:lnTo>
                    <a:pt x="311" y="61"/>
                  </a:lnTo>
                  <a:close/>
                  <a:moveTo>
                    <a:pt x="360" y="61"/>
                  </a:moveTo>
                  <a:lnTo>
                    <a:pt x="383" y="61"/>
                  </a:lnTo>
                  <a:lnTo>
                    <a:pt x="383" y="84"/>
                  </a:lnTo>
                  <a:lnTo>
                    <a:pt x="360" y="84"/>
                  </a:lnTo>
                  <a:lnTo>
                    <a:pt x="360" y="61"/>
                  </a:lnTo>
                  <a:close/>
                  <a:moveTo>
                    <a:pt x="408" y="61"/>
                  </a:moveTo>
                  <a:lnTo>
                    <a:pt x="431" y="61"/>
                  </a:lnTo>
                  <a:lnTo>
                    <a:pt x="431" y="84"/>
                  </a:lnTo>
                  <a:lnTo>
                    <a:pt x="408" y="84"/>
                  </a:lnTo>
                  <a:lnTo>
                    <a:pt x="408" y="61"/>
                  </a:lnTo>
                  <a:close/>
                  <a:moveTo>
                    <a:pt x="456" y="61"/>
                  </a:moveTo>
                  <a:lnTo>
                    <a:pt x="480" y="61"/>
                  </a:lnTo>
                  <a:lnTo>
                    <a:pt x="480" y="84"/>
                  </a:lnTo>
                  <a:lnTo>
                    <a:pt x="456" y="84"/>
                  </a:lnTo>
                  <a:lnTo>
                    <a:pt x="456" y="61"/>
                  </a:lnTo>
                  <a:close/>
                  <a:moveTo>
                    <a:pt x="503" y="61"/>
                  </a:moveTo>
                  <a:lnTo>
                    <a:pt x="528" y="61"/>
                  </a:lnTo>
                  <a:lnTo>
                    <a:pt x="528" y="84"/>
                  </a:lnTo>
                  <a:lnTo>
                    <a:pt x="503" y="84"/>
                  </a:lnTo>
                  <a:lnTo>
                    <a:pt x="503" y="61"/>
                  </a:lnTo>
                  <a:close/>
                  <a:moveTo>
                    <a:pt x="551" y="61"/>
                  </a:moveTo>
                  <a:lnTo>
                    <a:pt x="576" y="61"/>
                  </a:lnTo>
                  <a:lnTo>
                    <a:pt x="576" y="84"/>
                  </a:lnTo>
                  <a:lnTo>
                    <a:pt x="551" y="84"/>
                  </a:lnTo>
                  <a:lnTo>
                    <a:pt x="551" y="61"/>
                  </a:lnTo>
                  <a:close/>
                  <a:moveTo>
                    <a:pt x="599" y="61"/>
                  </a:moveTo>
                  <a:lnTo>
                    <a:pt x="623" y="61"/>
                  </a:lnTo>
                  <a:lnTo>
                    <a:pt x="623" y="84"/>
                  </a:lnTo>
                  <a:lnTo>
                    <a:pt x="599" y="84"/>
                  </a:lnTo>
                  <a:lnTo>
                    <a:pt x="599" y="61"/>
                  </a:lnTo>
                  <a:close/>
                  <a:moveTo>
                    <a:pt x="648" y="61"/>
                  </a:moveTo>
                  <a:lnTo>
                    <a:pt x="671" y="61"/>
                  </a:lnTo>
                  <a:lnTo>
                    <a:pt x="671" y="84"/>
                  </a:lnTo>
                  <a:lnTo>
                    <a:pt x="648" y="84"/>
                  </a:lnTo>
                  <a:lnTo>
                    <a:pt x="648" y="61"/>
                  </a:lnTo>
                  <a:close/>
                  <a:moveTo>
                    <a:pt x="696" y="61"/>
                  </a:moveTo>
                  <a:lnTo>
                    <a:pt x="719" y="61"/>
                  </a:lnTo>
                  <a:lnTo>
                    <a:pt x="719" y="84"/>
                  </a:lnTo>
                  <a:lnTo>
                    <a:pt x="696" y="84"/>
                  </a:lnTo>
                  <a:lnTo>
                    <a:pt x="696" y="61"/>
                  </a:lnTo>
                  <a:close/>
                  <a:moveTo>
                    <a:pt x="743" y="61"/>
                  </a:moveTo>
                  <a:lnTo>
                    <a:pt x="768" y="61"/>
                  </a:lnTo>
                  <a:lnTo>
                    <a:pt x="768" y="84"/>
                  </a:lnTo>
                  <a:lnTo>
                    <a:pt x="743" y="84"/>
                  </a:lnTo>
                  <a:lnTo>
                    <a:pt x="743" y="61"/>
                  </a:lnTo>
                  <a:close/>
                  <a:moveTo>
                    <a:pt x="791" y="61"/>
                  </a:moveTo>
                  <a:lnTo>
                    <a:pt x="816" y="61"/>
                  </a:lnTo>
                  <a:lnTo>
                    <a:pt x="816" y="84"/>
                  </a:lnTo>
                  <a:lnTo>
                    <a:pt x="791" y="84"/>
                  </a:lnTo>
                  <a:lnTo>
                    <a:pt x="791" y="61"/>
                  </a:lnTo>
                  <a:close/>
                  <a:moveTo>
                    <a:pt x="839" y="61"/>
                  </a:moveTo>
                  <a:lnTo>
                    <a:pt x="863" y="61"/>
                  </a:lnTo>
                  <a:lnTo>
                    <a:pt x="863" y="84"/>
                  </a:lnTo>
                  <a:lnTo>
                    <a:pt x="839" y="84"/>
                  </a:lnTo>
                  <a:lnTo>
                    <a:pt x="839" y="61"/>
                  </a:lnTo>
                  <a:close/>
                  <a:moveTo>
                    <a:pt x="888" y="61"/>
                  </a:moveTo>
                  <a:lnTo>
                    <a:pt x="911" y="61"/>
                  </a:lnTo>
                  <a:lnTo>
                    <a:pt x="911" y="84"/>
                  </a:lnTo>
                  <a:lnTo>
                    <a:pt x="888" y="84"/>
                  </a:lnTo>
                  <a:lnTo>
                    <a:pt x="888" y="61"/>
                  </a:lnTo>
                  <a:close/>
                  <a:moveTo>
                    <a:pt x="936" y="61"/>
                  </a:moveTo>
                  <a:lnTo>
                    <a:pt x="959" y="61"/>
                  </a:lnTo>
                  <a:lnTo>
                    <a:pt x="959" y="84"/>
                  </a:lnTo>
                  <a:lnTo>
                    <a:pt x="936" y="84"/>
                  </a:lnTo>
                  <a:lnTo>
                    <a:pt x="936" y="61"/>
                  </a:lnTo>
                  <a:close/>
                  <a:moveTo>
                    <a:pt x="983" y="61"/>
                  </a:moveTo>
                  <a:lnTo>
                    <a:pt x="1008" y="61"/>
                  </a:lnTo>
                  <a:lnTo>
                    <a:pt x="1008" y="84"/>
                  </a:lnTo>
                  <a:lnTo>
                    <a:pt x="983" y="84"/>
                  </a:lnTo>
                  <a:lnTo>
                    <a:pt x="983" y="61"/>
                  </a:lnTo>
                  <a:close/>
                  <a:moveTo>
                    <a:pt x="1031" y="61"/>
                  </a:moveTo>
                  <a:lnTo>
                    <a:pt x="1056" y="61"/>
                  </a:lnTo>
                  <a:lnTo>
                    <a:pt x="1056" y="84"/>
                  </a:lnTo>
                  <a:lnTo>
                    <a:pt x="1031" y="84"/>
                  </a:lnTo>
                  <a:lnTo>
                    <a:pt x="1031" y="61"/>
                  </a:lnTo>
                  <a:close/>
                  <a:moveTo>
                    <a:pt x="1079" y="61"/>
                  </a:moveTo>
                  <a:lnTo>
                    <a:pt x="1103" y="61"/>
                  </a:lnTo>
                  <a:lnTo>
                    <a:pt x="1103" y="84"/>
                  </a:lnTo>
                  <a:lnTo>
                    <a:pt x="1079" y="84"/>
                  </a:lnTo>
                  <a:lnTo>
                    <a:pt x="1079" y="61"/>
                  </a:lnTo>
                  <a:close/>
                  <a:moveTo>
                    <a:pt x="1128" y="61"/>
                  </a:moveTo>
                  <a:lnTo>
                    <a:pt x="1149" y="61"/>
                  </a:lnTo>
                  <a:lnTo>
                    <a:pt x="1149" y="84"/>
                  </a:lnTo>
                  <a:lnTo>
                    <a:pt x="1128" y="84"/>
                  </a:lnTo>
                  <a:lnTo>
                    <a:pt x="1128" y="61"/>
                  </a:lnTo>
                  <a:close/>
                  <a:moveTo>
                    <a:pt x="143" y="145"/>
                  </a:moveTo>
                  <a:lnTo>
                    <a:pt x="0" y="73"/>
                  </a:lnTo>
                  <a:lnTo>
                    <a:pt x="143" y="0"/>
                  </a:lnTo>
                  <a:lnTo>
                    <a:pt x="143" y="145"/>
                  </a:lnTo>
                  <a:close/>
                  <a:moveTo>
                    <a:pt x="1126" y="0"/>
                  </a:moveTo>
                  <a:lnTo>
                    <a:pt x="1269" y="73"/>
                  </a:lnTo>
                  <a:lnTo>
                    <a:pt x="1126" y="145"/>
                  </a:lnTo>
                  <a:lnTo>
                    <a:pt x="1126" y="0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6" name="Freeform 39"/>
            <p:cNvSpPr>
              <a:spLocks noEditPoints="1"/>
            </p:cNvSpPr>
            <p:nvPr/>
          </p:nvSpPr>
          <p:spPr bwMode="auto">
            <a:xfrm>
              <a:off x="4528027" y="843901"/>
              <a:ext cx="671513" cy="85725"/>
            </a:xfrm>
            <a:custGeom>
              <a:avLst/>
              <a:gdLst>
                <a:gd name="T0" fmla="*/ 135 w 1269"/>
                <a:gd name="T1" fmla="*/ 54 h 162"/>
                <a:gd name="T2" fmla="*/ 296 w 1269"/>
                <a:gd name="T3" fmla="*/ 54 h 162"/>
                <a:gd name="T4" fmla="*/ 296 w 1269"/>
                <a:gd name="T5" fmla="*/ 109 h 162"/>
                <a:gd name="T6" fmla="*/ 135 w 1269"/>
                <a:gd name="T7" fmla="*/ 109 h 162"/>
                <a:gd name="T8" fmla="*/ 135 w 1269"/>
                <a:gd name="T9" fmla="*/ 54 h 162"/>
                <a:gd name="T10" fmla="*/ 350 w 1269"/>
                <a:gd name="T11" fmla="*/ 54 h 162"/>
                <a:gd name="T12" fmla="*/ 513 w 1269"/>
                <a:gd name="T13" fmla="*/ 54 h 162"/>
                <a:gd name="T14" fmla="*/ 513 w 1269"/>
                <a:gd name="T15" fmla="*/ 109 h 162"/>
                <a:gd name="T16" fmla="*/ 350 w 1269"/>
                <a:gd name="T17" fmla="*/ 109 h 162"/>
                <a:gd name="T18" fmla="*/ 350 w 1269"/>
                <a:gd name="T19" fmla="*/ 54 h 162"/>
                <a:gd name="T20" fmla="*/ 566 w 1269"/>
                <a:gd name="T21" fmla="*/ 54 h 162"/>
                <a:gd name="T22" fmla="*/ 728 w 1269"/>
                <a:gd name="T23" fmla="*/ 54 h 162"/>
                <a:gd name="T24" fmla="*/ 728 w 1269"/>
                <a:gd name="T25" fmla="*/ 109 h 162"/>
                <a:gd name="T26" fmla="*/ 566 w 1269"/>
                <a:gd name="T27" fmla="*/ 109 h 162"/>
                <a:gd name="T28" fmla="*/ 566 w 1269"/>
                <a:gd name="T29" fmla="*/ 54 h 162"/>
                <a:gd name="T30" fmla="*/ 783 w 1269"/>
                <a:gd name="T31" fmla="*/ 54 h 162"/>
                <a:gd name="T32" fmla="*/ 944 w 1269"/>
                <a:gd name="T33" fmla="*/ 54 h 162"/>
                <a:gd name="T34" fmla="*/ 944 w 1269"/>
                <a:gd name="T35" fmla="*/ 109 h 162"/>
                <a:gd name="T36" fmla="*/ 783 w 1269"/>
                <a:gd name="T37" fmla="*/ 109 h 162"/>
                <a:gd name="T38" fmla="*/ 783 w 1269"/>
                <a:gd name="T39" fmla="*/ 54 h 162"/>
                <a:gd name="T40" fmla="*/ 998 w 1269"/>
                <a:gd name="T41" fmla="*/ 54 h 162"/>
                <a:gd name="T42" fmla="*/ 1134 w 1269"/>
                <a:gd name="T43" fmla="*/ 54 h 162"/>
                <a:gd name="T44" fmla="*/ 1134 w 1269"/>
                <a:gd name="T45" fmla="*/ 109 h 162"/>
                <a:gd name="T46" fmla="*/ 998 w 1269"/>
                <a:gd name="T47" fmla="*/ 109 h 162"/>
                <a:gd name="T48" fmla="*/ 998 w 1269"/>
                <a:gd name="T49" fmla="*/ 54 h 162"/>
                <a:gd name="T50" fmla="*/ 161 w 1269"/>
                <a:gd name="T51" fmla="*/ 162 h 162"/>
                <a:gd name="T52" fmla="*/ 0 w 1269"/>
                <a:gd name="T53" fmla="*/ 81 h 162"/>
                <a:gd name="T54" fmla="*/ 161 w 1269"/>
                <a:gd name="T55" fmla="*/ 0 h 162"/>
                <a:gd name="T56" fmla="*/ 161 w 1269"/>
                <a:gd name="T57" fmla="*/ 162 h 162"/>
                <a:gd name="T58" fmla="*/ 1108 w 1269"/>
                <a:gd name="T59" fmla="*/ 0 h 162"/>
                <a:gd name="T60" fmla="*/ 1269 w 1269"/>
                <a:gd name="T61" fmla="*/ 81 h 162"/>
                <a:gd name="T62" fmla="*/ 1108 w 1269"/>
                <a:gd name="T63" fmla="*/ 162 h 162"/>
                <a:gd name="T64" fmla="*/ 1108 w 1269"/>
                <a:gd name="T6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9" h="162">
                  <a:moveTo>
                    <a:pt x="135" y="54"/>
                  </a:moveTo>
                  <a:lnTo>
                    <a:pt x="296" y="54"/>
                  </a:lnTo>
                  <a:lnTo>
                    <a:pt x="296" y="109"/>
                  </a:lnTo>
                  <a:lnTo>
                    <a:pt x="135" y="109"/>
                  </a:lnTo>
                  <a:lnTo>
                    <a:pt x="135" y="54"/>
                  </a:lnTo>
                  <a:close/>
                  <a:moveTo>
                    <a:pt x="350" y="54"/>
                  </a:moveTo>
                  <a:lnTo>
                    <a:pt x="513" y="54"/>
                  </a:lnTo>
                  <a:lnTo>
                    <a:pt x="513" y="109"/>
                  </a:lnTo>
                  <a:lnTo>
                    <a:pt x="350" y="109"/>
                  </a:lnTo>
                  <a:lnTo>
                    <a:pt x="350" y="54"/>
                  </a:lnTo>
                  <a:close/>
                  <a:moveTo>
                    <a:pt x="566" y="54"/>
                  </a:moveTo>
                  <a:lnTo>
                    <a:pt x="728" y="54"/>
                  </a:lnTo>
                  <a:lnTo>
                    <a:pt x="728" y="109"/>
                  </a:lnTo>
                  <a:lnTo>
                    <a:pt x="566" y="109"/>
                  </a:lnTo>
                  <a:lnTo>
                    <a:pt x="566" y="54"/>
                  </a:lnTo>
                  <a:close/>
                  <a:moveTo>
                    <a:pt x="783" y="54"/>
                  </a:moveTo>
                  <a:lnTo>
                    <a:pt x="944" y="54"/>
                  </a:lnTo>
                  <a:lnTo>
                    <a:pt x="944" y="109"/>
                  </a:lnTo>
                  <a:lnTo>
                    <a:pt x="783" y="109"/>
                  </a:lnTo>
                  <a:lnTo>
                    <a:pt x="783" y="54"/>
                  </a:lnTo>
                  <a:close/>
                  <a:moveTo>
                    <a:pt x="998" y="54"/>
                  </a:moveTo>
                  <a:lnTo>
                    <a:pt x="1134" y="54"/>
                  </a:lnTo>
                  <a:lnTo>
                    <a:pt x="1134" y="109"/>
                  </a:lnTo>
                  <a:lnTo>
                    <a:pt x="998" y="109"/>
                  </a:lnTo>
                  <a:lnTo>
                    <a:pt x="998" y="54"/>
                  </a:lnTo>
                  <a:close/>
                  <a:moveTo>
                    <a:pt x="161" y="162"/>
                  </a:moveTo>
                  <a:lnTo>
                    <a:pt x="0" y="81"/>
                  </a:lnTo>
                  <a:lnTo>
                    <a:pt x="161" y="0"/>
                  </a:lnTo>
                  <a:lnTo>
                    <a:pt x="161" y="162"/>
                  </a:lnTo>
                  <a:close/>
                  <a:moveTo>
                    <a:pt x="1108" y="0"/>
                  </a:moveTo>
                  <a:lnTo>
                    <a:pt x="1269" y="81"/>
                  </a:lnTo>
                  <a:lnTo>
                    <a:pt x="1108" y="162"/>
                  </a:lnTo>
                  <a:lnTo>
                    <a:pt x="1108" y="0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Aft>
                  <a:spcPts val="300"/>
                </a:spcAft>
              </a:pPr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7" name="Rectangle 40"/>
            <p:cNvSpPr>
              <a:spLocks noChangeArrowheads="1"/>
            </p:cNvSpPr>
            <p:nvPr/>
          </p:nvSpPr>
          <p:spPr bwMode="auto">
            <a:xfrm>
              <a:off x="5278915" y="797864"/>
              <a:ext cx="767839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en-US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xisting routes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8" name="Rectangle 41"/>
            <p:cNvSpPr>
              <a:spLocks noChangeArrowheads="1"/>
            </p:cNvSpPr>
            <p:nvPr/>
          </p:nvSpPr>
          <p:spPr bwMode="auto">
            <a:xfrm>
              <a:off x="6691790" y="797864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9" name="Rectangle 42"/>
            <p:cNvSpPr>
              <a:spLocks noChangeArrowheads="1"/>
            </p:cNvSpPr>
            <p:nvPr/>
          </p:nvSpPr>
          <p:spPr bwMode="auto">
            <a:xfrm>
              <a:off x="5278915" y="989951"/>
              <a:ext cx="2328149" cy="1550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en-US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outes under development </a:t>
              </a:r>
              <a:r>
                <a:rPr lang="ru-RU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(</a:t>
              </a:r>
              <a:r>
                <a:rPr lang="en-US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art in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0" name="Rectangle 43"/>
            <p:cNvSpPr>
              <a:spLocks noChangeArrowheads="1"/>
            </p:cNvSpPr>
            <p:nvPr/>
          </p:nvSpPr>
          <p:spPr bwMode="auto">
            <a:xfrm>
              <a:off x="7264011" y="989951"/>
              <a:ext cx="82" cy="271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1" name="Rectangle 44"/>
            <p:cNvSpPr>
              <a:spLocks noChangeArrowheads="1"/>
            </p:cNvSpPr>
            <p:nvPr/>
          </p:nvSpPr>
          <p:spPr bwMode="auto">
            <a:xfrm>
              <a:off x="7596314" y="993120"/>
              <a:ext cx="912109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 </a:t>
              </a:r>
              <a:r>
                <a:rPr lang="en-US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uarter </a:t>
              </a:r>
              <a:r>
                <a:rPr lang="ru-RU" altLang="ru-RU" sz="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14г.)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2" name="Rectangle 45"/>
            <p:cNvSpPr>
              <a:spLocks noChangeArrowheads="1"/>
            </p:cNvSpPr>
            <p:nvPr/>
          </p:nvSpPr>
          <p:spPr bwMode="auto">
            <a:xfrm>
              <a:off x="8252302" y="989951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3" name="Rectangle 46"/>
            <p:cNvSpPr>
              <a:spLocks noChangeArrowheads="1"/>
            </p:cNvSpPr>
            <p:nvPr/>
          </p:nvSpPr>
          <p:spPr bwMode="auto">
            <a:xfrm>
              <a:off x="8053865" y="1577326"/>
              <a:ext cx="33342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ussi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4" name="Rectangle 47"/>
            <p:cNvSpPr>
              <a:spLocks noChangeArrowheads="1"/>
            </p:cNvSpPr>
            <p:nvPr/>
          </p:nvSpPr>
          <p:spPr bwMode="auto">
            <a:xfrm>
              <a:off x="8376127" y="1577326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5" name="Rectangle 48"/>
            <p:cNvSpPr>
              <a:spLocks noChangeArrowheads="1"/>
            </p:cNvSpPr>
            <p:nvPr/>
          </p:nvSpPr>
          <p:spPr bwMode="auto">
            <a:xfrm>
              <a:off x="8460265" y="2563164"/>
              <a:ext cx="29976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eorgi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" name="Rectangle 49"/>
            <p:cNvSpPr>
              <a:spLocks noChangeArrowheads="1"/>
            </p:cNvSpPr>
            <p:nvPr/>
          </p:nvSpPr>
          <p:spPr bwMode="auto">
            <a:xfrm>
              <a:off x="8782527" y="2563164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" name="Rectangle 50"/>
            <p:cNvSpPr>
              <a:spLocks noChangeArrowheads="1"/>
            </p:cNvSpPr>
            <p:nvPr/>
          </p:nvSpPr>
          <p:spPr bwMode="auto">
            <a:xfrm>
              <a:off x="6725127" y="3404539"/>
              <a:ext cx="354264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urkey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8" name="Rectangle 51"/>
            <p:cNvSpPr>
              <a:spLocks noChangeArrowheads="1"/>
            </p:cNvSpPr>
            <p:nvPr/>
          </p:nvSpPr>
          <p:spPr bwMode="auto">
            <a:xfrm>
              <a:off x="7075965" y="3404539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9" name="Rectangle 52"/>
            <p:cNvSpPr>
              <a:spLocks noChangeArrowheads="1"/>
            </p:cNvSpPr>
            <p:nvPr/>
          </p:nvSpPr>
          <p:spPr bwMode="auto">
            <a:xfrm>
              <a:off x="4499452" y="2172639"/>
              <a:ext cx="423193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ulgari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0" name="Rectangle 53"/>
            <p:cNvSpPr>
              <a:spLocks noChangeArrowheads="1"/>
            </p:cNvSpPr>
            <p:nvPr/>
          </p:nvSpPr>
          <p:spPr bwMode="auto">
            <a:xfrm>
              <a:off x="4916965" y="2172639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1" name="Rectangle 54"/>
            <p:cNvSpPr>
              <a:spLocks noChangeArrowheads="1"/>
            </p:cNvSpPr>
            <p:nvPr/>
          </p:nvSpPr>
          <p:spPr bwMode="auto">
            <a:xfrm>
              <a:off x="6456840" y="1234426"/>
              <a:ext cx="294953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kraine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2" name="Rectangle 55"/>
            <p:cNvSpPr>
              <a:spLocks noChangeArrowheads="1"/>
            </p:cNvSpPr>
            <p:nvPr/>
          </p:nvSpPr>
          <p:spPr bwMode="auto">
            <a:xfrm>
              <a:off x="6777515" y="1234426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3" name="Rectangle 56"/>
            <p:cNvSpPr>
              <a:spLocks noChangeArrowheads="1"/>
            </p:cNvSpPr>
            <p:nvPr/>
          </p:nvSpPr>
          <p:spPr bwMode="auto">
            <a:xfrm>
              <a:off x="4586765" y="1361426"/>
              <a:ext cx="336631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omani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4" name="Rectangle 57"/>
            <p:cNvSpPr>
              <a:spLocks noChangeArrowheads="1"/>
            </p:cNvSpPr>
            <p:nvPr/>
          </p:nvSpPr>
          <p:spPr bwMode="auto">
            <a:xfrm>
              <a:off x="4950302" y="1361426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ts val="30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05" name="Заголовок 1"/>
          <p:cNvSpPr txBox="1">
            <a:spLocks/>
          </p:cNvSpPr>
          <p:nvPr/>
        </p:nvSpPr>
        <p:spPr>
          <a:xfrm>
            <a:off x="611560" y="3645024"/>
            <a:ext cx="3528392" cy="2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рное море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Заголовок 1"/>
          <p:cNvSpPr txBox="1">
            <a:spLocks/>
          </p:cNvSpPr>
          <p:nvPr/>
        </p:nvSpPr>
        <p:spPr>
          <a:xfrm>
            <a:off x="555807" y="1106104"/>
            <a:ext cx="3584145" cy="3066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5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алтийское море</a:t>
            </a:r>
            <a:endParaRPr lang="ru-RU" sz="10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611560" y="1412776"/>
            <a:ext cx="3533824" cy="1932570"/>
            <a:chOff x="276819" y="1488767"/>
            <a:chExt cx="3942850" cy="2156257"/>
          </a:xfrm>
        </p:grpSpPr>
        <p:pic>
          <p:nvPicPr>
            <p:cNvPr id="107" name="Picture 477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8218" y="1488768"/>
              <a:ext cx="3940053" cy="2156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" name="Rectangle 478"/>
            <p:cNvSpPr>
              <a:spLocks noChangeArrowheads="1"/>
            </p:cNvSpPr>
            <p:nvPr/>
          </p:nvSpPr>
          <p:spPr bwMode="auto">
            <a:xfrm>
              <a:off x="276819" y="1488767"/>
              <a:ext cx="3942850" cy="2156257"/>
            </a:xfrm>
            <a:prstGeom prst="rect">
              <a:avLst/>
            </a:prstGeom>
            <a:noFill/>
            <a:ln w="3175">
              <a:solidFill>
                <a:srgbClr val="9495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7" name="Группа 108"/>
            <p:cNvGrpSpPr/>
            <p:nvPr/>
          </p:nvGrpSpPr>
          <p:grpSpPr>
            <a:xfrm>
              <a:off x="2167820" y="3013157"/>
              <a:ext cx="397222" cy="250362"/>
              <a:chOff x="2209781" y="2708920"/>
              <a:chExt cx="397222" cy="250362"/>
            </a:xfrm>
          </p:grpSpPr>
          <p:grpSp>
            <p:nvGrpSpPr>
              <p:cNvPr id="8" name="Группа 110"/>
              <p:cNvGrpSpPr/>
              <p:nvPr/>
            </p:nvGrpSpPr>
            <p:grpSpPr>
              <a:xfrm flipH="1" flipV="1">
                <a:off x="2209781" y="2708920"/>
                <a:ext cx="397222" cy="250362"/>
                <a:chOff x="1746821" y="2357193"/>
                <a:chExt cx="397222" cy="250362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113" name="Freeform 479"/>
                <p:cNvSpPr>
                  <a:spLocks/>
                </p:cNvSpPr>
                <p:nvPr/>
              </p:nvSpPr>
              <p:spPr bwMode="auto">
                <a:xfrm>
                  <a:off x="2050332" y="2481675"/>
                  <a:ext cx="93711" cy="125880"/>
                </a:xfrm>
                <a:custGeom>
                  <a:avLst/>
                  <a:gdLst>
                    <a:gd name="T0" fmla="*/ 202 w 202"/>
                    <a:gd name="T1" fmla="*/ 0 h 269"/>
                    <a:gd name="T2" fmla="*/ 180 w 202"/>
                    <a:gd name="T3" fmla="*/ 0 h 269"/>
                    <a:gd name="T4" fmla="*/ 155 w 202"/>
                    <a:gd name="T5" fmla="*/ 0 h 269"/>
                    <a:gd name="T6" fmla="*/ 128 w 202"/>
                    <a:gd name="T7" fmla="*/ 0 h 269"/>
                    <a:gd name="T8" fmla="*/ 101 w 202"/>
                    <a:gd name="T9" fmla="*/ 0 h 269"/>
                    <a:gd name="T10" fmla="*/ 73 w 202"/>
                    <a:gd name="T11" fmla="*/ 0 h 269"/>
                    <a:gd name="T12" fmla="*/ 46 w 202"/>
                    <a:gd name="T13" fmla="*/ 0 h 269"/>
                    <a:gd name="T14" fmla="*/ 22 w 202"/>
                    <a:gd name="T15" fmla="*/ 0 h 269"/>
                    <a:gd name="T16" fmla="*/ 0 w 202"/>
                    <a:gd name="T17" fmla="*/ 0 h 269"/>
                    <a:gd name="T18" fmla="*/ 198 w 202"/>
                    <a:gd name="T19" fmla="*/ 269 h 269"/>
                    <a:gd name="T20" fmla="*/ 202 w 202"/>
                    <a:gd name="T21" fmla="*/ 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02" h="269">
                      <a:moveTo>
                        <a:pt x="202" y="0"/>
                      </a:moveTo>
                      <a:lnTo>
                        <a:pt x="180" y="0"/>
                      </a:lnTo>
                      <a:lnTo>
                        <a:pt x="155" y="0"/>
                      </a:lnTo>
                      <a:lnTo>
                        <a:pt x="128" y="0"/>
                      </a:lnTo>
                      <a:lnTo>
                        <a:pt x="101" y="0"/>
                      </a:lnTo>
                      <a:lnTo>
                        <a:pt x="73" y="0"/>
                      </a:lnTo>
                      <a:lnTo>
                        <a:pt x="46" y="0"/>
                      </a:lnTo>
                      <a:lnTo>
                        <a:pt x="22" y="0"/>
                      </a:lnTo>
                      <a:lnTo>
                        <a:pt x="0" y="0"/>
                      </a:lnTo>
                      <a:lnTo>
                        <a:pt x="198" y="269"/>
                      </a:lnTo>
                      <a:lnTo>
                        <a:pt x="20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14" name="Rectangle 480"/>
                <p:cNvSpPr>
                  <a:spLocks noChangeArrowheads="1"/>
                </p:cNvSpPr>
                <p:nvPr/>
              </p:nvSpPr>
              <p:spPr bwMode="auto">
                <a:xfrm>
                  <a:off x="1746821" y="2357193"/>
                  <a:ext cx="395824" cy="15665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sp>
            <p:nvSpPr>
              <p:cNvPr id="112" name="Rectangle 481"/>
              <p:cNvSpPr>
                <a:spLocks noChangeArrowheads="1"/>
              </p:cNvSpPr>
              <p:nvPr/>
            </p:nvSpPr>
            <p:spPr bwMode="auto">
              <a:xfrm>
                <a:off x="2231460" y="2811772"/>
                <a:ext cx="299762" cy="769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altLang="ru-RU" sz="500" b="1" dirty="0" err="1" smtClean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Zassnits</a:t>
                </a:r>
                <a:endParaRPr lang="ru-RU" altLang="ru-RU" sz="1400" dirty="0" smtClean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115" name="Rectangle 482"/>
            <p:cNvSpPr>
              <a:spLocks noChangeArrowheads="1"/>
            </p:cNvSpPr>
            <p:nvPr/>
          </p:nvSpPr>
          <p:spPr bwMode="auto">
            <a:xfrm>
              <a:off x="2099286" y="2825896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6" name="Freeform 483"/>
            <p:cNvSpPr>
              <a:spLocks/>
            </p:cNvSpPr>
            <p:nvPr/>
          </p:nvSpPr>
          <p:spPr bwMode="auto">
            <a:xfrm>
              <a:off x="4021058" y="1811860"/>
              <a:ext cx="93711" cy="125880"/>
            </a:xfrm>
            <a:custGeom>
              <a:avLst/>
              <a:gdLst>
                <a:gd name="T0" fmla="*/ 202 w 202"/>
                <a:gd name="T1" fmla="*/ 0 h 269"/>
                <a:gd name="T2" fmla="*/ 180 w 202"/>
                <a:gd name="T3" fmla="*/ 0 h 269"/>
                <a:gd name="T4" fmla="*/ 156 w 202"/>
                <a:gd name="T5" fmla="*/ 0 h 269"/>
                <a:gd name="T6" fmla="*/ 129 w 202"/>
                <a:gd name="T7" fmla="*/ 0 h 269"/>
                <a:gd name="T8" fmla="*/ 102 w 202"/>
                <a:gd name="T9" fmla="*/ 0 h 269"/>
                <a:gd name="T10" fmla="*/ 73 w 202"/>
                <a:gd name="T11" fmla="*/ 0 h 269"/>
                <a:gd name="T12" fmla="*/ 46 w 202"/>
                <a:gd name="T13" fmla="*/ 0 h 269"/>
                <a:gd name="T14" fmla="*/ 22 w 202"/>
                <a:gd name="T15" fmla="*/ 0 h 269"/>
                <a:gd name="T16" fmla="*/ 0 w 202"/>
                <a:gd name="T17" fmla="*/ 0 h 269"/>
                <a:gd name="T18" fmla="*/ 198 w 202"/>
                <a:gd name="T19" fmla="*/ 269 h 269"/>
                <a:gd name="T20" fmla="*/ 202 w 202"/>
                <a:gd name="T21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2" h="269">
                  <a:moveTo>
                    <a:pt x="202" y="0"/>
                  </a:moveTo>
                  <a:lnTo>
                    <a:pt x="180" y="0"/>
                  </a:lnTo>
                  <a:lnTo>
                    <a:pt x="156" y="0"/>
                  </a:lnTo>
                  <a:lnTo>
                    <a:pt x="129" y="0"/>
                  </a:lnTo>
                  <a:lnTo>
                    <a:pt x="102" y="0"/>
                  </a:lnTo>
                  <a:lnTo>
                    <a:pt x="73" y="0"/>
                  </a:lnTo>
                  <a:lnTo>
                    <a:pt x="46" y="0"/>
                  </a:lnTo>
                  <a:lnTo>
                    <a:pt x="22" y="0"/>
                  </a:lnTo>
                  <a:lnTo>
                    <a:pt x="0" y="0"/>
                  </a:lnTo>
                  <a:lnTo>
                    <a:pt x="198" y="269"/>
                  </a:lnTo>
                  <a:lnTo>
                    <a:pt x="20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7" name="Rectangle 484"/>
            <p:cNvSpPr>
              <a:spLocks noChangeArrowheads="1"/>
            </p:cNvSpPr>
            <p:nvPr/>
          </p:nvSpPr>
          <p:spPr bwMode="auto">
            <a:xfrm>
              <a:off x="3672789" y="1687378"/>
              <a:ext cx="444778" cy="1580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8" name="Rectangle 485"/>
            <p:cNvSpPr>
              <a:spLocks noChangeArrowheads="1"/>
            </p:cNvSpPr>
            <p:nvPr/>
          </p:nvSpPr>
          <p:spPr bwMode="auto">
            <a:xfrm>
              <a:off x="3710667" y="1723744"/>
              <a:ext cx="322204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500" b="1" dirty="0" err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st</a:t>
              </a:r>
              <a:r>
                <a:rPr lang="en-US" altLang="ru-RU" sz="500" b="1" dirty="0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-</a:t>
              </a:r>
              <a:r>
                <a:rPr lang="en-US" altLang="ru-RU" sz="500" b="1" dirty="0" err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uga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9" name="Freeform 489"/>
            <p:cNvSpPr>
              <a:spLocks/>
            </p:cNvSpPr>
            <p:nvPr/>
          </p:nvSpPr>
          <p:spPr bwMode="auto">
            <a:xfrm>
              <a:off x="2948278" y="2820301"/>
              <a:ext cx="93711" cy="125880"/>
            </a:xfrm>
            <a:custGeom>
              <a:avLst/>
              <a:gdLst>
                <a:gd name="T0" fmla="*/ 0 w 203"/>
                <a:gd name="T1" fmla="*/ 0 h 270"/>
                <a:gd name="T2" fmla="*/ 21 w 203"/>
                <a:gd name="T3" fmla="*/ 0 h 270"/>
                <a:gd name="T4" fmla="*/ 46 w 203"/>
                <a:gd name="T5" fmla="*/ 0 h 270"/>
                <a:gd name="T6" fmla="*/ 73 w 203"/>
                <a:gd name="T7" fmla="*/ 0 h 270"/>
                <a:gd name="T8" fmla="*/ 101 w 203"/>
                <a:gd name="T9" fmla="*/ 0 h 270"/>
                <a:gd name="T10" fmla="*/ 129 w 203"/>
                <a:gd name="T11" fmla="*/ 0 h 270"/>
                <a:gd name="T12" fmla="*/ 155 w 203"/>
                <a:gd name="T13" fmla="*/ 0 h 270"/>
                <a:gd name="T14" fmla="*/ 180 w 203"/>
                <a:gd name="T15" fmla="*/ 1 h 270"/>
                <a:gd name="T16" fmla="*/ 203 w 203"/>
                <a:gd name="T17" fmla="*/ 1 h 270"/>
                <a:gd name="T18" fmla="*/ 5 w 203"/>
                <a:gd name="T19" fmla="*/ 270 h 270"/>
                <a:gd name="T20" fmla="*/ 0 w 203"/>
                <a:gd name="T21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" h="270">
                  <a:moveTo>
                    <a:pt x="0" y="0"/>
                  </a:moveTo>
                  <a:lnTo>
                    <a:pt x="21" y="0"/>
                  </a:lnTo>
                  <a:lnTo>
                    <a:pt x="46" y="0"/>
                  </a:lnTo>
                  <a:lnTo>
                    <a:pt x="73" y="0"/>
                  </a:lnTo>
                  <a:lnTo>
                    <a:pt x="101" y="0"/>
                  </a:lnTo>
                  <a:lnTo>
                    <a:pt x="129" y="0"/>
                  </a:lnTo>
                  <a:lnTo>
                    <a:pt x="155" y="0"/>
                  </a:lnTo>
                  <a:lnTo>
                    <a:pt x="180" y="1"/>
                  </a:lnTo>
                  <a:lnTo>
                    <a:pt x="203" y="1"/>
                  </a:lnTo>
                  <a:lnTo>
                    <a:pt x="5" y="2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0" name="Rectangle 490"/>
            <p:cNvSpPr>
              <a:spLocks noChangeArrowheads="1"/>
            </p:cNvSpPr>
            <p:nvPr/>
          </p:nvSpPr>
          <p:spPr bwMode="auto">
            <a:xfrm>
              <a:off x="2948277" y="2693022"/>
              <a:ext cx="432189" cy="15665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1" name="Rectangle 491"/>
            <p:cNvSpPr>
              <a:spLocks noChangeArrowheads="1"/>
            </p:cNvSpPr>
            <p:nvPr/>
          </p:nvSpPr>
          <p:spPr bwMode="auto">
            <a:xfrm>
              <a:off x="3000029" y="2729387"/>
              <a:ext cx="288541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altiysk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2" name="Rectangle 492"/>
            <p:cNvSpPr>
              <a:spLocks noChangeArrowheads="1"/>
            </p:cNvSpPr>
            <p:nvPr/>
          </p:nvSpPr>
          <p:spPr bwMode="auto">
            <a:xfrm>
              <a:off x="3290952" y="2729387"/>
              <a:ext cx="22442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500" b="1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3" name="Rectangle 496"/>
            <p:cNvSpPr>
              <a:spLocks noChangeArrowheads="1"/>
            </p:cNvSpPr>
            <p:nvPr/>
          </p:nvSpPr>
          <p:spPr bwMode="auto">
            <a:xfrm>
              <a:off x="1599961" y="3281862"/>
              <a:ext cx="471283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ermany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4" name="Rectangle 497"/>
            <p:cNvSpPr>
              <a:spLocks noChangeArrowheads="1"/>
            </p:cNvSpPr>
            <p:nvPr/>
          </p:nvSpPr>
          <p:spPr bwMode="auto">
            <a:xfrm>
              <a:off x="2011169" y="3281862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Rectangle 498"/>
            <p:cNvSpPr>
              <a:spLocks noChangeArrowheads="1"/>
            </p:cNvSpPr>
            <p:nvPr/>
          </p:nvSpPr>
          <p:spPr bwMode="auto">
            <a:xfrm>
              <a:off x="3853218" y="2112574"/>
              <a:ext cx="33342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ussia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Rectangle 499"/>
            <p:cNvSpPr>
              <a:spLocks noChangeArrowheads="1"/>
            </p:cNvSpPr>
            <p:nvPr/>
          </p:nvSpPr>
          <p:spPr bwMode="auto">
            <a:xfrm>
              <a:off x="4134350" y="2112574"/>
              <a:ext cx="36870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80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Rectangle 500"/>
            <p:cNvSpPr>
              <a:spLocks noChangeArrowheads="1"/>
            </p:cNvSpPr>
            <p:nvPr/>
          </p:nvSpPr>
          <p:spPr bwMode="auto">
            <a:xfrm>
              <a:off x="2586023" y="3151786"/>
              <a:ext cx="256480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oland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Rectangle 501"/>
            <p:cNvSpPr>
              <a:spLocks noChangeArrowheads="1"/>
            </p:cNvSpPr>
            <p:nvPr/>
          </p:nvSpPr>
          <p:spPr bwMode="auto">
            <a:xfrm>
              <a:off x="2834986" y="3151786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Rectangle 502"/>
            <p:cNvSpPr>
              <a:spLocks noChangeArrowheads="1"/>
            </p:cNvSpPr>
            <p:nvPr/>
          </p:nvSpPr>
          <p:spPr bwMode="auto">
            <a:xfrm>
              <a:off x="3226613" y="2568540"/>
              <a:ext cx="147476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at.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Rectangle 503"/>
            <p:cNvSpPr>
              <a:spLocks noChangeArrowheads="1"/>
            </p:cNvSpPr>
            <p:nvPr/>
          </p:nvSpPr>
          <p:spPr bwMode="auto">
            <a:xfrm>
              <a:off x="3358088" y="2568540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Rectangle 504"/>
            <p:cNvSpPr>
              <a:spLocks noChangeArrowheads="1"/>
            </p:cNvSpPr>
            <p:nvPr/>
          </p:nvSpPr>
          <p:spPr bwMode="auto">
            <a:xfrm>
              <a:off x="3509145" y="2147541"/>
              <a:ext cx="145874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st.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Rectangle 505"/>
            <p:cNvSpPr>
              <a:spLocks noChangeArrowheads="1"/>
            </p:cNvSpPr>
            <p:nvPr/>
          </p:nvSpPr>
          <p:spPr bwMode="auto">
            <a:xfrm>
              <a:off x="3639221" y="2147541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Rectangle 506"/>
            <p:cNvSpPr>
              <a:spLocks noChangeArrowheads="1"/>
            </p:cNvSpPr>
            <p:nvPr/>
          </p:nvSpPr>
          <p:spPr bwMode="auto">
            <a:xfrm>
              <a:off x="3276966" y="2919607"/>
              <a:ext cx="169918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uth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5" name="Rectangle 507"/>
            <p:cNvSpPr>
              <a:spLocks noChangeArrowheads="1"/>
            </p:cNvSpPr>
            <p:nvPr/>
          </p:nvSpPr>
          <p:spPr bwMode="auto">
            <a:xfrm>
              <a:off x="3436414" y="2919607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6" name="Rectangle 508"/>
            <p:cNvSpPr>
              <a:spLocks noChangeArrowheads="1"/>
            </p:cNvSpPr>
            <p:nvPr/>
          </p:nvSpPr>
          <p:spPr bwMode="auto">
            <a:xfrm>
              <a:off x="3458793" y="2919607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7" name="Rectangle 509"/>
            <p:cNvSpPr>
              <a:spLocks noChangeArrowheads="1"/>
            </p:cNvSpPr>
            <p:nvPr/>
          </p:nvSpPr>
          <p:spPr bwMode="auto">
            <a:xfrm>
              <a:off x="3857414" y="3459493"/>
              <a:ext cx="286938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larus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8" name="Rectangle 510"/>
            <p:cNvSpPr>
              <a:spLocks noChangeArrowheads="1"/>
            </p:cNvSpPr>
            <p:nvPr/>
          </p:nvSpPr>
          <p:spPr bwMode="auto">
            <a:xfrm>
              <a:off x="4123161" y="3459493"/>
              <a:ext cx="27252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600" smtClean="0">
                  <a:solidFill>
                    <a:srgbClr val="949595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ru-RU" altLang="ru-RU" sz="140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9" name="Группа 138"/>
            <p:cNvGrpSpPr/>
            <p:nvPr/>
          </p:nvGrpSpPr>
          <p:grpSpPr>
            <a:xfrm>
              <a:off x="1401350" y="2730904"/>
              <a:ext cx="397222" cy="250362"/>
              <a:chOff x="1746821" y="2357193"/>
              <a:chExt cx="397222" cy="250362"/>
            </a:xfrm>
            <a:solidFill>
              <a:schemeClr val="tx1"/>
            </a:solidFill>
          </p:grpSpPr>
          <p:sp>
            <p:nvSpPr>
              <p:cNvPr id="140" name="Freeform 479"/>
              <p:cNvSpPr>
                <a:spLocks/>
              </p:cNvSpPr>
              <p:nvPr/>
            </p:nvSpPr>
            <p:spPr bwMode="auto">
              <a:xfrm>
                <a:off x="2050332" y="2481675"/>
                <a:ext cx="93711" cy="125880"/>
              </a:xfrm>
              <a:custGeom>
                <a:avLst/>
                <a:gdLst>
                  <a:gd name="T0" fmla="*/ 202 w 202"/>
                  <a:gd name="T1" fmla="*/ 0 h 269"/>
                  <a:gd name="T2" fmla="*/ 180 w 202"/>
                  <a:gd name="T3" fmla="*/ 0 h 269"/>
                  <a:gd name="T4" fmla="*/ 155 w 202"/>
                  <a:gd name="T5" fmla="*/ 0 h 269"/>
                  <a:gd name="T6" fmla="*/ 128 w 202"/>
                  <a:gd name="T7" fmla="*/ 0 h 269"/>
                  <a:gd name="T8" fmla="*/ 101 w 202"/>
                  <a:gd name="T9" fmla="*/ 0 h 269"/>
                  <a:gd name="T10" fmla="*/ 73 w 202"/>
                  <a:gd name="T11" fmla="*/ 0 h 269"/>
                  <a:gd name="T12" fmla="*/ 46 w 202"/>
                  <a:gd name="T13" fmla="*/ 0 h 269"/>
                  <a:gd name="T14" fmla="*/ 22 w 202"/>
                  <a:gd name="T15" fmla="*/ 0 h 269"/>
                  <a:gd name="T16" fmla="*/ 0 w 202"/>
                  <a:gd name="T17" fmla="*/ 0 h 269"/>
                  <a:gd name="T18" fmla="*/ 198 w 202"/>
                  <a:gd name="T19" fmla="*/ 269 h 269"/>
                  <a:gd name="T20" fmla="*/ 202 w 202"/>
                  <a:gd name="T21" fmla="*/ 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2" h="269">
                    <a:moveTo>
                      <a:pt x="202" y="0"/>
                    </a:moveTo>
                    <a:lnTo>
                      <a:pt x="180" y="0"/>
                    </a:lnTo>
                    <a:lnTo>
                      <a:pt x="155" y="0"/>
                    </a:lnTo>
                    <a:lnTo>
                      <a:pt x="128" y="0"/>
                    </a:lnTo>
                    <a:lnTo>
                      <a:pt x="101" y="0"/>
                    </a:lnTo>
                    <a:lnTo>
                      <a:pt x="73" y="0"/>
                    </a:lnTo>
                    <a:lnTo>
                      <a:pt x="46" y="0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198" y="269"/>
                    </a:lnTo>
                    <a:lnTo>
                      <a:pt x="20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1" name="Rectangle 480"/>
              <p:cNvSpPr>
                <a:spLocks noChangeArrowheads="1"/>
              </p:cNvSpPr>
              <p:nvPr/>
            </p:nvSpPr>
            <p:spPr bwMode="auto">
              <a:xfrm>
                <a:off x="1746821" y="2357193"/>
                <a:ext cx="395824" cy="1566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142" name="Rectangle 481"/>
            <p:cNvSpPr>
              <a:spLocks noChangeArrowheads="1"/>
            </p:cNvSpPr>
            <p:nvPr/>
          </p:nvSpPr>
          <p:spPr bwMode="auto">
            <a:xfrm>
              <a:off x="1539751" y="2767270"/>
              <a:ext cx="137858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ru-RU" sz="500" b="1" dirty="0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iel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0" name="Группа 142"/>
            <p:cNvGrpSpPr/>
            <p:nvPr/>
          </p:nvGrpSpPr>
          <p:grpSpPr>
            <a:xfrm flipV="1">
              <a:off x="1639480" y="3046383"/>
              <a:ext cx="397222" cy="245671"/>
              <a:chOff x="1746821" y="2357193"/>
              <a:chExt cx="397222" cy="250362"/>
            </a:xfrm>
            <a:solidFill>
              <a:schemeClr val="tx1"/>
            </a:solidFill>
          </p:grpSpPr>
          <p:sp>
            <p:nvSpPr>
              <p:cNvPr id="144" name="Freeform 479"/>
              <p:cNvSpPr>
                <a:spLocks/>
              </p:cNvSpPr>
              <p:nvPr/>
            </p:nvSpPr>
            <p:spPr bwMode="auto">
              <a:xfrm>
                <a:off x="2050332" y="2481675"/>
                <a:ext cx="93711" cy="125880"/>
              </a:xfrm>
              <a:custGeom>
                <a:avLst/>
                <a:gdLst>
                  <a:gd name="T0" fmla="*/ 202 w 202"/>
                  <a:gd name="T1" fmla="*/ 0 h 269"/>
                  <a:gd name="T2" fmla="*/ 180 w 202"/>
                  <a:gd name="T3" fmla="*/ 0 h 269"/>
                  <a:gd name="T4" fmla="*/ 155 w 202"/>
                  <a:gd name="T5" fmla="*/ 0 h 269"/>
                  <a:gd name="T6" fmla="*/ 128 w 202"/>
                  <a:gd name="T7" fmla="*/ 0 h 269"/>
                  <a:gd name="T8" fmla="*/ 101 w 202"/>
                  <a:gd name="T9" fmla="*/ 0 h 269"/>
                  <a:gd name="T10" fmla="*/ 73 w 202"/>
                  <a:gd name="T11" fmla="*/ 0 h 269"/>
                  <a:gd name="T12" fmla="*/ 46 w 202"/>
                  <a:gd name="T13" fmla="*/ 0 h 269"/>
                  <a:gd name="T14" fmla="*/ 22 w 202"/>
                  <a:gd name="T15" fmla="*/ 0 h 269"/>
                  <a:gd name="T16" fmla="*/ 0 w 202"/>
                  <a:gd name="T17" fmla="*/ 0 h 269"/>
                  <a:gd name="T18" fmla="*/ 198 w 202"/>
                  <a:gd name="T19" fmla="*/ 269 h 269"/>
                  <a:gd name="T20" fmla="*/ 202 w 202"/>
                  <a:gd name="T21" fmla="*/ 0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2" h="269">
                    <a:moveTo>
                      <a:pt x="202" y="0"/>
                    </a:moveTo>
                    <a:lnTo>
                      <a:pt x="180" y="0"/>
                    </a:lnTo>
                    <a:lnTo>
                      <a:pt x="155" y="0"/>
                    </a:lnTo>
                    <a:lnTo>
                      <a:pt x="128" y="0"/>
                    </a:lnTo>
                    <a:lnTo>
                      <a:pt x="101" y="0"/>
                    </a:lnTo>
                    <a:lnTo>
                      <a:pt x="73" y="0"/>
                    </a:lnTo>
                    <a:lnTo>
                      <a:pt x="46" y="0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198" y="269"/>
                    </a:lnTo>
                    <a:lnTo>
                      <a:pt x="20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45" name="Rectangle 480"/>
              <p:cNvSpPr>
                <a:spLocks noChangeArrowheads="1"/>
              </p:cNvSpPr>
              <p:nvPr/>
            </p:nvSpPr>
            <p:spPr bwMode="auto">
              <a:xfrm>
                <a:off x="1746821" y="2357193"/>
                <a:ext cx="395824" cy="15665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0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146" name="Rectangle 481"/>
            <p:cNvSpPr>
              <a:spLocks noChangeArrowheads="1"/>
            </p:cNvSpPr>
            <p:nvPr/>
          </p:nvSpPr>
          <p:spPr bwMode="auto">
            <a:xfrm>
              <a:off x="1659137" y="3165073"/>
              <a:ext cx="285335" cy="76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ru-RU" sz="500" b="1" dirty="0" smtClean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ostock</a:t>
              </a:r>
              <a:endParaRPr lang="ru-RU" alt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7" name="Полилиния 146"/>
            <p:cNvSpPr/>
            <p:nvPr/>
          </p:nvSpPr>
          <p:spPr>
            <a:xfrm>
              <a:off x="1834227" y="1905384"/>
              <a:ext cx="2116154" cy="1060174"/>
            </a:xfrm>
            <a:custGeom>
              <a:avLst/>
              <a:gdLst>
                <a:gd name="connsiteX0" fmla="*/ 0 w 339394"/>
                <a:gd name="connsiteY0" fmla="*/ 8415 h 14024"/>
                <a:gd name="connsiteX1" fmla="*/ 86952 w 339394"/>
                <a:gd name="connsiteY1" fmla="*/ 11220 h 14024"/>
                <a:gd name="connsiteX2" fmla="*/ 109391 w 339394"/>
                <a:gd name="connsiteY2" fmla="*/ 14024 h 14024"/>
                <a:gd name="connsiteX3" fmla="*/ 305735 w 339394"/>
                <a:gd name="connsiteY3" fmla="*/ 11220 h 14024"/>
                <a:gd name="connsiteX4" fmla="*/ 325369 w 339394"/>
                <a:gd name="connsiteY4" fmla="*/ 8415 h 14024"/>
                <a:gd name="connsiteX5" fmla="*/ 333784 w 339394"/>
                <a:gd name="connsiteY5" fmla="*/ 2805 h 14024"/>
                <a:gd name="connsiteX6" fmla="*/ 339394 w 339394"/>
                <a:gd name="connsiteY6" fmla="*/ 0 h 14024"/>
                <a:gd name="connsiteX0" fmla="*/ 0 w 353396"/>
                <a:gd name="connsiteY0" fmla="*/ 12785 h 14024"/>
                <a:gd name="connsiteX1" fmla="*/ 100954 w 353396"/>
                <a:gd name="connsiteY1" fmla="*/ 11220 h 14024"/>
                <a:gd name="connsiteX2" fmla="*/ 123393 w 353396"/>
                <a:gd name="connsiteY2" fmla="*/ 14024 h 14024"/>
                <a:gd name="connsiteX3" fmla="*/ 319737 w 353396"/>
                <a:gd name="connsiteY3" fmla="*/ 11220 h 14024"/>
                <a:gd name="connsiteX4" fmla="*/ 339371 w 353396"/>
                <a:gd name="connsiteY4" fmla="*/ 8415 h 14024"/>
                <a:gd name="connsiteX5" fmla="*/ 347786 w 353396"/>
                <a:gd name="connsiteY5" fmla="*/ 2805 h 14024"/>
                <a:gd name="connsiteX6" fmla="*/ 353396 w 353396"/>
                <a:gd name="connsiteY6" fmla="*/ 0 h 14024"/>
                <a:gd name="connsiteX0" fmla="*/ 0 w 353396"/>
                <a:gd name="connsiteY0" fmla="*/ 12785 h 14119"/>
                <a:gd name="connsiteX1" fmla="*/ 33536 w 353396"/>
                <a:gd name="connsiteY1" fmla="*/ 13405 h 14119"/>
                <a:gd name="connsiteX2" fmla="*/ 123393 w 353396"/>
                <a:gd name="connsiteY2" fmla="*/ 14024 h 14119"/>
                <a:gd name="connsiteX3" fmla="*/ 319737 w 353396"/>
                <a:gd name="connsiteY3" fmla="*/ 11220 h 14119"/>
                <a:gd name="connsiteX4" fmla="*/ 339371 w 353396"/>
                <a:gd name="connsiteY4" fmla="*/ 8415 h 14119"/>
                <a:gd name="connsiteX5" fmla="*/ 347786 w 353396"/>
                <a:gd name="connsiteY5" fmla="*/ 2805 h 14119"/>
                <a:gd name="connsiteX6" fmla="*/ 353396 w 353396"/>
                <a:gd name="connsiteY6" fmla="*/ 0 h 14119"/>
                <a:gd name="connsiteX0" fmla="*/ 0 w 353396"/>
                <a:gd name="connsiteY0" fmla="*/ 12785 h 13525"/>
                <a:gd name="connsiteX1" fmla="*/ 33536 w 353396"/>
                <a:gd name="connsiteY1" fmla="*/ 13405 h 13525"/>
                <a:gd name="connsiteX2" fmla="*/ 125986 w 353396"/>
                <a:gd name="connsiteY2" fmla="*/ 10200 h 13525"/>
                <a:gd name="connsiteX3" fmla="*/ 319737 w 353396"/>
                <a:gd name="connsiteY3" fmla="*/ 11220 h 13525"/>
                <a:gd name="connsiteX4" fmla="*/ 339371 w 353396"/>
                <a:gd name="connsiteY4" fmla="*/ 8415 h 13525"/>
                <a:gd name="connsiteX5" fmla="*/ 347786 w 353396"/>
                <a:gd name="connsiteY5" fmla="*/ 2805 h 13525"/>
                <a:gd name="connsiteX6" fmla="*/ 353396 w 353396"/>
                <a:gd name="connsiteY6" fmla="*/ 0 h 13525"/>
                <a:gd name="connsiteX0" fmla="*/ 0 w 353396"/>
                <a:gd name="connsiteY0" fmla="*/ 17347 h 18087"/>
                <a:gd name="connsiteX1" fmla="*/ 33536 w 353396"/>
                <a:gd name="connsiteY1" fmla="*/ 17967 h 18087"/>
                <a:gd name="connsiteX2" fmla="*/ 125986 w 353396"/>
                <a:gd name="connsiteY2" fmla="*/ 14762 h 18087"/>
                <a:gd name="connsiteX3" fmla="*/ 195274 w 353396"/>
                <a:gd name="connsiteY3" fmla="*/ 49 h 18087"/>
                <a:gd name="connsiteX4" fmla="*/ 339371 w 353396"/>
                <a:gd name="connsiteY4" fmla="*/ 12977 h 18087"/>
                <a:gd name="connsiteX5" fmla="*/ 347786 w 353396"/>
                <a:gd name="connsiteY5" fmla="*/ 7367 h 18087"/>
                <a:gd name="connsiteX6" fmla="*/ 353396 w 353396"/>
                <a:gd name="connsiteY6" fmla="*/ 4562 h 18087"/>
                <a:gd name="connsiteX0" fmla="*/ 0 w 355176"/>
                <a:gd name="connsiteY0" fmla="*/ 36873 h 37613"/>
                <a:gd name="connsiteX1" fmla="*/ 33536 w 355176"/>
                <a:gd name="connsiteY1" fmla="*/ 37493 h 37613"/>
                <a:gd name="connsiteX2" fmla="*/ 125986 w 355176"/>
                <a:gd name="connsiteY2" fmla="*/ 34288 h 37613"/>
                <a:gd name="connsiteX3" fmla="*/ 195274 w 355176"/>
                <a:gd name="connsiteY3" fmla="*/ 19575 h 37613"/>
                <a:gd name="connsiteX4" fmla="*/ 270916 w 355176"/>
                <a:gd name="connsiteY4" fmla="*/ 54 h 37613"/>
                <a:gd name="connsiteX5" fmla="*/ 347786 w 355176"/>
                <a:gd name="connsiteY5" fmla="*/ 26893 h 37613"/>
                <a:gd name="connsiteX6" fmla="*/ 353396 w 355176"/>
                <a:gd name="connsiteY6" fmla="*/ 24088 h 37613"/>
                <a:gd name="connsiteX0" fmla="*/ 0 w 353396"/>
                <a:gd name="connsiteY0" fmla="*/ 41561 h 42301"/>
                <a:gd name="connsiteX1" fmla="*/ 33536 w 353396"/>
                <a:gd name="connsiteY1" fmla="*/ 42181 h 42301"/>
                <a:gd name="connsiteX2" fmla="*/ 125986 w 353396"/>
                <a:gd name="connsiteY2" fmla="*/ 38976 h 42301"/>
                <a:gd name="connsiteX3" fmla="*/ 195274 w 353396"/>
                <a:gd name="connsiteY3" fmla="*/ 24263 h 42301"/>
                <a:gd name="connsiteX4" fmla="*/ 270916 w 353396"/>
                <a:gd name="connsiteY4" fmla="*/ 4742 h 42301"/>
                <a:gd name="connsiteX5" fmla="*/ 340526 w 353396"/>
                <a:gd name="connsiteY5" fmla="*/ 1864 h 42301"/>
                <a:gd name="connsiteX6" fmla="*/ 353396 w 353396"/>
                <a:gd name="connsiteY6" fmla="*/ 28776 h 42301"/>
                <a:gd name="connsiteX0" fmla="*/ 0 w 411997"/>
                <a:gd name="connsiteY0" fmla="*/ 40645 h 41385"/>
                <a:gd name="connsiteX1" fmla="*/ 33536 w 411997"/>
                <a:gd name="connsiteY1" fmla="*/ 41265 h 41385"/>
                <a:gd name="connsiteX2" fmla="*/ 125986 w 411997"/>
                <a:gd name="connsiteY2" fmla="*/ 38060 h 41385"/>
                <a:gd name="connsiteX3" fmla="*/ 195274 w 411997"/>
                <a:gd name="connsiteY3" fmla="*/ 23347 h 41385"/>
                <a:gd name="connsiteX4" fmla="*/ 270916 w 411997"/>
                <a:gd name="connsiteY4" fmla="*/ 3826 h 41385"/>
                <a:gd name="connsiteX5" fmla="*/ 340526 w 411997"/>
                <a:gd name="connsiteY5" fmla="*/ 948 h 41385"/>
                <a:gd name="connsiteX6" fmla="*/ 411997 w 411997"/>
                <a:gd name="connsiteY6" fmla="*/ 0 h 41385"/>
                <a:gd name="connsiteX0" fmla="*/ 0 w 411997"/>
                <a:gd name="connsiteY0" fmla="*/ 40839 h 41579"/>
                <a:gd name="connsiteX1" fmla="*/ 33536 w 411997"/>
                <a:gd name="connsiteY1" fmla="*/ 41459 h 41579"/>
                <a:gd name="connsiteX2" fmla="*/ 125986 w 411997"/>
                <a:gd name="connsiteY2" fmla="*/ 38254 h 41579"/>
                <a:gd name="connsiteX3" fmla="*/ 195274 w 411997"/>
                <a:gd name="connsiteY3" fmla="*/ 23541 h 41579"/>
                <a:gd name="connsiteX4" fmla="*/ 270916 w 411997"/>
                <a:gd name="connsiteY4" fmla="*/ 4020 h 41579"/>
                <a:gd name="connsiteX5" fmla="*/ 340526 w 411997"/>
                <a:gd name="connsiteY5" fmla="*/ 1142 h 41579"/>
                <a:gd name="connsiteX6" fmla="*/ 411997 w 411997"/>
                <a:gd name="connsiteY6" fmla="*/ 194 h 41579"/>
                <a:gd name="connsiteX0" fmla="*/ 0 w 420813"/>
                <a:gd name="connsiteY0" fmla="*/ 40220 h 40960"/>
                <a:gd name="connsiteX1" fmla="*/ 33536 w 420813"/>
                <a:gd name="connsiteY1" fmla="*/ 40840 h 40960"/>
                <a:gd name="connsiteX2" fmla="*/ 125986 w 420813"/>
                <a:gd name="connsiteY2" fmla="*/ 37635 h 40960"/>
                <a:gd name="connsiteX3" fmla="*/ 195274 w 420813"/>
                <a:gd name="connsiteY3" fmla="*/ 22922 h 40960"/>
                <a:gd name="connsiteX4" fmla="*/ 270916 w 420813"/>
                <a:gd name="connsiteY4" fmla="*/ 3401 h 40960"/>
                <a:gd name="connsiteX5" fmla="*/ 340526 w 420813"/>
                <a:gd name="connsiteY5" fmla="*/ 523 h 40960"/>
                <a:gd name="connsiteX6" fmla="*/ 420813 w 420813"/>
                <a:gd name="connsiteY6" fmla="*/ 340 h 40960"/>
                <a:gd name="connsiteX0" fmla="*/ 0 w 398513"/>
                <a:gd name="connsiteY0" fmla="*/ 41543 h 42283"/>
                <a:gd name="connsiteX1" fmla="*/ 33536 w 398513"/>
                <a:gd name="connsiteY1" fmla="*/ 42163 h 42283"/>
                <a:gd name="connsiteX2" fmla="*/ 125986 w 398513"/>
                <a:gd name="connsiteY2" fmla="*/ 38958 h 42283"/>
                <a:gd name="connsiteX3" fmla="*/ 195274 w 398513"/>
                <a:gd name="connsiteY3" fmla="*/ 24245 h 42283"/>
                <a:gd name="connsiteX4" fmla="*/ 270916 w 398513"/>
                <a:gd name="connsiteY4" fmla="*/ 4724 h 42283"/>
                <a:gd name="connsiteX5" fmla="*/ 340526 w 398513"/>
                <a:gd name="connsiteY5" fmla="*/ 1846 h 42283"/>
                <a:gd name="connsiteX6" fmla="*/ 398513 w 398513"/>
                <a:gd name="connsiteY6" fmla="*/ 133 h 42283"/>
                <a:gd name="connsiteX0" fmla="*/ 0 w 398513"/>
                <a:gd name="connsiteY0" fmla="*/ 41746 h 42486"/>
                <a:gd name="connsiteX1" fmla="*/ 33536 w 398513"/>
                <a:gd name="connsiteY1" fmla="*/ 42366 h 42486"/>
                <a:gd name="connsiteX2" fmla="*/ 125986 w 398513"/>
                <a:gd name="connsiteY2" fmla="*/ 39161 h 42486"/>
                <a:gd name="connsiteX3" fmla="*/ 195274 w 398513"/>
                <a:gd name="connsiteY3" fmla="*/ 24448 h 42486"/>
                <a:gd name="connsiteX4" fmla="*/ 270916 w 398513"/>
                <a:gd name="connsiteY4" fmla="*/ 4927 h 42486"/>
                <a:gd name="connsiteX5" fmla="*/ 336896 w 398513"/>
                <a:gd name="connsiteY5" fmla="*/ 738 h 42486"/>
                <a:gd name="connsiteX6" fmla="*/ 398513 w 398513"/>
                <a:gd name="connsiteY6" fmla="*/ 336 h 42486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5274 w 398513"/>
                <a:gd name="connsiteY3" fmla="*/ 24112 h 42150"/>
                <a:gd name="connsiteX4" fmla="*/ 270916 w 398513"/>
                <a:gd name="connsiteY4" fmla="*/ 4591 h 42150"/>
                <a:gd name="connsiteX5" fmla="*/ 398513 w 398513"/>
                <a:gd name="connsiteY5" fmla="*/ 0 h 42150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5274 w 398513"/>
                <a:gd name="connsiteY3" fmla="*/ 24112 h 42150"/>
                <a:gd name="connsiteX4" fmla="*/ 280251 w 398513"/>
                <a:gd name="connsiteY4" fmla="*/ 3717 h 42150"/>
                <a:gd name="connsiteX5" fmla="*/ 398513 w 398513"/>
                <a:gd name="connsiteY5" fmla="*/ 0 h 42150"/>
                <a:gd name="connsiteX0" fmla="*/ 0 w 398513"/>
                <a:gd name="connsiteY0" fmla="*/ 41442 h 42182"/>
                <a:gd name="connsiteX1" fmla="*/ 33536 w 398513"/>
                <a:gd name="connsiteY1" fmla="*/ 42062 h 42182"/>
                <a:gd name="connsiteX2" fmla="*/ 125986 w 398513"/>
                <a:gd name="connsiteY2" fmla="*/ 38857 h 42182"/>
                <a:gd name="connsiteX3" fmla="*/ 195274 w 398513"/>
                <a:gd name="connsiteY3" fmla="*/ 24144 h 42182"/>
                <a:gd name="connsiteX4" fmla="*/ 280251 w 398513"/>
                <a:gd name="connsiteY4" fmla="*/ 3749 h 42182"/>
                <a:gd name="connsiteX5" fmla="*/ 398513 w 398513"/>
                <a:gd name="connsiteY5" fmla="*/ 32 h 42182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5274 w 398513"/>
                <a:gd name="connsiteY3" fmla="*/ 24112 h 42150"/>
                <a:gd name="connsiteX4" fmla="*/ 280251 w 398513"/>
                <a:gd name="connsiteY4" fmla="*/ 3717 h 42150"/>
                <a:gd name="connsiteX5" fmla="*/ 398513 w 398513"/>
                <a:gd name="connsiteY5" fmla="*/ 0 h 42150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5274 w 398513"/>
                <a:gd name="connsiteY3" fmla="*/ 24112 h 42150"/>
                <a:gd name="connsiteX4" fmla="*/ 280251 w 398513"/>
                <a:gd name="connsiteY4" fmla="*/ 3717 h 42150"/>
                <a:gd name="connsiteX5" fmla="*/ 398513 w 398513"/>
                <a:gd name="connsiteY5" fmla="*/ 0 h 42150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5274 w 398513"/>
                <a:gd name="connsiteY3" fmla="*/ 24112 h 42150"/>
                <a:gd name="connsiteX4" fmla="*/ 280251 w 398513"/>
                <a:gd name="connsiteY4" fmla="*/ 3717 h 42150"/>
                <a:gd name="connsiteX5" fmla="*/ 398513 w 398513"/>
                <a:gd name="connsiteY5" fmla="*/ 0 h 42150"/>
                <a:gd name="connsiteX0" fmla="*/ 0 w 398513"/>
                <a:gd name="connsiteY0" fmla="*/ 41410 h 42150"/>
                <a:gd name="connsiteX1" fmla="*/ 33536 w 398513"/>
                <a:gd name="connsiteY1" fmla="*/ 42030 h 42150"/>
                <a:gd name="connsiteX2" fmla="*/ 125986 w 398513"/>
                <a:gd name="connsiteY2" fmla="*/ 38825 h 42150"/>
                <a:gd name="connsiteX3" fmla="*/ 194755 w 398513"/>
                <a:gd name="connsiteY3" fmla="*/ 24112 h 42150"/>
                <a:gd name="connsiteX4" fmla="*/ 280251 w 398513"/>
                <a:gd name="connsiteY4" fmla="*/ 3717 h 42150"/>
                <a:gd name="connsiteX5" fmla="*/ 398513 w 398513"/>
                <a:gd name="connsiteY5" fmla="*/ 0 h 42150"/>
                <a:gd name="connsiteX0" fmla="*/ 0 w 398513"/>
                <a:gd name="connsiteY0" fmla="*/ 41619 h 42871"/>
                <a:gd name="connsiteX1" fmla="*/ 33536 w 398513"/>
                <a:gd name="connsiteY1" fmla="*/ 42239 h 42871"/>
                <a:gd name="connsiteX2" fmla="*/ 125986 w 398513"/>
                <a:gd name="connsiteY2" fmla="*/ 39034 h 42871"/>
                <a:gd name="connsiteX3" fmla="*/ 280251 w 398513"/>
                <a:gd name="connsiteY3" fmla="*/ 3926 h 42871"/>
                <a:gd name="connsiteX4" fmla="*/ 398513 w 398513"/>
                <a:gd name="connsiteY4" fmla="*/ 209 h 42871"/>
                <a:gd name="connsiteX0" fmla="*/ 0 w 398513"/>
                <a:gd name="connsiteY0" fmla="*/ 41410 h 42544"/>
                <a:gd name="connsiteX1" fmla="*/ 33536 w 398513"/>
                <a:gd name="connsiteY1" fmla="*/ 42030 h 42544"/>
                <a:gd name="connsiteX2" fmla="*/ 125986 w 398513"/>
                <a:gd name="connsiteY2" fmla="*/ 38825 h 42544"/>
                <a:gd name="connsiteX3" fmla="*/ 261582 w 398513"/>
                <a:gd name="connsiteY3" fmla="*/ 5574 h 42544"/>
                <a:gd name="connsiteX4" fmla="*/ 398513 w 398513"/>
                <a:gd name="connsiteY4" fmla="*/ 0 h 42544"/>
                <a:gd name="connsiteX0" fmla="*/ 0 w 398513"/>
                <a:gd name="connsiteY0" fmla="*/ 41410 h 42382"/>
                <a:gd name="connsiteX1" fmla="*/ 33536 w 398513"/>
                <a:gd name="connsiteY1" fmla="*/ 42030 h 42382"/>
                <a:gd name="connsiteX2" fmla="*/ 139470 w 398513"/>
                <a:gd name="connsiteY2" fmla="*/ 35438 h 42382"/>
                <a:gd name="connsiteX3" fmla="*/ 261582 w 398513"/>
                <a:gd name="connsiteY3" fmla="*/ 5574 h 42382"/>
                <a:gd name="connsiteX4" fmla="*/ 398513 w 398513"/>
                <a:gd name="connsiteY4" fmla="*/ 0 h 42382"/>
                <a:gd name="connsiteX0" fmla="*/ 0 w 398513"/>
                <a:gd name="connsiteY0" fmla="*/ 41410 h 41495"/>
                <a:gd name="connsiteX1" fmla="*/ 35092 w 398513"/>
                <a:gd name="connsiteY1" fmla="*/ 40500 h 41495"/>
                <a:gd name="connsiteX2" fmla="*/ 139470 w 398513"/>
                <a:gd name="connsiteY2" fmla="*/ 35438 h 41495"/>
                <a:gd name="connsiteX3" fmla="*/ 261582 w 398513"/>
                <a:gd name="connsiteY3" fmla="*/ 5574 h 41495"/>
                <a:gd name="connsiteX4" fmla="*/ 398513 w 398513"/>
                <a:gd name="connsiteY4" fmla="*/ 0 h 41495"/>
                <a:gd name="connsiteX0" fmla="*/ 0 w 398513"/>
                <a:gd name="connsiteY0" fmla="*/ 41410 h 41581"/>
                <a:gd name="connsiteX1" fmla="*/ 38204 w 398513"/>
                <a:gd name="connsiteY1" fmla="*/ 40828 h 41581"/>
                <a:gd name="connsiteX2" fmla="*/ 139470 w 398513"/>
                <a:gd name="connsiteY2" fmla="*/ 35438 h 41581"/>
                <a:gd name="connsiteX3" fmla="*/ 261582 w 398513"/>
                <a:gd name="connsiteY3" fmla="*/ 5574 h 41581"/>
                <a:gd name="connsiteX4" fmla="*/ 398513 w 398513"/>
                <a:gd name="connsiteY4" fmla="*/ 0 h 41581"/>
                <a:gd name="connsiteX0" fmla="*/ 0 w 398513"/>
                <a:gd name="connsiteY0" fmla="*/ 41410 h 41434"/>
                <a:gd name="connsiteX1" fmla="*/ 38204 w 398513"/>
                <a:gd name="connsiteY1" fmla="*/ 40828 h 41434"/>
                <a:gd name="connsiteX2" fmla="*/ 139470 w 398513"/>
                <a:gd name="connsiteY2" fmla="*/ 35438 h 41434"/>
                <a:gd name="connsiteX3" fmla="*/ 261582 w 398513"/>
                <a:gd name="connsiteY3" fmla="*/ 5574 h 41434"/>
                <a:gd name="connsiteX4" fmla="*/ 398513 w 398513"/>
                <a:gd name="connsiteY4" fmla="*/ 0 h 41434"/>
                <a:gd name="connsiteX0" fmla="*/ 0 w 398513"/>
                <a:gd name="connsiteY0" fmla="*/ 41410 h 41444"/>
                <a:gd name="connsiteX1" fmla="*/ 33223 w 398513"/>
                <a:gd name="connsiteY1" fmla="*/ 41389 h 41444"/>
                <a:gd name="connsiteX2" fmla="*/ 38204 w 398513"/>
                <a:gd name="connsiteY2" fmla="*/ 40828 h 41444"/>
                <a:gd name="connsiteX3" fmla="*/ 139470 w 398513"/>
                <a:gd name="connsiteY3" fmla="*/ 35438 h 41444"/>
                <a:gd name="connsiteX4" fmla="*/ 261582 w 398513"/>
                <a:gd name="connsiteY4" fmla="*/ 5574 h 41444"/>
                <a:gd name="connsiteX5" fmla="*/ 398513 w 398513"/>
                <a:gd name="connsiteY5" fmla="*/ 0 h 41444"/>
                <a:gd name="connsiteX0" fmla="*/ 0 w 398513"/>
                <a:gd name="connsiteY0" fmla="*/ 41410 h 41568"/>
                <a:gd name="connsiteX1" fmla="*/ 33223 w 398513"/>
                <a:gd name="connsiteY1" fmla="*/ 41389 h 41568"/>
                <a:gd name="connsiteX2" fmla="*/ 46502 w 398513"/>
                <a:gd name="connsiteY2" fmla="*/ 41047 h 41568"/>
                <a:gd name="connsiteX3" fmla="*/ 139470 w 398513"/>
                <a:gd name="connsiteY3" fmla="*/ 35438 h 41568"/>
                <a:gd name="connsiteX4" fmla="*/ 261582 w 398513"/>
                <a:gd name="connsiteY4" fmla="*/ 5574 h 41568"/>
                <a:gd name="connsiteX5" fmla="*/ 398513 w 398513"/>
                <a:gd name="connsiteY5" fmla="*/ 0 h 41568"/>
                <a:gd name="connsiteX0" fmla="*/ 0 w 398513"/>
                <a:gd name="connsiteY0" fmla="*/ 41410 h 41808"/>
                <a:gd name="connsiteX1" fmla="*/ 33223 w 398513"/>
                <a:gd name="connsiteY1" fmla="*/ 41389 h 41808"/>
                <a:gd name="connsiteX2" fmla="*/ 139470 w 398513"/>
                <a:gd name="connsiteY2" fmla="*/ 35438 h 41808"/>
                <a:gd name="connsiteX3" fmla="*/ 261582 w 398513"/>
                <a:gd name="connsiteY3" fmla="*/ 5574 h 41808"/>
                <a:gd name="connsiteX4" fmla="*/ 398513 w 398513"/>
                <a:gd name="connsiteY4" fmla="*/ 0 h 41808"/>
                <a:gd name="connsiteX0" fmla="*/ 0 w 398513"/>
                <a:gd name="connsiteY0" fmla="*/ 41410 h 41726"/>
                <a:gd name="connsiteX1" fmla="*/ 37890 w 398513"/>
                <a:gd name="connsiteY1" fmla="*/ 41280 h 41726"/>
                <a:gd name="connsiteX2" fmla="*/ 139470 w 398513"/>
                <a:gd name="connsiteY2" fmla="*/ 35438 h 41726"/>
                <a:gd name="connsiteX3" fmla="*/ 261582 w 398513"/>
                <a:gd name="connsiteY3" fmla="*/ 5574 h 41726"/>
                <a:gd name="connsiteX4" fmla="*/ 398513 w 398513"/>
                <a:gd name="connsiteY4" fmla="*/ 0 h 41726"/>
                <a:gd name="connsiteX0" fmla="*/ 0 w 398513"/>
                <a:gd name="connsiteY0" fmla="*/ 41410 h 41410"/>
                <a:gd name="connsiteX1" fmla="*/ 37890 w 398513"/>
                <a:gd name="connsiteY1" fmla="*/ 41280 h 41410"/>
                <a:gd name="connsiteX2" fmla="*/ 139470 w 398513"/>
                <a:gd name="connsiteY2" fmla="*/ 35438 h 41410"/>
                <a:gd name="connsiteX3" fmla="*/ 261582 w 398513"/>
                <a:gd name="connsiteY3" fmla="*/ 5574 h 41410"/>
                <a:gd name="connsiteX4" fmla="*/ 398513 w 398513"/>
                <a:gd name="connsiteY4" fmla="*/ 0 h 41410"/>
                <a:gd name="connsiteX0" fmla="*/ 0 w 398513"/>
                <a:gd name="connsiteY0" fmla="*/ 41410 h 41410"/>
                <a:gd name="connsiteX1" fmla="*/ 37890 w 398513"/>
                <a:gd name="connsiteY1" fmla="*/ 41280 h 41410"/>
                <a:gd name="connsiteX2" fmla="*/ 139470 w 398513"/>
                <a:gd name="connsiteY2" fmla="*/ 35438 h 41410"/>
                <a:gd name="connsiteX3" fmla="*/ 261582 w 398513"/>
                <a:gd name="connsiteY3" fmla="*/ 5574 h 41410"/>
                <a:gd name="connsiteX4" fmla="*/ 398513 w 398513"/>
                <a:gd name="connsiteY4" fmla="*/ 0 h 41410"/>
                <a:gd name="connsiteX0" fmla="*/ 0 w 388660"/>
                <a:gd name="connsiteY0" fmla="*/ 41301 h 41301"/>
                <a:gd name="connsiteX1" fmla="*/ 28037 w 388660"/>
                <a:gd name="connsiteY1" fmla="*/ 41280 h 41301"/>
                <a:gd name="connsiteX2" fmla="*/ 129617 w 388660"/>
                <a:gd name="connsiteY2" fmla="*/ 35438 h 41301"/>
                <a:gd name="connsiteX3" fmla="*/ 251729 w 388660"/>
                <a:gd name="connsiteY3" fmla="*/ 5574 h 41301"/>
                <a:gd name="connsiteX4" fmla="*/ 388660 w 388660"/>
                <a:gd name="connsiteY4" fmla="*/ 0 h 41301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32210 w 391253"/>
                <a:gd name="connsiteY2" fmla="*/ 35438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41545 w 391253"/>
                <a:gd name="connsiteY2" fmla="*/ 33253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41545 w 391253"/>
                <a:gd name="connsiteY2" fmla="*/ 33253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28580 w 391253"/>
                <a:gd name="connsiteY2" fmla="*/ 30085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28580 w 391253"/>
                <a:gd name="connsiteY2" fmla="*/ 30085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35322 w 391253"/>
                <a:gd name="connsiteY2" fmla="*/ 31068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280"/>
                <a:gd name="connsiteX1" fmla="*/ 30630 w 391253"/>
                <a:gd name="connsiteY1" fmla="*/ 41280 h 41280"/>
                <a:gd name="connsiteX2" fmla="*/ 135322 w 391253"/>
                <a:gd name="connsiteY2" fmla="*/ 31068 h 41280"/>
                <a:gd name="connsiteX3" fmla="*/ 254322 w 391253"/>
                <a:gd name="connsiteY3" fmla="*/ 5574 h 41280"/>
                <a:gd name="connsiteX4" fmla="*/ 391253 w 391253"/>
                <a:gd name="connsiteY4" fmla="*/ 0 h 41280"/>
                <a:gd name="connsiteX0" fmla="*/ 0 w 391253"/>
                <a:gd name="connsiteY0" fmla="*/ 41082 h 41608"/>
                <a:gd name="connsiteX1" fmla="*/ 37372 w 391253"/>
                <a:gd name="connsiteY1" fmla="*/ 41608 h 41608"/>
                <a:gd name="connsiteX2" fmla="*/ 135322 w 391253"/>
                <a:gd name="connsiteY2" fmla="*/ 31068 h 41608"/>
                <a:gd name="connsiteX3" fmla="*/ 254322 w 391253"/>
                <a:gd name="connsiteY3" fmla="*/ 5574 h 41608"/>
                <a:gd name="connsiteX4" fmla="*/ 391253 w 391253"/>
                <a:gd name="connsiteY4" fmla="*/ 0 h 41608"/>
                <a:gd name="connsiteX0" fmla="*/ 0 w 391253"/>
                <a:gd name="connsiteY0" fmla="*/ 41082 h 41608"/>
                <a:gd name="connsiteX1" fmla="*/ 37372 w 391253"/>
                <a:gd name="connsiteY1" fmla="*/ 41608 h 41608"/>
                <a:gd name="connsiteX2" fmla="*/ 135322 w 391253"/>
                <a:gd name="connsiteY2" fmla="*/ 31068 h 41608"/>
                <a:gd name="connsiteX3" fmla="*/ 254322 w 391253"/>
                <a:gd name="connsiteY3" fmla="*/ 5574 h 41608"/>
                <a:gd name="connsiteX4" fmla="*/ 391253 w 391253"/>
                <a:gd name="connsiteY4" fmla="*/ 0 h 41608"/>
                <a:gd name="connsiteX0" fmla="*/ 0 w 391253"/>
                <a:gd name="connsiteY0" fmla="*/ 41082 h 41891"/>
                <a:gd name="connsiteX1" fmla="*/ 37372 w 391253"/>
                <a:gd name="connsiteY1" fmla="*/ 41608 h 41891"/>
                <a:gd name="connsiteX2" fmla="*/ 135322 w 391253"/>
                <a:gd name="connsiteY2" fmla="*/ 31068 h 41891"/>
                <a:gd name="connsiteX3" fmla="*/ 254322 w 391253"/>
                <a:gd name="connsiteY3" fmla="*/ 5574 h 41891"/>
                <a:gd name="connsiteX4" fmla="*/ 391253 w 391253"/>
                <a:gd name="connsiteY4" fmla="*/ 0 h 41891"/>
                <a:gd name="connsiteX0" fmla="*/ 0 w 391253"/>
                <a:gd name="connsiteY0" fmla="*/ 41082 h 41146"/>
                <a:gd name="connsiteX1" fmla="*/ 44114 w 391253"/>
                <a:gd name="connsiteY1" fmla="*/ 40297 h 41146"/>
                <a:gd name="connsiteX2" fmla="*/ 135322 w 391253"/>
                <a:gd name="connsiteY2" fmla="*/ 31068 h 41146"/>
                <a:gd name="connsiteX3" fmla="*/ 254322 w 391253"/>
                <a:gd name="connsiteY3" fmla="*/ 5574 h 41146"/>
                <a:gd name="connsiteX4" fmla="*/ 391253 w 391253"/>
                <a:gd name="connsiteY4" fmla="*/ 0 h 41146"/>
                <a:gd name="connsiteX0" fmla="*/ 0 w 391253"/>
                <a:gd name="connsiteY0" fmla="*/ 41082 h 41090"/>
                <a:gd name="connsiteX1" fmla="*/ 66932 w 391253"/>
                <a:gd name="connsiteY1" fmla="*/ 37784 h 41090"/>
                <a:gd name="connsiteX2" fmla="*/ 135322 w 391253"/>
                <a:gd name="connsiteY2" fmla="*/ 31068 h 41090"/>
                <a:gd name="connsiteX3" fmla="*/ 254322 w 391253"/>
                <a:gd name="connsiteY3" fmla="*/ 5574 h 41090"/>
                <a:gd name="connsiteX4" fmla="*/ 391253 w 391253"/>
                <a:gd name="connsiteY4" fmla="*/ 0 h 41090"/>
                <a:gd name="connsiteX0" fmla="*/ 0 w 391253"/>
                <a:gd name="connsiteY0" fmla="*/ 41082 h 41087"/>
                <a:gd name="connsiteX1" fmla="*/ 83527 w 391253"/>
                <a:gd name="connsiteY1" fmla="*/ 36364 h 41087"/>
                <a:gd name="connsiteX2" fmla="*/ 135322 w 391253"/>
                <a:gd name="connsiteY2" fmla="*/ 31068 h 41087"/>
                <a:gd name="connsiteX3" fmla="*/ 254322 w 391253"/>
                <a:gd name="connsiteY3" fmla="*/ 5574 h 41087"/>
                <a:gd name="connsiteX4" fmla="*/ 391253 w 391253"/>
                <a:gd name="connsiteY4" fmla="*/ 0 h 41087"/>
                <a:gd name="connsiteX0" fmla="*/ 0 w 391253"/>
                <a:gd name="connsiteY0" fmla="*/ 41082 h 41087"/>
                <a:gd name="connsiteX1" fmla="*/ 83527 w 391253"/>
                <a:gd name="connsiteY1" fmla="*/ 36364 h 41087"/>
                <a:gd name="connsiteX2" fmla="*/ 163326 w 391253"/>
                <a:gd name="connsiteY2" fmla="*/ 26698 h 41087"/>
                <a:gd name="connsiteX3" fmla="*/ 254322 w 391253"/>
                <a:gd name="connsiteY3" fmla="*/ 5574 h 41087"/>
                <a:gd name="connsiteX4" fmla="*/ 391253 w 391253"/>
                <a:gd name="connsiteY4" fmla="*/ 0 h 41087"/>
                <a:gd name="connsiteX0" fmla="*/ 0 w 391253"/>
                <a:gd name="connsiteY0" fmla="*/ 41082 h 41502"/>
                <a:gd name="connsiteX1" fmla="*/ 83527 w 391253"/>
                <a:gd name="connsiteY1" fmla="*/ 36364 h 41502"/>
                <a:gd name="connsiteX2" fmla="*/ 163326 w 391253"/>
                <a:gd name="connsiteY2" fmla="*/ 26698 h 41502"/>
                <a:gd name="connsiteX3" fmla="*/ 254322 w 391253"/>
                <a:gd name="connsiteY3" fmla="*/ 5574 h 41502"/>
                <a:gd name="connsiteX4" fmla="*/ 391253 w 391253"/>
                <a:gd name="connsiteY4" fmla="*/ 0 h 41502"/>
                <a:gd name="connsiteX0" fmla="*/ 0 w 391253"/>
                <a:gd name="connsiteY0" fmla="*/ 41082 h 41082"/>
                <a:gd name="connsiteX1" fmla="*/ 86639 w 391253"/>
                <a:gd name="connsiteY1" fmla="*/ 36473 h 41082"/>
                <a:gd name="connsiteX2" fmla="*/ 163326 w 391253"/>
                <a:gd name="connsiteY2" fmla="*/ 26698 h 41082"/>
                <a:gd name="connsiteX3" fmla="*/ 254322 w 391253"/>
                <a:gd name="connsiteY3" fmla="*/ 5574 h 41082"/>
                <a:gd name="connsiteX4" fmla="*/ 391253 w 391253"/>
                <a:gd name="connsiteY4" fmla="*/ 0 h 41082"/>
                <a:gd name="connsiteX0" fmla="*/ 0 w 391253"/>
                <a:gd name="connsiteY0" fmla="*/ 41082 h 41082"/>
                <a:gd name="connsiteX1" fmla="*/ 86639 w 391253"/>
                <a:gd name="connsiteY1" fmla="*/ 36473 h 41082"/>
                <a:gd name="connsiteX2" fmla="*/ 163326 w 391253"/>
                <a:gd name="connsiteY2" fmla="*/ 26698 h 41082"/>
                <a:gd name="connsiteX3" fmla="*/ 254322 w 391253"/>
                <a:gd name="connsiteY3" fmla="*/ 5574 h 41082"/>
                <a:gd name="connsiteX4" fmla="*/ 391253 w 391253"/>
                <a:gd name="connsiteY4" fmla="*/ 0 h 41082"/>
                <a:gd name="connsiteX0" fmla="*/ 0 w 391253"/>
                <a:gd name="connsiteY0" fmla="*/ 41082 h 41082"/>
                <a:gd name="connsiteX1" fmla="*/ 86639 w 391253"/>
                <a:gd name="connsiteY1" fmla="*/ 36473 h 41082"/>
                <a:gd name="connsiteX2" fmla="*/ 163326 w 391253"/>
                <a:gd name="connsiteY2" fmla="*/ 26698 h 41082"/>
                <a:gd name="connsiteX3" fmla="*/ 254322 w 391253"/>
                <a:gd name="connsiteY3" fmla="*/ 5574 h 41082"/>
                <a:gd name="connsiteX4" fmla="*/ 391253 w 391253"/>
                <a:gd name="connsiteY4" fmla="*/ 0 h 41082"/>
                <a:gd name="connsiteX0" fmla="*/ 0 w 391253"/>
                <a:gd name="connsiteY0" fmla="*/ 41082 h 41295"/>
                <a:gd name="connsiteX1" fmla="*/ 86639 w 391253"/>
                <a:gd name="connsiteY1" fmla="*/ 36473 h 41295"/>
                <a:gd name="connsiteX2" fmla="*/ 163326 w 391253"/>
                <a:gd name="connsiteY2" fmla="*/ 26698 h 41295"/>
                <a:gd name="connsiteX3" fmla="*/ 254322 w 391253"/>
                <a:gd name="connsiteY3" fmla="*/ 5574 h 41295"/>
                <a:gd name="connsiteX4" fmla="*/ 391253 w 391253"/>
                <a:gd name="connsiteY4" fmla="*/ 0 h 4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253" h="41295">
                  <a:moveTo>
                    <a:pt x="0" y="41082"/>
                  </a:moveTo>
                  <a:cubicBezTo>
                    <a:pt x="38733" y="42168"/>
                    <a:pt x="59418" y="38870"/>
                    <a:pt x="86639" y="36473"/>
                  </a:cubicBezTo>
                  <a:cubicBezTo>
                    <a:pt x="113860" y="34076"/>
                    <a:pt x="135379" y="31848"/>
                    <a:pt x="163326" y="26698"/>
                  </a:cubicBezTo>
                  <a:cubicBezTo>
                    <a:pt x="191273" y="21548"/>
                    <a:pt x="216334" y="10024"/>
                    <a:pt x="254322" y="5574"/>
                  </a:cubicBezTo>
                  <a:cubicBezTo>
                    <a:pt x="292310" y="1124"/>
                    <a:pt x="364670" y="956"/>
                    <a:pt x="391253" y="0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8" name="Полилиния 147"/>
            <p:cNvSpPr/>
            <p:nvPr/>
          </p:nvSpPr>
          <p:spPr>
            <a:xfrm>
              <a:off x="2055998" y="2901026"/>
              <a:ext cx="837800" cy="83777"/>
            </a:xfrm>
            <a:custGeom>
              <a:avLst/>
              <a:gdLst>
                <a:gd name="connsiteX0" fmla="*/ 0 w 190734"/>
                <a:gd name="connsiteY0" fmla="*/ 47684 h 47684"/>
                <a:gd name="connsiteX1" fmla="*/ 19634 w 190734"/>
                <a:gd name="connsiteY1" fmla="*/ 39269 h 47684"/>
                <a:gd name="connsiteX2" fmla="*/ 33659 w 190734"/>
                <a:gd name="connsiteY2" fmla="*/ 36464 h 47684"/>
                <a:gd name="connsiteX3" fmla="*/ 58903 w 190734"/>
                <a:gd name="connsiteY3" fmla="*/ 25245 h 47684"/>
                <a:gd name="connsiteX4" fmla="*/ 84147 w 190734"/>
                <a:gd name="connsiteY4" fmla="*/ 22440 h 47684"/>
                <a:gd name="connsiteX5" fmla="*/ 131831 w 190734"/>
                <a:gd name="connsiteY5" fmla="*/ 16830 h 47684"/>
                <a:gd name="connsiteX6" fmla="*/ 165490 w 190734"/>
                <a:gd name="connsiteY6" fmla="*/ 8415 h 47684"/>
                <a:gd name="connsiteX7" fmla="*/ 182319 w 190734"/>
                <a:gd name="connsiteY7" fmla="*/ 5610 h 47684"/>
                <a:gd name="connsiteX8" fmla="*/ 190734 w 190734"/>
                <a:gd name="connsiteY8" fmla="*/ 2805 h 47684"/>
                <a:gd name="connsiteX9" fmla="*/ 187929 w 190734"/>
                <a:gd name="connsiteY9" fmla="*/ 0 h 47684"/>
                <a:gd name="connsiteX0" fmla="*/ 0 w 190734"/>
                <a:gd name="connsiteY0" fmla="*/ 47684 h 47684"/>
                <a:gd name="connsiteX1" fmla="*/ 19634 w 190734"/>
                <a:gd name="connsiteY1" fmla="*/ 39269 h 47684"/>
                <a:gd name="connsiteX2" fmla="*/ 33659 w 190734"/>
                <a:gd name="connsiteY2" fmla="*/ 36464 h 47684"/>
                <a:gd name="connsiteX3" fmla="*/ 58903 w 190734"/>
                <a:gd name="connsiteY3" fmla="*/ 25245 h 47684"/>
                <a:gd name="connsiteX4" fmla="*/ 131831 w 190734"/>
                <a:gd name="connsiteY4" fmla="*/ 16830 h 47684"/>
                <a:gd name="connsiteX5" fmla="*/ 165490 w 190734"/>
                <a:gd name="connsiteY5" fmla="*/ 8415 h 47684"/>
                <a:gd name="connsiteX6" fmla="*/ 182319 w 190734"/>
                <a:gd name="connsiteY6" fmla="*/ 5610 h 47684"/>
                <a:gd name="connsiteX7" fmla="*/ 190734 w 190734"/>
                <a:gd name="connsiteY7" fmla="*/ 2805 h 47684"/>
                <a:gd name="connsiteX8" fmla="*/ 187929 w 190734"/>
                <a:gd name="connsiteY8" fmla="*/ 0 h 47684"/>
                <a:gd name="connsiteX0" fmla="*/ 0 w 190734"/>
                <a:gd name="connsiteY0" fmla="*/ 47684 h 47684"/>
                <a:gd name="connsiteX1" fmla="*/ 19634 w 190734"/>
                <a:gd name="connsiteY1" fmla="*/ 39269 h 47684"/>
                <a:gd name="connsiteX2" fmla="*/ 58903 w 190734"/>
                <a:gd name="connsiteY2" fmla="*/ 25245 h 47684"/>
                <a:gd name="connsiteX3" fmla="*/ 131831 w 190734"/>
                <a:gd name="connsiteY3" fmla="*/ 16830 h 47684"/>
                <a:gd name="connsiteX4" fmla="*/ 165490 w 190734"/>
                <a:gd name="connsiteY4" fmla="*/ 8415 h 47684"/>
                <a:gd name="connsiteX5" fmla="*/ 182319 w 190734"/>
                <a:gd name="connsiteY5" fmla="*/ 5610 h 47684"/>
                <a:gd name="connsiteX6" fmla="*/ 190734 w 190734"/>
                <a:gd name="connsiteY6" fmla="*/ 2805 h 47684"/>
                <a:gd name="connsiteX7" fmla="*/ 187929 w 190734"/>
                <a:gd name="connsiteY7" fmla="*/ 0 h 47684"/>
                <a:gd name="connsiteX0" fmla="*/ 0 w 190734"/>
                <a:gd name="connsiteY0" fmla="*/ 47684 h 47684"/>
                <a:gd name="connsiteX1" fmla="*/ 58903 w 190734"/>
                <a:gd name="connsiteY1" fmla="*/ 25245 h 47684"/>
                <a:gd name="connsiteX2" fmla="*/ 131831 w 190734"/>
                <a:gd name="connsiteY2" fmla="*/ 16830 h 47684"/>
                <a:gd name="connsiteX3" fmla="*/ 165490 w 190734"/>
                <a:gd name="connsiteY3" fmla="*/ 8415 h 47684"/>
                <a:gd name="connsiteX4" fmla="*/ 182319 w 190734"/>
                <a:gd name="connsiteY4" fmla="*/ 5610 h 47684"/>
                <a:gd name="connsiteX5" fmla="*/ 190734 w 190734"/>
                <a:gd name="connsiteY5" fmla="*/ 2805 h 47684"/>
                <a:gd name="connsiteX6" fmla="*/ 187929 w 190734"/>
                <a:gd name="connsiteY6" fmla="*/ 0 h 47684"/>
                <a:gd name="connsiteX0" fmla="*/ 0 w 201884"/>
                <a:gd name="connsiteY0" fmla="*/ 41674 h 41674"/>
                <a:gd name="connsiteX1" fmla="*/ 70053 w 201884"/>
                <a:gd name="connsiteY1" fmla="*/ 25245 h 41674"/>
                <a:gd name="connsiteX2" fmla="*/ 142981 w 201884"/>
                <a:gd name="connsiteY2" fmla="*/ 16830 h 41674"/>
                <a:gd name="connsiteX3" fmla="*/ 176640 w 201884"/>
                <a:gd name="connsiteY3" fmla="*/ 8415 h 41674"/>
                <a:gd name="connsiteX4" fmla="*/ 193469 w 201884"/>
                <a:gd name="connsiteY4" fmla="*/ 5610 h 41674"/>
                <a:gd name="connsiteX5" fmla="*/ 201884 w 201884"/>
                <a:gd name="connsiteY5" fmla="*/ 2805 h 41674"/>
                <a:gd name="connsiteX6" fmla="*/ 199079 w 201884"/>
                <a:gd name="connsiteY6" fmla="*/ 0 h 41674"/>
                <a:gd name="connsiteX0" fmla="*/ 0 w 201884"/>
                <a:gd name="connsiteY0" fmla="*/ 41674 h 41674"/>
                <a:gd name="connsiteX1" fmla="*/ 70053 w 201884"/>
                <a:gd name="connsiteY1" fmla="*/ 25245 h 41674"/>
                <a:gd name="connsiteX2" fmla="*/ 142981 w 201884"/>
                <a:gd name="connsiteY2" fmla="*/ 16830 h 41674"/>
                <a:gd name="connsiteX3" fmla="*/ 176640 w 201884"/>
                <a:gd name="connsiteY3" fmla="*/ 8415 h 41674"/>
                <a:gd name="connsiteX4" fmla="*/ 193469 w 201884"/>
                <a:gd name="connsiteY4" fmla="*/ 5610 h 41674"/>
                <a:gd name="connsiteX5" fmla="*/ 201884 w 201884"/>
                <a:gd name="connsiteY5" fmla="*/ 2805 h 41674"/>
                <a:gd name="connsiteX6" fmla="*/ 199079 w 201884"/>
                <a:gd name="connsiteY6" fmla="*/ 0 h 41674"/>
                <a:gd name="connsiteX0" fmla="*/ 0 w 201884"/>
                <a:gd name="connsiteY0" fmla="*/ 41674 h 41674"/>
                <a:gd name="connsiteX1" fmla="*/ 100717 w 201884"/>
                <a:gd name="connsiteY1" fmla="*/ 4811 h 41674"/>
                <a:gd name="connsiteX2" fmla="*/ 142981 w 201884"/>
                <a:gd name="connsiteY2" fmla="*/ 16830 h 41674"/>
                <a:gd name="connsiteX3" fmla="*/ 176640 w 201884"/>
                <a:gd name="connsiteY3" fmla="*/ 8415 h 41674"/>
                <a:gd name="connsiteX4" fmla="*/ 193469 w 201884"/>
                <a:gd name="connsiteY4" fmla="*/ 5610 h 41674"/>
                <a:gd name="connsiteX5" fmla="*/ 201884 w 201884"/>
                <a:gd name="connsiteY5" fmla="*/ 2805 h 41674"/>
                <a:gd name="connsiteX6" fmla="*/ 199079 w 201884"/>
                <a:gd name="connsiteY6" fmla="*/ 0 h 41674"/>
                <a:gd name="connsiteX0" fmla="*/ 0 w 201884"/>
                <a:gd name="connsiteY0" fmla="*/ 41674 h 41674"/>
                <a:gd name="connsiteX1" fmla="*/ 100717 w 201884"/>
                <a:gd name="connsiteY1" fmla="*/ 4811 h 41674"/>
                <a:gd name="connsiteX2" fmla="*/ 176640 w 201884"/>
                <a:gd name="connsiteY2" fmla="*/ 8415 h 41674"/>
                <a:gd name="connsiteX3" fmla="*/ 193469 w 201884"/>
                <a:gd name="connsiteY3" fmla="*/ 5610 h 41674"/>
                <a:gd name="connsiteX4" fmla="*/ 201884 w 201884"/>
                <a:gd name="connsiteY4" fmla="*/ 2805 h 41674"/>
                <a:gd name="connsiteX5" fmla="*/ 199079 w 201884"/>
                <a:gd name="connsiteY5" fmla="*/ 0 h 41674"/>
                <a:gd name="connsiteX0" fmla="*/ 0 w 203242"/>
                <a:gd name="connsiteY0" fmla="*/ 41674 h 41674"/>
                <a:gd name="connsiteX1" fmla="*/ 100717 w 203242"/>
                <a:gd name="connsiteY1" fmla="*/ 4811 h 41674"/>
                <a:gd name="connsiteX2" fmla="*/ 193469 w 203242"/>
                <a:gd name="connsiteY2" fmla="*/ 5610 h 41674"/>
                <a:gd name="connsiteX3" fmla="*/ 201884 w 203242"/>
                <a:gd name="connsiteY3" fmla="*/ 2805 h 41674"/>
                <a:gd name="connsiteX4" fmla="*/ 199079 w 203242"/>
                <a:gd name="connsiteY4" fmla="*/ 0 h 41674"/>
                <a:gd name="connsiteX0" fmla="*/ 0 w 203196"/>
                <a:gd name="connsiteY0" fmla="*/ 43293 h 43293"/>
                <a:gd name="connsiteX1" fmla="*/ 100717 w 203196"/>
                <a:gd name="connsiteY1" fmla="*/ 6430 h 43293"/>
                <a:gd name="connsiteX2" fmla="*/ 176047 w 203196"/>
                <a:gd name="connsiteY2" fmla="*/ 17 h 43293"/>
                <a:gd name="connsiteX3" fmla="*/ 201884 w 203196"/>
                <a:gd name="connsiteY3" fmla="*/ 4424 h 43293"/>
                <a:gd name="connsiteX4" fmla="*/ 199079 w 203196"/>
                <a:gd name="connsiteY4" fmla="*/ 1619 h 43293"/>
                <a:gd name="connsiteX0" fmla="*/ 0 w 203196"/>
                <a:gd name="connsiteY0" fmla="*/ 43293 h 43293"/>
                <a:gd name="connsiteX1" fmla="*/ 100717 w 203196"/>
                <a:gd name="connsiteY1" fmla="*/ 6430 h 43293"/>
                <a:gd name="connsiteX2" fmla="*/ 176047 w 203196"/>
                <a:gd name="connsiteY2" fmla="*/ 17 h 43293"/>
                <a:gd name="connsiteX3" fmla="*/ 201884 w 203196"/>
                <a:gd name="connsiteY3" fmla="*/ 4424 h 43293"/>
                <a:gd name="connsiteX4" fmla="*/ 199079 w 203196"/>
                <a:gd name="connsiteY4" fmla="*/ 1619 h 43293"/>
                <a:gd name="connsiteX0" fmla="*/ 0 w 208687"/>
                <a:gd name="connsiteY0" fmla="*/ 41674 h 41674"/>
                <a:gd name="connsiteX1" fmla="*/ 100717 w 208687"/>
                <a:gd name="connsiteY1" fmla="*/ 4811 h 41674"/>
                <a:gd name="connsiteX2" fmla="*/ 201884 w 208687"/>
                <a:gd name="connsiteY2" fmla="*/ 2805 h 41674"/>
                <a:gd name="connsiteX3" fmla="*/ 199079 w 208687"/>
                <a:gd name="connsiteY3" fmla="*/ 0 h 41674"/>
                <a:gd name="connsiteX0" fmla="*/ 0 w 204458"/>
                <a:gd name="connsiteY0" fmla="*/ 41674 h 41674"/>
                <a:gd name="connsiteX1" fmla="*/ 100717 w 204458"/>
                <a:gd name="connsiteY1" fmla="*/ 4811 h 41674"/>
                <a:gd name="connsiteX2" fmla="*/ 201884 w 204458"/>
                <a:gd name="connsiteY2" fmla="*/ 2805 h 41674"/>
                <a:gd name="connsiteX3" fmla="*/ 176081 w 204458"/>
                <a:gd name="connsiteY3" fmla="*/ 0 h 41674"/>
                <a:gd name="connsiteX0" fmla="*/ 0 w 201884"/>
                <a:gd name="connsiteY0" fmla="*/ 40138 h 40138"/>
                <a:gd name="connsiteX1" fmla="*/ 100717 w 201884"/>
                <a:gd name="connsiteY1" fmla="*/ 3275 h 40138"/>
                <a:gd name="connsiteX2" fmla="*/ 201884 w 201884"/>
                <a:gd name="connsiteY2" fmla="*/ 1269 h 40138"/>
                <a:gd name="connsiteX0" fmla="*/ 0 w 206065"/>
                <a:gd name="connsiteY0" fmla="*/ 38986 h 38986"/>
                <a:gd name="connsiteX1" fmla="*/ 100717 w 206065"/>
                <a:gd name="connsiteY1" fmla="*/ 2123 h 38986"/>
                <a:gd name="connsiteX2" fmla="*/ 206065 w 206065"/>
                <a:gd name="connsiteY2" fmla="*/ 3723 h 38986"/>
                <a:gd name="connsiteX0" fmla="*/ 0 w 206065"/>
                <a:gd name="connsiteY0" fmla="*/ 37103 h 37103"/>
                <a:gd name="connsiteX1" fmla="*/ 113958 w 206065"/>
                <a:gd name="connsiteY1" fmla="*/ 2644 h 37103"/>
                <a:gd name="connsiteX2" fmla="*/ 206065 w 206065"/>
                <a:gd name="connsiteY2" fmla="*/ 1840 h 37103"/>
                <a:gd name="connsiteX0" fmla="*/ 0 w 208156"/>
                <a:gd name="connsiteY0" fmla="*/ 35916 h 35916"/>
                <a:gd name="connsiteX1" fmla="*/ 113958 w 208156"/>
                <a:gd name="connsiteY1" fmla="*/ 1457 h 35916"/>
                <a:gd name="connsiteX2" fmla="*/ 208156 w 208156"/>
                <a:gd name="connsiteY2" fmla="*/ 5461 h 35916"/>
                <a:gd name="connsiteX0" fmla="*/ 0 w 208156"/>
                <a:gd name="connsiteY0" fmla="*/ 37435 h 37435"/>
                <a:gd name="connsiteX1" fmla="*/ 113958 w 208156"/>
                <a:gd name="connsiteY1" fmla="*/ 2976 h 37435"/>
                <a:gd name="connsiteX2" fmla="*/ 208156 w 208156"/>
                <a:gd name="connsiteY2" fmla="*/ 6980 h 37435"/>
                <a:gd name="connsiteX0" fmla="*/ 0 w 208156"/>
                <a:gd name="connsiteY0" fmla="*/ 37435 h 37435"/>
                <a:gd name="connsiteX1" fmla="*/ 120230 w 208156"/>
                <a:gd name="connsiteY1" fmla="*/ 2976 h 37435"/>
                <a:gd name="connsiteX2" fmla="*/ 208156 w 208156"/>
                <a:gd name="connsiteY2" fmla="*/ 6980 h 37435"/>
                <a:gd name="connsiteX0" fmla="*/ 0 w 208156"/>
                <a:gd name="connsiteY0" fmla="*/ 36916 h 36916"/>
                <a:gd name="connsiteX1" fmla="*/ 120230 w 208156"/>
                <a:gd name="connsiteY1" fmla="*/ 2457 h 36916"/>
                <a:gd name="connsiteX2" fmla="*/ 208156 w 208156"/>
                <a:gd name="connsiteY2" fmla="*/ 6461 h 36916"/>
                <a:gd name="connsiteX0" fmla="*/ 0 w 208156"/>
                <a:gd name="connsiteY0" fmla="*/ 35901 h 35901"/>
                <a:gd name="connsiteX1" fmla="*/ 120230 w 208156"/>
                <a:gd name="connsiteY1" fmla="*/ 1442 h 35901"/>
                <a:gd name="connsiteX2" fmla="*/ 208156 w 208156"/>
                <a:gd name="connsiteY2" fmla="*/ 5446 h 35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8156" h="35901">
                  <a:moveTo>
                    <a:pt x="0" y="35901"/>
                  </a:moveTo>
                  <a:cubicBezTo>
                    <a:pt x="46419" y="4782"/>
                    <a:pt x="85331" y="4822"/>
                    <a:pt x="120230" y="1442"/>
                  </a:cubicBezTo>
                  <a:cubicBezTo>
                    <a:pt x="135410" y="-28"/>
                    <a:pt x="187929" y="-2166"/>
                    <a:pt x="208156" y="5446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9" name="Полилиния 148"/>
            <p:cNvSpPr/>
            <p:nvPr/>
          </p:nvSpPr>
          <p:spPr>
            <a:xfrm>
              <a:off x="2900896" y="1966197"/>
              <a:ext cx="992561" cy="908284"/>
            </a:xfrm>
            <a:custGeom>
              <a:avLst/>
              <a:gdLst>
                <a:gd name="connsiteX0" fmla="*/ 308428 w 308428"/>
                <a:gd name="connsiteY0" fmla="*/ 0 h 50804"/>
                <a:gd name="connsiteX1" fmla="*/ 257628 w 308428"/>
                <a:gd name="connsiteY1" fmla="*/ 7257 h 50804"/>
                <a:gd name="connsiteX2" fmla="*/ 235857 w 308428"/>
                <a:gd name="connsiteY2" fmla="*/ 10885 h 50804"/>
                <a:gd name="connsiteX3" fmla="*/ 185057 w 308428"/>
                <a:gd name="connsiteY3" fmla="*/ 21771 h 50804"/>
                <a:gd name="connsiteX4" fmla="*/ 119742 w 308428"/>
                <a:gd name="connsiteY4" fmla="*/ 29028 h 50804"/>
                <a:gd name="connsiteX5" fmla="*/ 68942 w 308428"/>
                <a:gd name="connsiteY5" fmla="*/ 39914 h 50804"/>
                <a:gd name="connsiteX6" fmla="*/ 18142 w 308428"/>
                <a:gd name="connsiteY6" fmla="*/ 47171 h 50804"/>
                <a:gd name="connsiteX7" fmla="*/ 0 w 308428"/>
                <a:gd name="connsiteY7" fmla="*/ 50800 h 50804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235857 w 308428"/>
                <a:gd name="connsiteY2" fmla="*/ 10885 h 50800"/>
                <a:gd name="connsiteX3" fmla="*/ 185057 w 308428"/>
                <a:gd name="connsiteY3" fmla="*/ 21771 h 50800"/>
                <a:gd name="connsiteX4" fmla="*/ 119742 w 308428"/>
                <a:gd name="connsiteY4" fmla="*/ 29028 h 50800"/>
                <a:gd name="connsiteX5" fmla="*/ 36203 w 308428"/>
                <a:gd name="connsiteY5" fmla="*/ 32032 h 50800"/>
                <a:gd name="connsiteX6" fmla="*/ 18142 w 308428"/>
                <a:gd name="connsiteY6" fmla="*/ 47171 h 50800"/>
                <a:gd name="connsiteX7" fmla="*/ 0 w 308428"/>
                <a:gd name="connsiteY7" fmla="*/ 50800 h 50800"/>
                <a:gd name="connsiteX0" fmla="*/ 308836 w 308836"/>
                <a:gd name="connsiteY0" fmla="*/ 0 h 50800"/>
                <a:gd name="connsiteX1" fmla="*/ 258036 w 308836"/>
                <a:gd name="connsiteY1" fmla="*/ 7257 h 50800"/>
                <a:gd name="connsiteX2" fmla="*/ 236265 w 308836"/>
                <a:gd name="connsiteY2" fmla="*/ 10885 h 50800"/>
                <a:gd name="connsiteX3" fmla="*/ 185465 w 308836"/>
                <a:gd name="connsiteY3" fmla="*/ 21771 h 50800"/>
                <a:gd name="connsiteX4" fmla="*/ 120150 w 308836"/>
                <a:gd name="connsiteY4" fmla="*/ 29028 h 50800"/>
                <a:gd name="connsiteX5" fmla="*/ 36611 w 308836"/>
                <a:gd name="connsiteY5" fmla="*/ 32032 h 50800"/>
                <a:gd name="connsiteX6" fmla="*/ 1616 w 308836"/>
                <a:gd name="connsiteY6" fmla="*/ 44106 h 50800"/>
                <a:gd name="connsiteX7" fmla="*/ 408 w 308836"/>
                <a:gd name="connsiteY7" fmla="*/ 50800 h 50800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235857 w 308428"/>
                <a:gd name="connsiteY2" fmla="*/ 10885 h 50800"/>
                <a:gd name="connsiteX3" fmla="*/ 185057 w 308428"/>
                <a:gd name="connsiteY3" fmla="*/ 21771 h 50800"/>
                <a:gd name="connsiteX4" fmla="*/ 119742 w 308428"/>
                <a:gd name="connsiteY4" fmla="*/ 29028 h 50800"/>
                <a:gd name="connsiteX5" fmla="*/ 36203 w 308428"/>
                <a:gd name="connsiteY5" fmla="*/ 32032 h 50800"/>
                <a:gd name="connsiteX6" fmla="*/ 0 w 308428"/>
                <a:gd name="connsiteY6" fmla="*/ 50800 h 50800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235857 w 308428"/>
                <a:gd name="connsiteY2" fmla="*/ 10885 h 50800"/>
                <a:gd name="connsiteX3" fmla="*/ 185057 w 308428"/>
                <a:gd name="connsiteY3" fmla="*/ 21771 h 50800"/>
                <a:gd name="connsiteX4" fmla="*/ 54264 w 308428"/>
                <a:gd name="connsiteY4" fmla="*/ 16549 h 50800"/>
                <a:gd name="connsiteX5" fmla="*/ 36203 w 308428"/>
                <a:gd name="connsiteY5" fmla="*/ 32032 h 50800"/>
                <a:gd name="connsiteX6" fmla="*/ 0 w 308428"/>
                <a:gd name="connsiteY6" fmla="*/ 50800 h 50800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235857 w 308428"/>
                <a:gd name="connsiteY2" fmla="*/ 10885 h 50800"/>
                <a:gd name="connsiteX3" fmla="*/ 185057 w 308428"/>
                <a:gd name="connsiteY3" fmla="*/ 21771 h 50800"/>
                <a:gd name="connsiteX4" fmla="*/ 36203 w 308428"/>
                <a:gd name="connsiteY4" fmla="*/ 32032 h 50800"/>
                <a:gd name="connsiteX5" fmla="*/ 0 w 308428"/>
                <a:gd name="connsiteY5" fmla="*/ 50800 h 50800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235857 w 308428"/>
                <a:gd name="connsiteY2" fmla="*/ 10885 h 50800"/>
                <a:gd name="connsiteX3" fmla="*/ 36203 w 308428"/>
                <a:gd name="connsiteY3" fmla="*/ 32032 h 50800"/>
                <a:gd name="connsiteX4" fmla="*/ 0 w 308428"/>
                <a:gd name="connsiteY4" fmla="*/ 50800 h 50800"/>
                <a:gd name="connsiteX0" fmla="*/ 308428 w 308428"/>
                <a:gd name="connsiteY0" fmla="*/ 0 h 50800"/>
                <a:gd name="connsiteX1" fmla="*/ 257628 w 308428"/>
                <a:gd name="connsiteY1" fmla="*/ 7257 h 50800"/>
                <a:gd name="connsiteX2" fmla="*/ 36203 w 308428"/>
                <a:gd name="connsiteY2" fmla="*/ 32032 h 50800"/>
                <a:gd name="connsiteX3" fmla="*/ 0 w 308428"/>
                <a:gd name="connsiteY3" fmla="*/ 50800 h 50800"/>
                <a:gd name="connsiteX0" fmla="*/ 308428 w 308428"/>
                <a:gd name="connsiteY0" fmla="*/ 0 h 50800"/>
                <a:gd name="connsiteX1" fmla="*/ 36203 w 308428"/>
                <a:gd name="connsiteY1" fmla="*/ 32032 h 50800"/>
                <a:gd name="connsiteX2" fmla="*/ 0 w 308428"/>
                <a:gd name="connsiteY2" fmla="*/ 50800 h 50800"/>
                <a:gd name="connsiteX0" fmla="*/ 308428 w 308428"/>
                <a:gd name="connsiteY0" fmla="*/ 0 h 50800"/>
                <a:gd name="connsiteX1" fmla="*/ 68942 w 308428"/>
                <a:gd name="connsiteY1" fmla="*/ 11452 h 50800"/>
                <a:gd name="connsiteX2" fmla="*/ 0 w 308428"/>
                <a:gd name="connsiteY2" fmla="*/ 50800 h 50800"/>
                <a:gd name="connsiteX0" fmla="*/ 311376 w 311376"/>
                <a:gd name="connsiteY0" fmla="*/ 0 h 50800"/>
                <a:gd name="connsiteX1" fmla="*/ 71890 w 311376"/>
                <a:gd name="connsiteY1" fmla="*/ 11452 h 50800"/>
                <a:gd name="connsiteX2" fmla="*/ 2948 w 311376"/>
                <a:gd name="connsiteY2" fmla="*/ 50800 h 50800"/>
                <a:gd name="connsiteX0" fmla="*/ 311376 w 311376"/>
                <a:gd name="connsiteY0" fmla="*/ 124 h 50924"/>
                <a:gd name="connsiteX1" fmla="*/ 71890 w 311376"/>
                <a:gd name="connsiteY1" fmla="*/ 11576 h 50924"/>
                <a:gd name="connsiteX2" fmla="*/ 2948 w 311376"/>
                <a:gd name="connsiteY2" fmla="*/ 50924 h 50924"/>
                <a:gd name="connsiteX0" fmla="*/ 310122 w 310122"/>
                <a:gd name="connsiteY0" fmla="*/ 79 h 50879"/>
                <a:gd name="connsiteX1" fmla="*/ 74022 w 310122"/>
                <a:gd name="connsiteY1" fmla="*/ 12845 h 50879"/>
                <a:gd name="connsiteX2" fmla="*/ 1694 w 310122"/>
                <a:gd name="connsiteY2" fmla="*/ 50879 h 50879"/>
                <a:gd name="connsiteX0" fmla="*/ 310944 w 310944"/>
                <a:gd name="connsiteY0" fmla="*/ 114 h 50914"/>
                <a:gd name="connsiteX1" fmla="*/ 72586 w 310944"/>
                <a:gd name="connsiteY1" fmla="*/ 11785 h 50914"/>
                <a:gd name="connsiteX2" fmla="*/ 2516 w 310944"/>
                <a:gd name="connsiteY2" fmla="*/ 50914 h 50914"/>
                <a:gd name="connsiteX0" fmla="*/ 308428 w 308428"/>
                <a:gd name="connsiteY0" fmla="*/ 117 h 50917"/>
                <a:gd name="connsiteX1" fmla="*/ 70070 w 308428"/>
                <a:gd name="connsiteY1" fmla="*/ 11788 h 50917"/>
                <a:gd name="connsiteX2" fmla="*/ 0 w 308428"/>
                <a:gd name="connsiteY2" fmla="*/ 50917 h 50917"/>
                <a:gd name="connsiteX0" fmla="*/ 308428 w 308428"/>
                <a:gd name="connsiteY0" fmla="*/ 81 h 50881"/>
                <a:gd name="connsiteX1" fmla="*/ 70070 w 308428"/>
                <a:gd name="connsiteY1" fmla="*/ 11752 h 50881"/>
                <a:gd name="connsiteX2" fmla="*/ 0 w 308428"/>
                <a:gd name="connsiteY2" fmla="*/ 50881 h 50881"/>
                <a:gd name="connsiteX0" fmla="*/ 308428 w 308428"/>
                <a:gd name="connsiteY0" fmla="*/ 77 h 50877"/>
                <a:gd name="connsiteX1" fmla="*/ 70070 w 308428"/>
                <a:gd name="connsiteY1" fmla="*/ 11748 h 50877"/>
                <a:gd name="connsiteX2" fmla="*/ 0 w 308428"/>
                <a:gd name="connsiteY2" fmla="*/ 50877 h 50877"/>
                <a:gd name="connsiteX0" fmla="*/ 308428 w 308428"/>
                <a:gd name="connsiteY0" fmla="*/ 77 h 50877"/>
                <a:gd name="connsiteX1" fmla="*/ 70070 w 308428"/>
                <a:gd name="connsiteY1" fmla="*/ 11748 h 50877"/>
                <a:gd name="connsiteX2" fmla="*/ 0 w 308428"/>
                <a:gd name="connsiteY2" fmla="*/ 50877 h 50877"/>
                <a:gd name="connsiteX0" fmla="*/ 308821 w 308821"/>
                <a:gd name="connsiteY0" fmla="*/ 77 h 50877"/>
                <a:gd name="connsiteX1" fmla="*/ 70463 w 308821"/>
                <a:gd name="connsiteY1" fmla="*/ 11748 h 50877"/>
                <a:gd name="connsiteX2" fmla="*/ 393 w 308821"/>
                <a:gd name="connsiteY2" fmla="*/ 50877 h 50877"/>
                <a:gd name="connsiteX0" fmla="*/ 307299 w 307299"/>
                <a:gd name="connsiteY0" fmla="*/ 62 h 54803"/>
                <a:gd name="connsiteX1" fmla="*/ 68941 w 307299"/>
                <a:gd name="connsiteY1" fmla="*/ 11733 h 54803"/>
                <a:gd name="connsiteX2" fmla="*/ 0 w 307299"/>
                <a:gd name="connsiteY2" fmla="*/ 54803 h 54803"/>
                <a:gd name="connsiteX0" fmla="*/ 307304 w 307304"/>
                <a:gd name="connsiteY0" fmla="*/ 62 h 54803"/>
                <a:gd name="connsiteX1" fmla="*/ 68946 w 307304"/>
                <a:gd name="connsiteY1" fmla="*/ 11733 h 54803"/>
                <a:gd name="connsiteX2" fmla="*/ 5 w 307304"/>
                <a:gd name="connsiteY2" fmla="*/ 54803 h 54803"/>
                <a:gd name="connsiteX0" fmla="*/ 308500 w 308500"/>
                <a:gd name="connsiteY0" fmla="*/ 62 h 54803"/>
                <a:gd name="connsiteX1" fmla="*/ 70142 w 308500"/>
                <a:gd name="connsiteY1" fmla="*/ 11733 h 54803"/>
                <a:gd name="connsiteX2" fmla="*/ 1201 w 308500"/>
                <a:gd name="connsiteY2" fmla="*/ 54803 h 54803"/>
                <a:gd name="connsiteX0" fmla="*/ 308810 w 308810"/>
                <a:gd name="connsiteY0" fmla="*/ 62 h 54803"/>
                <a:gd name="connsiteX1" fmla="*/ 70452 w 308810"/>
                <a:gd name="connsiteY1" fmla="*/ 11733 h 54803"/>
                <a:gd name="connsiteX2" fmla="*/ 1511 w 308810"/>
                <a:gd name="connsiteY2" fmla="*/ 54803 h 54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8810" h="54803">
                  <a:moveTo>
                    <a:pt x="308810" y="62"/>
                  </a:moveTo>
                  <a:cubicBezTo>
                    <a:pt x="229518" y="-490"/>
                    <a:pt x="121668" y="2610"/>
                    <a:pt x="70452" y="11733"/>
                  </a:cubicBezTo>
                  <a:cubicBezTo>
                    <a:pt x="19236" y="20856"/>
                    <a:pt x="-6752" y="38196"/>
                    <a:pt x="1511" y="54803"/>
                  </a:cubicBezTo>
                </a:path>
              </a:pathLst>
            </a:custGeom>
            <a:noFill/>
            <a:ln w="12700">
              <a:solidFill>
                <a:srgbClr val="0070C0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143" name="Picture 2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412776"/>
            <a:ext cx="3737016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0" name="Номер слайда 14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53214B-01CB-4DBD-8488-7E5FEEB3C032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14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"/>
          <p:cNvGrpSpPr>
            <a:grpSpLocks/>
          </p:cNvGrpSpPr>
          <p:nvPr/>
        </p:nvGrpSpPr>
        <p:grpSpPr bwMode="auto">
          <a:xfrm>
            <a:off x="906463" y="1352550"/>
            <a:ext cx="7527214" cy="4164013"/>
            <a:chOff x="906463" y="1556792"/>
            <a:chExt cx="7527214" cy="4164180"/>
          </a:xfrm>
        </p:grpSpPr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2" cstate="screen">
              <a:duotone>
                <a:prstClr val="black"/>
                <a:schemeClr val="bg1">
                  <a:lumMod val="95000"/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1186938">
              <a:off x="1028874" y="1556792"/>
              <a:ext cx="7404803" cy="4164180"/>
            </a:xfrm>
            <a:prstGeom prst="rect">
              <a:avLst/>
            </a:prstGeom>
          </p:spPr>
        </p:pic>
        <p:grpSp>
          <p:nvGrpSpPr>
            <p:cNvPr id="4" name="Группа 1"/>
            <p:cNvGrpSpPr>
              <a:grpSpLocks/>
            </p:cNvGrpSpPr>
            <p:nvPr/>
          </p:nvGrpSpPr>
          <p:grpSpPr bwMode="auto">
            <a:xfrm>
              <a:off x="906463" y="2846388"/>
              <a:ext cx="7092950" cy="2428478"/>
              <a:chOff x="906463" y="2846388"/>
              <a:chExt cx="7092950" cy="2428478"/>
            </a:xfrm>
          </p:grpSpPr>
          <p:sp>
            <p:nvSpPr>
              <p:cNvPr id="64" name="Овал 63"/>
              <p:cNvSpPr/>
              <p:nvPr/>
            </p:nvSpPr>
            <p:spPr bwMode="auto">
              <a:xfrm>
                <a:off x="2578100" y="3041165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Овал 64"/>
              <p:cNvSpPr/>
              <p:nvPr/>
            </p:nvSpPr>
            <p:spPr bwMode="auto">
              <a:xfrm>
                <a:off x="1879600" y="3118955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Овал 65"/>
              <p:cNvSpPr/>
              <p:nvPr/>
            </p:nvSpPr>
            <p:spPr bwMode="auto">
              <a:xfrm>
                <a:off x="1958975" y="3158644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Овал 66"/>
              <p:cNvSpPr/>
              <p:nvPr/>
            </p:nvSpPr>
            <p:spPr bwMode="auto">
              <a:xfrm>
                <a:off x="1814513" y="3031639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Овал 67"/>
              <p:cNvSpPr/>
              <p:nvPr/>
            </p:nvSpPr>
            <p:spPr bwMode="auto">
              <a:xfrm>
                <a:off x="2085975" y="3663490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Овал 68"/>
              <p:cNvSpPr/>
              <p:nvPr/>
            </p:nvSpPr>
            <p:spPr bwMode="auto">
              <a:xfrm>
                <a:off x="1874838" y="3525371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0" name="Овал 69"/>
              <p:cNvSpPr/>
              <p:nvPr/>
            </p:nvSpPr>
            <p:spPr bwMode="auto">
              <a:xfrm>
                <a:off x="1482725" y="3882573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1" name="Овал 70"/>
              <p:cNvSpPr/>
              <p:nvPr/>
            </p:nvSpPr>
            <p:spPr bwMode="auto">
              <a:xfrm>
                <a:off x="1538288" y="3982589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Овал 71"/>
              <p:cNvSpPr/>
              <p:nvPr/>
            </p:nvSpPr>
            <p:spPr bwMode="auto">
              <a:xfrm>
                <a:off x="1354138" y="4265176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3" name="Овал 72"/>
              <p:cNvSpPr/>
              <p:nvPr/>
            </p:nvSpPr>
            <p:spPr bwMode="auto">
              <a:xfrm>
                <a:off x="1146175" y="4382655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4" name="Овал 73"/>
              <p:cNvSpPr/>
              <p:nvPr/>
            </p:nvSpPr>
            <p:spPr bwMode="auto">
              <a:xfrm>
                <a:off x="2738438" y="3441231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5" name="Овал 74"/>
              <p:cNvSpPr/>
              <p:nvPr/>
            </p:nvSpPr>
            <p:spPr bwMode="auto">
              <a:xfrm>
                <a:off x="2914650" y="4190561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Овал 75"/>
              <p:cNvSpPr/>
              <p:nvPr/>
            </p:nvSpPr>
            <p:spPr bwMode="auto">
              <a:xfrm>
                <a:off x="2463800" y="3817483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Овал 76"/>
              <p:cNvSpPr/>
              <p:nvPr/>
            </p:nvSpPr>
            <p:spPr bwMode="auto">
              <a:xfrm>
                <a:off x="2193925" y="3555535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Овал 77"/>
              <p:cNvSpPr/>
              <p:nvPr/>
            </p:nvSpPr>
            <p:spPr bwMode="auto">
              <a:xfrm>
                <a:off x="2014538" y="3630150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Овал 78"/>
              <p:cNvSpPr/>
              <p:nvPr/>
            </p:nvSpPr>
            <p:spPr bwMode="auto">
              <a:xfrm>
                <a:off x="2147888" y="3844472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Овал 79"/>
              <p:cNvSpPr/>
              <p:nvPr/>
            </p:nvSpPr>
            <p:spPr bwMode="auto">
              <a:xfrm>
                <a:off x="2055813" y="3741280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Овал 80"/>
              <p:cNvSpPr/>
              <p:nvPr/>
            </p:nvSpPr>
            <p:spPr bwMode="auto">
              <a:xfrm>
                <a:off x="1814513" y="3858759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Овал 81"/>
              <p:cNvSpPr/>
              <p:nvPr/>
            </p:nvSpPr>
            <p:spPr bwMode="auto">
              <a:xfrm>
                <a:off x="1825625" y="3930200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Овал 82"/>
              <p:cNvSpPr/>
              <p:nvPr/>
            </p:nvSpPr>
            <p:spPr bwMode="auto">
              <a:xfrm>
                <a:off x="2203450" y="3801607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Овал 83"/>
              <p:cNvSpPr/>
              <p:nvPr/>
            </p:nvSpPr>
            <p:spPr bwMode="auto">
              <a:xfrm>
                <a:off x="1820863" y="4360429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Овал 84"/>
              <p:cNvSpPr/>
              <p:nvPr/>
            </p:nvSpPr>
            <p:spPr bwMode="auto">
              <a:xfrm>
                <a:off x="2428875" y="3995290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Овал 85"/>
              <p:cNvSpPr/>
              <p:nvPr/>
            </p:nvSpPr>
            <p:spPr bwMode="auto">
              <a:xfrm>
                <a:off x="2347913" y="3873048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Овал 86"/>
              <p:cNvSpPr/>
              <p:nvPr/>
            </p:nvSpPr>
            <p:spPr bwMode="auto">
              <a:xfrm>
                <a:off x="1892300" y="4115945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8" name="Овал 87"/>
              <p:cNvSpPr/>
              <p:nvPr/>
            </p:nvSpPr>
            <p:spPr bwMode="auto">
              <a:xfrm>
                <a:off x="1957388" y="4155634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9" name="Овал 88"/>
              <p:cNvSpPr/>
              <p:nvPr/>
            </p:nvSpPr>
            <p:spPr bwMode="auto">
              <a:xfrm>
                <a:off x="2444750" y="4531886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0" name="Овал 89"/>
              <p:cNvSpPr/>
              <p:nvPr/>
            </p:nvSpPr>
            <p:spPr bwMode="auto">
              <a:xfrm>
                <a:off x="2640013" y="4717632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1" name="Овал 90"/>
              <p:cNvSpPr/>
              <p:nvPr/>
            </p:nvSpPr>
            <p:spPr bwMode="auto">
              <a:xfrm>
                <a:off x="2590800" y="4088957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Овал 91"/>
              <p:cNvSpPr/>
              <p:nvPr/>
            </p:nvSpPr>
            <p:spPr bwMode="auto">
              <a:xfrm>
                <a:off x="2325688" y="3995290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Овал 92"/>
              <p:cNvSpPr/>
              <p:nvPr/>
            </p:nvSpPr>
            <p:spPr bwMode="auto">
              <a:xfrm>
                <a:off x="2640013" y="4562051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Овал 93"/>
              <p:cNvSpPr/>
              <p:nvPr/>
            </p:nvSpPr>
            <p:spPr bwMode="auto">
              <a:xfrm>
                <a:off x="2778125" y="4385830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5" name="Овал 94"/>
              <p:cNvSpPr/>
              <p:nvPr/>
            </p:nvSpPr>
            <p:spPr bwMode="auto">
              <a:xfrm>
                <a:off x="2898775" y="3890511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Овал 95"/>
              <p:cNvSpPr/>
              <p:nvPr/>
            </p:nvSpPr>
            <p:spPr bwMode="auto">
              <a:xfrm>
                <a:off x="2820988" y="4034979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Овал 96"/>
              <p:cNvSpPr/>
              <p:nvPr/>
            </p:nvSpPr>
            <p:spPr bwMode="auto">
              <a:xfrm>
                <a:off x="2936875" y="4441396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Овал 97"/>
              <p:cNvSpPr/>
              <p:nvPr/>
            </p:nvSpPr>
            <p:spPr bwMode="auto">
              <a:xfrm>
                <a:off x="3208338" y="4508073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Овал 98"/>
              <p:cNvSpPr/>
              <p:nvPr/>
            </p:nvSpPr>
            <p:spPr bwMode="auto">
              <a:xfrm>
                <a:off x="3155950" y="4462034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Овал 99"/>
              <p:cNvSpPr/>
              <p:nvPr/>
            </p:nvSpPr>
            <p:spPr bwMode="auto">
              <a:xfrm>
                <a:off x="3060700" y="4250888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1" name="Овал 100"/>
              <p:cNvSpPr/>
              <p:nvPr/>
            </p:nvSpPr>
            <p:spPr bwMode="auto">
              <a:xfrm>
                <a:off x="3074988" y="4047680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Овал 101"/>
              <p:cNvSpPr/>
              <p:nvPr/>
            </p:nvSpPr>
            <p:spPr bwMode="auto">
              <a:xfrm>
                <a:off x="3273425" y="4392181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Овал 102"/>
              <p:cNvSpPr/>
              <p:nvPr/>
            </p:nvSpPr>
            <p:spPr bwMode="auto">
              <a:xfrm>
                <a:off x="3929063" y="4125470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Овал 103"/>
              <p:cNvSpPr/>
              <p:nvPr/>
            </p:nvSpPr>
            <p:spPr bwMode="auto">
              <a:xfrm>
                <a:off x="4087813" y="4798597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Овал 104"/>
              <p:cNvSpPr/>
              <p:nvPr/>
            </p:nvSpPr>
            <p:spPr bwMode="auto">
              <a:xfrm>
                <a:off x="4276725" y="5090709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Овал 105"/>
              <p:cNvSpPr/>
              <p:nvPr/>
            </p:nvSpPr>
            <p:spPr bwMode="auto">
              <a:xfrm>
                <a:off x="4273550" y="4687468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Овал 106"/>
              <p:cNvSpPr/>
              <p:nvPr/>
            </p:nvSpPr>
            <p:spPr bwMode="auto">
              <a:xfrm>
                <a:off x="4210050" y="4995455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8" name="Овал 107"/>
              <p:cNvSpPr/>
              <p:nvPr/>
            </p:nvSpPr>
            <p:spPr bwMode="auto">
              <a:xfrm>
                <a:off x="5449888" y="5066896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9" name="Овал 108"/>
              <p:cNvSpPr/>
              <p:nvPr/>
            </p:nvSpPr>
            <p:spPr bwMode="auto">
              <a:xfrm>
                <a:off x="5689600" y="4592214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0" name="Овал 109"/>
              <p:cNvSpPr/>
              <p:nvPr/>
            </p:nvSpPr>
            <p:spPr bwMode="auto">
              <a:xfrm>
                <a:off x="4562475" y="4911314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1" name="Овал 110"/>
              <p:cNvSpPr/>
              <p:nvPr/>
            </p:nvSpPr>
            <p:spPr bwMode="auto">
              <a:xfrm>
                <a:off x="1990725" y="3041165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2" name="Овал 111"/>
              <p:cNvSpPr/>
              <p:nvPr/>
            </p:nvSpPr>
            <p:spPr bwMode="auto">
              <a:xfrm>
                <a:off x="1965325" y="2887171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3" name="Овал 112"/>
              <p:cNvSpPr/>
              <p:nvPr/>
            </p:nvSpPr>
            <p:spPr bwMode="auto">
              <a:xfrm>
                <a:off x="1727200" y="3876223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4" name="Овал 113"/>
              <p:cNvSpPr/>
              <p:nvPr/>
            </p:nvSpPr>
            <p:spPr bwMode="auto">
              <a:xfrm>
                <a:off x="2430463" y="3931787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5" name="Овал 114"/>
              <p:cNvSpPr/>
              <p:nvPr/>
            </p:nvSpPr>
            <p:spPr bwMode="auto">
              <a:xfrm>
                <a:off x="2286000" y="3930200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6" name="Овал 115"/>
              <p:cNvSpPr/>
              <p:nvPr/>
            </p:nvSpPr>
            <p:spPr bwMode="auto">
              <a:xfrm>
                <a:off x="2657475" y="4034979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7" name="Овал 116"/>
              <p:cNvSpPr/>
              <p:nvPr/>
            </p:nvSpPr>
            <p:spPr bwMode="auto">
              <a:xfrm>
                <a:off x="1863725" y="2958611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8" name="Овал 117"/>
              <p:cNvSpPr/>
              <p:nvPr/>
            </p:nvSpPr>
            <p:spPr bwMode="auto">
              <a:xfrm>
                <a:off x="2676525" y="3041165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19" name="Овал 118"/>
              <p:cNvSpPr/>
              <p:nvPr/>
            </p:nvSpPr>
            <p:spPr bwMode="auto">
              <a:xfrm>
                <a:off x="2166938" y="3750805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0" name="Овал 119"/>
              <p:cNvSpPr/>
              <p:nvPr/>
            </p:nvSpPr>
            <p:spPr bwMode="auto">
              <a:xfrm>
                <a:off x="3371850" y="3379315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Овал 120"/>
              <p:cNvSpPr/>
              <p:nvPr/>
            </p:nvSpPr>
            <p:spPr bwMode="auto">
              <a:xfrm>
                <a:off x="3341688" y="3839709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Овал 121"/>
              <p:cNvSpPr/>
              <p:nvPr/>
            </p:nvSpPr>
            <p:spPr bwMode="auto">
              <a:xfrm>
                <a:off x="3549650" y="3353914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3" name="Овал 122"/>
              <p:cNvSpPr/>
              <p:nvPr/>
            </p:nvSpPr>
            <p:spPr bwMode="auto">
              <a:xfrm>
                <a:off x="3268663" y="3382490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4" name="Овал 123"/>
              <p:cNvSpPr/>
              <p:nvPr/>
            </p:nvSpPr>
            <p:spPr bwMode="auto">
              <a:xfrm>
                <a:off x="2884488" y="3565061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Овал 124"/>
              <p:cNvSpPr/>
              <p:nvPr/>
            </p:nvSpPr>
            <p:spPr bwMode="auto">
              <a:xfrm>
                <a:off x="2717800" y="3768269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Овал 125"/>
              <p:cNvSpPr/>
              <p:nvPr/>
            </p:nvSpPr>
            <p:spPr bwMode="auto">
              <a:xfrm>
                <a:off x="2541588" y="3800020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Овал 126"/>
              <p:cNvSpPr/>
              <p:nvPr/>
            </p:nvSpPr>
            <p:spPr bwMode="auto">
              <a:xfrm>
                <a:off x="3627438" y="4670005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Овал 127"/>
              <p:cNvSpPr/>
              <p:nvPr/>
            </p:nvSpPr>
            <p:spPr bwMode="auto">
              <a:xfrm>
                <a:off x="5126038" y="4822411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Овал 128"/>
              <p:cNvSpPr/>
              <p:nvPr/>
            </p:nvSpPr>
            <p:spPr bwMode="auto">
              <a:xfrm>
                <a:off x="3929063" y="3858759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Овал 129"/>
              <p:cNvSpPr/>
              <p:nvPr/>
            </p:nvSpPr>
            <p:spPr bwMode="auto">
              <a:xfrm>
                <a:off x="3706813" y="4014341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Овал 130"/>
              <p:cNvSpPr/>
              <p:nvPr/>
            </p:nvSpPr>
            <p:spPr bwMode="auto">
              <a:xfrm>
                <a:off x="5078413" y="4706518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Овал 131"/>
              <p:cNvSpPr/>
              <p:nvPr/>
            </p:nvSpPr>
            <p:spPr bwMode="auto">
              <a:xfrm>
                <a:off x="2954338" y="4014341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Овал 132"/>
              <p:cNvSpPr/>
              <p:nvPr/>
            </p:nvSpPr>
            <p:spPr bwMode="auto">
              <a:xfrm>
                <a:off x="2552700" y="4670005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4" name="Овал 133"/>
              <p:cNvSpPr/>
              <p:nvPr/>
            </p:nvSpPr>
            <p:spPr bwMode="auto">
              <a:xfrm>
                <a:off x="2454275" y="4425520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Овал 134"/>
              <p:cNvSpPr/>
              <p:nvPr/>
            </p:nvSpPr>
            <p:spPr bwMode="auto">
              <a:xfrm>
                <a:off x="2860675" y="4390594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Овал 135"/>
              <p:cNvSpPr/>
              <p:nvPr/>
            </p:nvSpPr>
            <p:spPr bwMode="auto">
              <a:xfrm>
                <a:off x="2484438" y="3717467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7" name="Овал 136"/>
              <p:cNvSpPr/>
              <p:nvPr/>
            </p:nvSpPr>
            <p:spPr bwMode="auto">
              <a:xfrm>
                <a:off x="2711450" y="4747795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8" name="Овал 137"/>
              <p:cNvSpPr/>
              <p:nvPr/>
            </p:nvSpPr>
            <p:spPr bwMode="auto">
              <a:xfrm>
                <a:off x="1225550" y="2857007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39" name="Овал 138"/>
              <p:cNvSpPr/>
              <p:nvPr/>
            </p:nvSpPr>
            <p:spPr bwMode="auto">
              <a:xfrm>
                <a:off x="1643063" y="3955601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0" name="Овал 139"/>
              <p:cNvSpPr/>
              <p:nvPr/>
            </p:nvSpPr>
            <p:spPr bwMode="auto">
              <a:xfrm>
                <a:off x="2600325" y="3873048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1" name="Овал 140"/>
              <p:cNvSpPr/>
              <p:nvPr/>
            </p:nvSpPr>
            <p:spPr bwMode="auto">
              <a:xfrm>
                <a:off x="3074988" y="3206271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Овал 141"/>
              <p:cNvSpPr/>
              <p:nvPr/>
            </p:nvSpPr>
            <p:spPr bwMode="auto">
              <a:xfrm>
                <a:off x="3038475" y="3431705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3" name="Овал 142"/>
              <p:cNvSpPr/>
              <p:nvPr/>
            </p:nvSpPr>
            <p:spPr bwMode="auto">
              <a:xfrm>
                <a:off x="2193925" y="3344389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4" name="Овал 143"/>
              <p:cNvSpPr/>
              <p:nvPr/>
            </p:nvSpPr>
            <p:spPr bwMode="auto">
              <a:xfrm>
                <a:off x="3078163" y="4406469"/>
                <a:ext cx="77787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5" name="Овал 144"/>
              <p:cNvSpPr/>
              <p:nvPr/>
            </p:nvSpPr>
            <p:spPr bwMode="auto">
              <a:xfrm>
                <a:off x="2354263" y="3728579"/>
                <a:ext cx="77787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6" name="Овал 145"/>
              <p:cNvSpPr/>
              <p:nvPr/>
            </p:nvSpPr>
            <p:spPr bwMode="auto">
              <a:xfrm>
                <a:off x="1836738" y="3565061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7" name="Овал 146"/>
              <p:cNvSpPr/>
              <p:nvPr/>
            </p:nvSpPr>
            <p:spPr bwMode="auto">
              <a:xfrm>
                <a:off x="1939925" y="2966549"/>
                <a:ext cx="128588" cy="128593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49" name="Овал 148"/>
              <p:cNvSpPr/>
              <p:nvPr/>
            </p:nvSpPr>
            <p:spPr bwMode="auto">
              <a:xfrm>
                <a:off x="1895475" y="3531721"/>
                <a:ext cx="150813" cy="149231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52" name="Овал 151"/>
              <p:cNvSpPr/>
              <p:nvPr/>
            </p:nvSpPr>
            <p:spPr bwMode="auto">
              <a:xfrm>
                <a:off x="1538288" y="4174685"/>
                <a:ext cx="128587" cy="128592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53" name="Овал 152"/>
              <p:cNvSpPr/>
              <p:nvPr/>
            </p:nvSpPr>
            <p:spPr bwMode="auto">
              <a:xfrm>
                <a:off x="2967038" y="4211199"/>
                <a:ext cx="128587" cy="128593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55" name="Овал 154"/>
              <p:cNvSpPr/>
              <p:nvPr/>
            </p:nvSpPr>
            <p:spPr bwMode="auto">
              <a:xfrm>
                <a:off x="4714875" y="4690643"/>
                <a:ext cx="79375" cy="79378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21" name="Содержимое 2"/>
              <p:cNvSpPr txBox="1">
                <a:spLocks/>
              </p:cNvSpPr>
              <p:nvPr/>
            </p:nvSpPr>
            <p:spPr bwMode="auto">
              <a:xfrm>
                <a:off x="3752850" y="4876388"/>
                <a:ext cx="1206500" cy="195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000" dirty="0" smtClean="0">
                    <a:solidFill>
                      <a:srgbClr val="000000"/>
                    </a:solidFill>
                  </a:rPr>
                  <a:t>Novosibirs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Овал 156"/>
              <p:cNvSpPr/>
              <p:nvPr/>
            </p:nvSpPr>
            <p:spPr bwMode="auto">
              <a:xfrm>
                <a:off x="4144963" y="4798597"/>
                <a:ext cx="128587" cy="128593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23" name="Содержимое 2"/>
              <p:cNvSpPr txBox="1">
                <a:spLocks/>
              </p:cNvSpPr>
              <p:nvPr/>
            </p:nvSpPr>
            <p:spPr bwMode="auto">
              <a:xfrm>
                <a:off x="3976688" y="4481513"/>
                <a:ext cx="1206500" cy="1952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Krasnoyars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Овал 159"/>
              <p:cNvSpPr/>
              <p:nvPr/>
            </p:nvSpPr>
            <p:spPr bwMode="auto">
              <a:xfrm>
                <a:off x="7558088" y="5122460"/>
                <a:ext cx="128587" cy="128593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Овал 160"/>
              <p:cNvSpPr/>
              <p:nvPr/>
            </p:nvSpPr>
            <p:spPr bwMode="auto">
              <a:xfrm>
                <a:off x="6754813" y="4481084"/>
                <a:ext cx="79375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Овал 161"/>
              <p:cNvSpPr/>
              <p:nvPr/>
            </p:nvSpPr>
            <p:spPr bwMode="auto">
              <a:xfrm>
                <a:off x="7194550" y="4630315"/>
                <a:ext cx="77788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Овал 162"/>
              <p:cNvSpPr/>
              <p:nvPr/>
            </p:nvSpPr>
            <p:spPr bwMode="auto">
              <a:xfrm>
                <a:off x="7686675" y="5060545"/>
                <a:ext cx="79375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4" name="Овал 163"/>
              <p:cNvSpPr/>
              <p:nvPr/>
            </p:nvSpPr>
            <p:spPr bwMode="auto">
              <a:xfrm>
                <a:off x="7519988" y="4596977"/>
                <a:ext cx="77787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Овал 164"/>
              <p:cNvSpPr/>
              <p:nvPr/>
            </p:nvSpPr>
            <p:spPr bwMode="auto">
              <a:xfrm>
                <a:off x="6254750" y="4649366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6" name="Овал 165"/>
              <p:cNvSpPr/>
              <p:nvPr/>
            </p:nvSpPr>
            <p:spPr bwMode="auto">
              <a:xfrm>
                <a:off x="6548438" y="4512836"/>
                <a:ext cx="79375" cy="79378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Овал 166"/>
              <p:cNvSpPr/>
              <p:nvPr/>
            </p:nvSpPr>
            <p:spPr bwMode="auto">
              <a:xfrm>
                <a:off x="5788025" y="4985929"/>
                <a:ext cx="77788" cy="77791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68" name="Овал 167"/>
              <p:cNvSpPr/>
              <p:nvPr/>
            </p:nvSpPr>
            <p:spPr bwMode="auto">
              <a:xfrm>
                <a:off x="6423025" y="5003393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Овал 31"/>
              <p:cNvSpPr/>
              <p:nvPr/>
            </p:nvSpPr>
            <p:spPr bwMode="auto">
              <a:xfrm>
                <a:off x="5451475" y="5063721"/>
                <a:ext cx="77788" cy="77790"/>
              </a:xfrm>
              <a:prstGeom prst="ellipse">
                <a:avLst/>
              </a:prstGeom>
              <a:solidFill>
                <a:srgbClr val="F8601C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6734" name="Содержимое 2"/>
              <p:cNvSpPr txBox="1">
                <a:spLocks/>
              </p:cNvSpPr>
              <p:nvPr/>
            </p:nvSpPr>
            <p:spPr bwMode="auto">
              <a:xfrm>
                <a:off x="2030413" y="2846388"/>
                <a:ext cx="2701925" cy="279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Saint-Petersburg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Содержимое 2"/>
              <p:cNvSpPr txBox="1">
                <a:spLocks/>
              </p:cNvSpPr>
              <p:nvPr/>
            </p:nvSpPr>
            <p:spPr>
              <a:xfrm>
                <a:off x="1354138" y="3361853"/>
                <a:ext cx="1670050" cy="219084"/>
              </a:xfrm>
              <a:prstGeom prst="rect">
                <a:avLst/>
              </a:prstGeom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200" b="1" dirty="0" smtClean="0">
                    <a:solidFill>
                      <a:srgbClr val="000000"/>
                    </a:solidFill>
                  </a:rPr>
                  <a:t>Moscow</a:t>
                </a:r>
                <a:endParaRPr lang="ru-RU" alt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36" name="Содержимое 2"/>
              <p:cNvSpPr txBox="1">
                <a:spLocks/>
              </p:cNvSpPr>
              <p:nvPr/>
            </p:nvSpPr>
            <p:spPr bwMode="auto">
              <a:xfrm>
                <a:off x="906463" y="4276725"/>
                <a:ext cx="2249487" cy="238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Rostov-</a:t>
                </a:r>
                <a:r>
                  <a:rPr lang="en-US" altLang="ru-RU" sz="1100" dirty="0" err="1" smtClean="0">
                    <a:solidFill>
                      <a:srgbClr val="000000"/>
                    </a:solidFill>
                  </a:rPr>
                  <a:t>na</a:t>
                </a: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-</a:t>
                </a:r>
                <a:r>
                  <a:rPr lang="en-US" altLang="ru-RU" sz="1100" dirty="0" err="1" smtClean="0">
                    <a:solidFill>
                      <a:srgbClr val="000000"/>
                    </a:solidFill>
                  </a:rPr>
                  <a:t>Donu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Овал 38"/>
              <p:cNvSpPr/>
              <p:nvPr/>
            </p:nvSpPr>
            <p:spPr bwMode="auto">
              <a:xfrm>
                <a:off x="2968625" y="4208023"/>
                <a:ext cx="128588" cy="128593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38" name="Содержимое 2"/>
              <p:cNvSpPr txBox="1">
                <a:spLocks/>
              </p:cNvSpPr>
              <p:nvPr/>
            </p:nvSpPr>
            <p:spPr bwMode="auto">
              <a:xfrm>
                <a:off x="2820988" y="4022725"/>
                <a:ext cx="2178050" cy="2524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err="1" smtClean="0">
                    <a:solidFill>
                      <a:srgbClr val="000000"/>
                    </a:solidFill>
                  </a:rPr>
                  <a:t>Ekaterinburg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39" name="Содержимое 2"/>
              <p:cNvSpPr txBox="1">
                <a:spLocks/>
              </p:cNvSpPr>
              <p:nvPr/>
            </p:nvSpPr>
            <p:spPr bwMode="auto">
              <a:xfrm>
                <a:off x="5389563" y="4799013"/>
                <a:ext cx="1439862" cy="2524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Irkuts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40" name="Содержимое 2"/>
              <p:cNvSpPr txBox="1">
                <a:spLocks/>
              </p:cNvSpPr>
              <p:nvPr/>
            </p:nvSpPr>
            <p:spPr bwMode="auto">
              <a:xfrm>
                <a:off x="6627813" y="4903788"/>
                <a:ext cx="1371600" cy="327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000" dirty="0" smtClean="0">
                    <a:solidFill>
                      <a:srgbClr val="000000"/>
                    </a:solidFill>
                  </a:rPr>
                  <a:t>Vladivosto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Овал 47"/>
              <p:cNvSpPr/>
              <p:nvPr/>
            </p:nvSpPr>
            <p:spPr bwMode="auto">
              <a:xfrm>
                <a:off x="2138363" y="3742868"/>
                <a:ext cx="149225" cy="150818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42" name="Содержимое 2"/>
              <p:cNvSpPr txBox="1">
                <a:spLocks/>
              </p:cNvSpPr>
              <p:nvPr/>
            </p:nvSpPr>
            <p:spPr bwMode="auto">
              <a:xfrm>
                <a:off x="2055813" y="3490913"/>
                <a:ext cx="2590800" cy="3063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err="1" smtClean="0">
                    <a:solidFill>
                      <a:srgbClr val="000000"/>
                    </a:solidFill>
                  </a:rPr>
                  <a:t>Nizhnii</a:t>
                </a: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-Novgorod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Овал 49"/>
              <p:cNvSpPr/>
              <p:nvPr/>
            </p:nvSpPr>
            <p:spPr bwMode="auto">
              <a:xfrm>
                <a:off x="4491038" y="3304700"/>
                <a:ext cx="79375" cy="7937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44" name="Содержимое 2"/>
              <p:cNvSpPr txBox="1">
                <a:spLocks/>
              </p:cNvSpPr>
              <p:nvPr/>
            </p:nvSpPr>
            <p:spPr bwMode="auto">
              <a:xfrm>
                <a:off x="4552950" y="3244850"/>
                <a:ext cx="1727200" cy="255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000" dirty="0" smtClean="0">
                    <a:solidFill>
                      <a:srgbClr val="000000"/>
                    </a:solidFill>
                  </a:rPr>
                  <a:t>Norils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Овал 51"/>
              <p:cNvSpPr/>
              <p:nvPr/>
            </p:nvSpPr>
            <p:spPr bwMode="auto">
              <a:xfrm>
                <a:off x="5697538" y="3827008"/>
                <a:ext cx="79375" cy="7937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46" name="Содержимое 2"/>
              <p:cNvSpPr txBox="1">
                <a:spLocks/>
              </p:cNvSpPr>
              <p:nvPr/>
            </p:nvSpPr>
            <p:spPr bwMode="auto">
              <a:xfrm>
                <a:off x="5729288" y="3813175"/>
                <a:ext cx="1562100" cy="195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err="1" smtClean="0">
                    <a:solidFill>
                      <a:srgbClr val="000000"/>
                    </a:solidFill>
                  </a:rPr>
                  <a:t>Mirnii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Овал 53"/>
              <p:cNvSpPr/>
              <p:nvPr/>
            </p:nvSpPr>
            <p:spPr bwMode="auto">
              <a:xfrm>
                <a:off x="6256338" y="3463457"/>
                <a:ext cx="77787" cy="7937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48" name="Содержимое 2"/>
              <p:cNvSpPr txBox="1">
                <a:spLocks/>
              </p:cNvSpPr>
              <p:nvPr/>
            </p:nvSpPr>
            <p:spPr bwMode="auto">
              <a:xfrm>
                <a:off x="6321425" y="3409950"/>
                <a:ext cx="1206500" cy="1952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100" dirty="0" smtClean="0">
                    <a:solidFill>
                      <a:srgbClr val="000000"/>
                    </a:solidFill>
                  </a:rPr>
                  <a:t>Yakutsk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Овал 55"/>
              <p:cNvSpPr/>
              <p:nvPr/>
            </p:nvSpPr>
            <p:spPr bwMode="auto">
              <a:xfrm>
                <a:off x="7883525" y="4300102"/>
                <a:ext cx="77788" cy="77791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Овал 57"/>
              <p:cNvSpPr/>
              <p:nvPr/>
            </p:nvSpPr>
            <p:spPr bwMode="auto">
              <a:xfrm>
                <a:off x="5141913" y="4608089"/>
                <a:ext cx="79375" cy="7937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752" name="Содержимое 2"/>
              <p:cNvSpPr txBox="1">
                <a:spLocks/>
              </p:cNvSpPr>
              <p:nvPr/>
            </p:nvSpPr>
            <p:spPr bwMode="auto">
              <a:xfrm>
                <a:off x="5126038" y="4465638"/>
                <a:ext cx="2095500" cy="193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b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lnSpc>
                    <a:spcPct val="85000"/>
                  </a:lnSpc>
                  <a:buFont typeface="Arial" pitchFamily="34" charset="0"/>
                  <a:buNone/>
                </a:pPr>
                <a:r>
                  <a:rPr lang="en-US" altLang="ru-RU" sz="1000" dirty="0" err="1" smtClean="0">
                    <a:solidFill>
                      <a:srgbClr val="000000"/>
                    </a:solidFill>
                  </a:rPr>
                  <a:t>Ust-Kut</a:t>
                </a:r>
                <a:endParaRPr lang="ru-RU" alt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Овал 59"/>
              <p:cNvSpPr/>
              <p:nvPr/>
            </p:nvSpPr>
            <p:spPr bwMode="auto">
              <a:xfrm>
                <a:off x="7575550" y="5125635"/>
                <a:ext cx="149225" cy="149231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Овал 169"/>
              <p:cNvSpPr/>
              <p:nvPr/>
            </p:nvSpPr>
            <p:spPr bwMode="auto">
              <a:xfrm>
                <a:off x="5416550" y="5006568"/>
                <a:ext cx="79375" cy="7937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48" name="TextBox 1"/>
          <p:cNvSpPr txBox="1">
            <a:spLocks noChangeArrowheads="1"/>
          </p:cNvSpPr>
          <p:nvPr/>
        </p:nvSpPr>
        <p:spPr bwMode="auto">
          <a:xfrm>
            <a:off x="5292080" y="5445224"/>
            <a:ext cx="3694162" cy="79868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1800" dirty="0" smtClean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Ежегодно:</a:t>
            </a:r>
            <a:endParaRPr lang="en-US" altLang="ru-RU" sz="18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marL="180000" indent="-180000" eaLnBrk="1" hangingPunct="1">
              <a:lnSpc>
                <a:spcPct val="85000"/>
              </a:lnSpc>
              <a:buFont typeface="Arial" pitchFamily="34" charset="0"/>
              <a:buChar char="•"/>
            </a:pPr>
            <a:r>
              <a:rPr lang="ru-RU" altLang="ru-RU" sz="1800" dirty="0" smtClean="0">
                <a:solidFill>
                  <a:srgbClr val="C00000"/>
                </a:solidFill>
                <a:cs typeface="Arial" pitchFamily="34" charset="0"/>
              </a:rPr>
              <a:t>Более 5000 заказов</a:t>
            </a:r>
            <a:endParaRPr lang="en-US" altLang="ru-RU" sz="18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marL="180000" indent="-180000" eaLnBrk="1" hangingPunct="1">
              <a:lnSpc>
                <a:spcPct val="85000"/>
              </a:lnSpc>
              <a:buFont typeface="Arial" pitchFamily="34" charset="0"/>
              <a:buChar char="•"/>
            </a:pPr>
            <a:r>
              <a:rPr lang="ru-RU" altLang="ru-RU" sz="1800" dirty="0" smtClean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Свыше </a:t>
            </a:r>
            <a:r>
              <a:rPr lang="en-US" altLang="ru-RU" sz="1800" dirty="0" smtClean="0">
                <a:solidFill>
                  <a:srgbClr val="C00000"/>
                </a:solidFill>
                <a:cs typeface="Arial" pitchFamily="34" charset="0"/>
              </a:rPr>
              <a:t>2</a:t>
            </a:r>
            <a:r>
              <a:rPr lang="ru-RU" altLang="ru-RU" sz="1800" dirty="0" smtClean="0">
                <a:solidFill>
                  <a:srgbClr val="C00000"/>
                </a:solidFill>
                <a:cs typeface="Arial" pitchFamily="34" charset="0"/>
              </a:rPr>
              <a:t>5</a:t>
            </a:r>
            <a:r>
              <a:rPr lang="en-US" altLang="ru-RU" sz="1800" dirty="0" smtClean="0">
                <a:solidFill>
                  <a:srgbClr val="C00000"/>
                </a:solidFill>
                <a:cs typeface="Arial" pitchFamily="34" charset="0"/>
              </a:rPr>
              <a:t> 0</a:t>
            </a:r>
            <a:r>
              <a:rPr lang="ru-RU" altLang="ru-RU" sz="1800" dirty="0" smtClean="0">
                <a:solidFill>
                  <a:srgbClr val="C00000"/>
                </a:solidFill>
                <a:cs typeface="Arial" pitchFamily="34" charset="0"/>
              </a:rPr>
              <a:t>00 тонн</a:t>
            </a:r>
            <a:endParaRPr lang="en-US" altLang="ru-RU" sz="18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54" name="TextBox 7"/>
          <p:cNvSpPr txBox="1">
            <a:spLocks noChangeArrowheads="1"/>
          </p:cNvSpPr>
          <p:nvPr/>
        </p:nvSpPr>
        <p:spPr bwMode="auto">
          <a:xfrm>
            <a:off x="251520" y="836712"/>
            <a:ext cx="3724275" cy="1295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1800" dirty="0" smtClean="0">
                <a:solidFill>
                  <a:srgbClr val="C00000"/>
                </a:solidFill>
                <a:cs typeface="Arial" pitchFamily="34" charset="0"/>
              </a:rPr>
              <a:t>Более</a:t>
            </a:r>
            <a:r>
              <a:rPr lang="en-US" altLang="ru-RU" sz="1800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endParaRPr lang="ru-RU" altLang="ru-RU" sz="1800" dirty="0" smtClean="0">
              <a:solidFill>
                <a:srgbClr val="C00000"/>
              </a:solidFill>
              <a:cs typeface="Arial" pitchFamily="34" charset="0"/>
            </a:endParaRPr>
          </a:p>
          <a:p>
            <a:pPr eaLnBrk="1" hangingPunct="1">
              <a:lnSpc>
                <a:spcPct val="85000"/>
              </a:lnSpc>
            </a:pPr>
            <a:r>
              <a:rPr lang="ru-RU" altLang="ru-RU" dirty="0" smtClean="0">
                <a:solidFill>
                  <a:srgbClr val="C00000"/>
                </a:solidFill>
                <a:cs typeface="Arial" pitchFamily="34" charset="0"/>
              </a:rPr>
              <a:t>11 000</a:t>
            </a:r>
            <a:r>
              <a:rPr lang="en-US" altLang="ru-RU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altLang="ru-RU" dirty="0" smtClean="0">
                <a:solidFill>
                  <a:srgbClr val="C00000"/>
                </a:solidFill>
                <a:cs typeface="Arial" pitchFamily="34" charset="0"/>
              </a:rPr>
              <a:t>маршрутов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dirty="0" smtClean="0">
                <a:solidFill>
                  <a:srgbClr val="C00000"/>
                </a:solidFill>
                <a:cs typeface="Arial" pitchFamily="34" charset="0"/>
              </a:rPr>
              <a:t>118 городов</a:t>
            </a:r>
            <a:r>
              <a:rPr lang="ru-RU" altLang="ru-RU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endParaRPr lang="en-US" altLang="ru-RU" dirty="0" smtClean="0">
              <a:solidFill>
                <a:prstClr val="black"/>
              </a:solidFill>
              <a:cs typeface="Arial" pitchFamily="34" charset="0"/>
            </a:endParaRPr>
          </a:p>
          <a:p>
            <a:pPr eaLnBrk="1" hangingPunct="1">
              <a:lnSpc>
                <a:spcPct val="85000"/>
              </a:lnSpc>
            </a:pPr>
            <a:r>
              <a:rPr lang="ru-RU" altLang="ru-RU" dirty="0" smtClean="0">
                <a:solidFill>
                  <a:srgbClr val="C00000"/>
                </a:solidFill>
                <a:cs typeface="Arial" pitchFamily="34" charset="0"/>
              </a:rPr>
              <a:t>680</a:t>
            </a:r>
            <a:r>
              <a:rPr lang="ru-RU" altLang="ru-RU" dirty="0" smtClean="0">
                <a:solidFill>
                  <a:prstClr val="black"/>
                </a:solidFill>
                <a:cs typeface="Arial" pitchFamily="34" charset="0"/>
              </a:rPr>
              <a:t> агентов</a:t>
            </a:r>
            <a:endParaRPr lang="ru-RU" alt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205317" y="3849342"/>
            <a:ext cx="1241045" cy="2375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</a:pPr>
            <a:r>
              <a:rPr lang="en-US" sz="1100" dirty="0" err="1">
                <a:solidFill>
                  <a:srgbClr val="000000"/>
                </a:solidFill>
                <a:ea typeface="MS PGothic" pitchFamily="34" charset="-128"/>
              </a:rPr>
              <a:t>Yuzhno-Sakhalinsk</a:t>
            </a:r>
            <a:endParaRPr lang="ru-RU" sz="11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58" name="Заголовок 1"/>
          <p:cNvSpPr txBox="1">
            <a:spLocks/>
          </p:cNvSpPr>
          <p:nvPr/>
        </p:nvSpPr>
        <p:spPr>
          <a:xfrm>
            <a:off x="251520" y="0"/>
            <a:ext cx="8892480" cy="6206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  <a:defRPr/>
            </a:pPr>
            <a:r>
              <a:rPr lang="ru-RU" sz="2000" b="1" dirty="0" smtClean="0">
                <a:latin typeface="Arial" charset="0"/>
                <a:ea typeface="+mn-ea"/>
                <a:cs typeface="Arial" charset="0"/>
              </a:rPr>
              <a:t>ОТЛК для малого бизнеса: сетевые технологии доставки мелких партий грузов и интернет продажи  </a:t>
            </a:r>
            <a:endParaRPr lang="ru-RU" sz="2000" b="1" dirty="0"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5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1729" y="764704"/>
            <a:ext cx="6332271" cy="1741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7452320" y="2348880"/>
            <a:ext cx="1545941" cy="1025170"/>
            <a:chOff x="852130" y="4474255"/>
            <a:chExt cx="1427480" cy="1025170"/>
          </a:xfrm>
        </p:grpSpPr>
        <p:grpSp>
          <p:nvGrpSpPr>
            <p:cNvPr id="6" name="Группа 38"/>
            <p:cNvGrpSpPr/>
            <p:nvPr/>
          </p:nvGrpSpPr>
          <p:grpSpPr>
            <a:xfrm>
              <a:off x="852130" y="4474255"/>
              <a:ext cx="1427480" cy="1025170"/>
              <a:chOff x="3376642" y="3674652"/>
              <a:chExt cx="1853254" cy="1025170"/>
            </a:xfrm>
          </p:grpSpPr>
          <p:grpSp>
            <p:nvGrpSpPr>
              <p:cNvPr id="7" name="Группа 39"/>
              <p:cNvGrpSpPr/>
              <p:nvPr/>
            </p:nvGrpSpPr>
            <p:grpSpPr>
              <a:xfrm rot="10800000">
                <a:off x="5028720" y="3674653"/>
                <a:ext cx="201176" cy="1025169"/>
                <a:chOff x="2987824" y="2420888"/>
                <a:chExt cx="216024" cy="3454855"/>
              </a:xfrm>
            </p:grpSpPr>
            <p:cxnSp>
              <p:nvCxnSpPr>
                <p:cNvPr id="186" name="Прямая соединительная линия 185"/>
                <p:cNvCxnSpPr/>
                <p:nvPr/>
              </p:nvCxnSpPr>
              <p:spPr>
                <a:xfrm flipH="1">
                  <a:off x="2987824" y="2420888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Прямая соединительная линия 186"/>
                <p:cNvCxnSpPr/>
                <p:nvPr/>
              </p:nvCxnSpPr>
              <p:spPr>
                <a:xfrm>
                  <a:off x="2987824" y="2420888"/>
                  <a:ext cx="0" cy="3454855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" name="Прямая соединительная линия 187"/>
                <p:cNvCxnSpPr/>
                <p:nvPr/>
              </p:nvCxnSpPr>
              <p:spPr>
                <a:xfrm>
                  <a:off x="2987824" y="5875743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Группа 40"/>
              <p:cNvGrpSpPr/>
              <p:nvPr/>
            </p:nvGrpSpPr>
            <p:grpSpPr>
              <a:xfrm>
                <a:off x="3376642" y="3674652"/>
                <a:ext cx="201176" cy="1025169"/>
                <a:chOff x="2987824" y="2420888"/>
                <a:chExt cx="216024" cy="3454855"/>
              </a:xfrm>
            </p:grpSpPr>
            <p:cxnSp>
              <p:nvCxnSpPr>
                <p:cNvPr id="183" name="Прямая соединительная линия 182"/>
                <p:cNvCxnSpPr/>
                <p:nvPr/>
              </p:nvCxnSpPr>
              <p:spPr>
                <a:xfrm flipH="1">
                  <a:off x="2987824" y="2420888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Прямая соединительная линия 183"/>
                <p:cNvCxnSpPr/>
                <p:nvPr/>
              </p:nvCxnSpPr>
              <p:spPr>
                <a:xfrm>
                  <a:off x="2987824" y="2420888"/>
                  <a:ext cx="0" cy="3454855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Прямая соединительная линия 184"/>
                <p:cNvCxnSpPr/>
                <p:nvPr/>
              </p:nvCxnSpPr>
              <p:spPr>
                <a:xfrm>
                  <a:off x="2987824" y="5875743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Группа 41"/>
              <p:cNvGrpSpPr/>
              <p:nvPr/>
            </p:nvGrpSpPr>
            <p:grpSpPr>
              <a:xfrm rot="5400000">
                <a:off x="4202681" y="2848674"/>
                <a:ext cx="201176" cy="1853253"/>
                <a:chOff x="2987824" y="2420888"/>
                <a:chExt cx="216024" cy="3454855"/>
              </a:xfrm>
            </p:grpSpPr>
            <p:cxnSp>
              <p:nvCxnSpPr>
                <p:cNvPr id="180" name="Прямая соединительная линия 179"/>
                <p:cNvCxnSpPr/>
                <p:nvPr/>
              </p:nvCxnSpPr>
              <p:spPr>
                <a:xfrm flipH="1">
                  <a:off x="2987824" y="2420888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Прямая соединительная линия 180"/>
                <p:cNvCxnSpPr/>
                <p:nvPr/>
              </p:nvCxnSpPr>
              <p:spPr>
                <a:xfrm>
                  <a:off x="2987824" y="2420888"/>
                  <a:ext cx="0" cy="3454855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Прямая соединительная линия 181"/>
                <p:cNvCxnSpPr/>
                <p:nvPr/>
              </p:nvCxnSpPr>
              <p:spPr>
                <a:xfrm>
                  <a:off x="2987824" y="5875743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Группа 42"/>
              <p:cNvGrpSpPr/>
              <p:nvPr/>
            </p:nvGrpSpPr>
            <p:grpSpPr>
              <a:xfrm rot="16200000">
                <a:off x="4202681" y="3672606"/>
                <a:ext cx="201176" cy="1853254"/>
                <a:chOff x="2987824" y="2420888"/>
                <a:chExt cx="216024" cy="3454855"/>
              </a:xfrm>
            </p:grpSpPr>
            <p:cxnSp>
              <p:nvCxnSpPr>
                <p:cNvPr id="177" name="Прямая соединительная линия 176"/>
                <p:cNvCxnSpPr/>
                <p:nvPr/>
              </p:nvCxnSpPr>
              <p:spPr>
                <a:xfrm flipH="1">
                  <a:off x="2987824" y="2420888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Прямая соединительная линия 177"/>
                <p:cNvCxnSpPr/>
                <p:nvPr/>
              </p:nvCxnSpPr>
              <p:spPr>
                <a:xfrm>
                  <a:off x="2987824" y="2420888"/>
                  <a:ext cx="0" cy="3454855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Прямая соединительная линия 178"/>
                <p:cNvCxnSpPr/>
                <p:nvPr/>
              </p:nvCxnSpPr>
              <p:spPr>
                <a:xfrm>
                  <a:off x="2987824" y="5875743"/>
                  <a:ext cx="216024" cy="0"/>
                </a:xfrm>
                <a:prstGeom prst="line">
                  <a:avLst/>
                </a:prstGeom>
                <a:ln w="15875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Группа 3"/>
            <p:cNvGrpSpPr/>
            <p:nvPr/>
          </p:nvGrpSpPr>
          <p:grpSpPr>
            <a:xfrm>
              <a:off x="947253" y="4574904"/>
              <a:ext cx="1237234" cy="841954"/>
              <a:chOff x="3468524" y="2869539"/>
              <a:chExt cx="1237234" cy="841954"/>
            </a:xfrm>
          </p:grpSpPr>
          <p:pic>
            <p:nvPicPr>
              <p:cNvPr id="171" name="Picture 2" descr="http://www.cobratelecom.ru/files/%D0%9D%D0%98%D0%98%D0%90%D0%A1.gif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68524" y="2869539"/>
                <a:ext cx="792088" cy="3603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2" name="Picture 7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19908" y="3063793"/>
                <a:ext cx="1085850" cy="6477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189" name="Picture 1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5222129"/>
            <a:ext cx="2325203" cy="163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2" y="4941168"/>
            <a:ext cx="1949247" cy="144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725144"/>
            <a:ext cx="1795612" cy="112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2" name="Номер слайда 19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297BEA-1053-4585-B6AF-A21764F6808A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350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8"/>
          <p:cNvSpPr txBox="1">
            <a:spLocks/>
          </p:cNvSpPr>
          <p:nvPr/>
        </p:nvSpPr>
        <p:spPr bwMode="auto">
          <a:xfrm>
            <a:off x="179512" y="0"/>
            <a:ext cx="8803208" cy="607924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1600" kern="0">
                <a:solidFill>
                  <a:srgbClr val="00436C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 hangingPunct="1">
              <a:lnSpc>
                <a:spcPct val="80000"/>
              </a:lnSpc>
              <a:defRPr/>
            </a:pPr>
            <a:r>
              <a:rPr lang="ru-RU" sz="20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Современная </a:t>
            </a:r>
            <a:r>
              <a:rPr lang="en-US" sz="20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IT-</a:t>
            </a:r>
            <a:r>
              <a:rPr lang="ru-RU" sz="20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платформа на </a:t>
            </a:r>
            <a:r>
              <a:rPr lang="ru-RU" sz="2000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базе </a:t>
            </a:r>
            <a:r>
              <a:rPr lang="en-US" sz="20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Oracle</a:t>
            </a:r>
            <a:endParaRPr lang="ru-RU" sz="2000" b="1" kern="1200" dirty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06093" y="2254473"/>
            <a:ext cx="2725747" cy="27597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36000" rIns="36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FF0000"/>
                </a:solidFill>
              </a:defRPr>
            </a:lvl1pPr>
            <a:lvl2pPr marL="742950" lvl="1" indent="-285750"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</p:txBody>
      </p:sp>
      <p:grpSp>
        <p:nvGrpSpPr>
          <p:cNvPr id="2" name="Группа 54"/>
          <p:cNvGrpSpPr>
            <a:grpSpLocks noChangeAspect="1"/>
          </p:cNvGrpSpPr>
          <p:nvPr/>
        </p:nvGrpSpPr>
        <p:grpSpPr>
          <a:xfrm>
            <a:off x="835060" y="2536394"/>
            <a:ext cx="1916517" cy="2098817"/>
            <a:chOff x="405888" y="2132856"/>
            <a:chExt cx="2574032" cy="2602873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05888" y="2132856"/>
              <a:ext cx="1504264" cy="1666769"/>
              <a:chOff x="405888" y="2277189"/>
              <a:chExt cx="1504264" cy="1666769"/>
            </a:xfrm>
          </p:grpSpPr>
          <p:pic>
            <p:nvPicPr>
              <p:cNvPr id="63" name="Picture 2" descr="Блок Схема Базы Данных графические заготовки Загрузить 198 clip arts (Страница 1) - ClipartLogo.com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888" y="2277189"/>
                <a:ext cx="1504264" cy="1666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" name="Прямоугольник 63"/>
              <p:cNvSpPr/>
              <p:nvPr/>
            </p:nvSpPr>
            <p:spPr>
              <a:xfrm>
                <a:off x="775232" y="2643801"/>
                <a:ext cx="954191" cy="4580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dirty="0">
                    <a:solidFill>
                      <a:schemeClr val="accent5">
                        <a:lumMod val="50000"/>
                      </a:schemeClr>
                    </a:solidFill>
                    <a:effectLst>
                      <a:glow rad="127000">
                        <a:schemeClr val="accent3">
                          <a:satMod val="175000"/>
                          <a:alpha val="88000"/>
                        </a:schemeClr>
                      </a:glow>
                    </a:effectLst>
                  </a:rPr>
                  <a:t>CRM</a:t>
                </a:r>
                <a:endParaRPr lang="ru-RU" b="1" dirty="0">
                  <a:solidFill>
                    <a:schemeClr val="accent5">
                      <a:lumMod val="50000"/>
                    </a:schemeClr>
                  </a:solidFill>
                  <a:effectLst>
                    <a:glow rad="127000">
                      <a:schemeClr val="accent3">
                        <a:satMod val="175000"/>
                        <a:alpha val="88000"/>
                      </a:schemeClr>
                    </a:glow>
                  </a:effectLst>
                </a:endParaRPr>
              </a:p>
            </p:txBody>
          </p:sp>
        </p:grpSp>
        <p:grpSp>
          <p:nvGrpSpPr>
            <p:cNvPr id="5" name="Группа 3"/>
            <p:cNvGrpSpPr/>
            <p:nvPr/>
          </p:nvGrpSpPr>
          <p:grpSpPr>
            <a:xfrm>
              <a:off x="1475656" y="2564904"/>
              <a:ext cx="1504264" cy="1666769"/>
              <a:chOff x="1755784" y="2512614"/>
              <a:chExt cx="1504264" cy="1666769"/>
            </a:xfrm>
          </p:grpSpPr>
          <p:pic>
            <p:nvPicPr>
              <p:cNvPr id="61" name="Picture 2" descr="Блок Схема Базы Данных графические заготовки Загрузить 198 clip arts (Страница 1) - ClipartLogo.com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5784" y="2512614"/>
                <a:ext cx="1504264" cy="1666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2" name="Прямоугольник 61"/>
              <p:cNvSpPr/>
              <p:nvPr/>
            </p:nvSpPr>
            <p:spPr>
              <a:xfrm>
                <a:off x="2076414" y="2878656"/>
                <a:ext cx="1091981" cy="4580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dirty="0">
                    <a:solidFill>
                      <a:schemeClr val="accent5">
                        <a:lumMod val="50000"/>
                      </a:schemeClr>
                    </a:solidFill>
                    <a:effectLst>
                      <a:glow rad="127000">
                        <a:schemeClr val="accent3">
                          <a:satMod val="175000"/>
                          <a:alpha val="88000"/>
                        </a:schemeClr>
                      </a:glow>
                    </a:effectLst>
                  </a:rPr>
                  <a:t>OeBS</a:t>
                </a:r>
                <a:endParaRPr lang="ru-RU" b="1" dirty="0">
                  <a:solidFill>
                    <a:schemeClr val="accent5">
                      <a:lumMod val="50000"/>
                    </a:schemeClr>
                  </a:solidFill>
                  <a:effectLst>
                    <a:glow rad="127000">
                      <a:schemeClr val="accent3">
                        <a:satMod val="175000"/>
                        <a:alpha val="88000"/>
                      </a:schemeClr>
                    </a:glow>
                  </a:effectLst>
                </a:endParaRPr>
              </a:p>
            </p:txBody>
          </p:sp>
        </p:grpSp>
        <p:grpSp>
          <p:nvGrpSpPr>
            <p:cNvPr id="6" name="Группа 4"/>
            <p:cNvGrpSpPr/>
            <p:nvPr/>
          </p:nvGrpSpPr>
          <p:grpSpPr>
            <a:xfrm>
              <a:off x="539552" y="3068960"/>
              <a:ext cx="1504264" cy="1666769"/>
              <a:chOff x="1003652" y="3162495"/>
              <a:chExt cx="1504264" cy="1666769"/>
            </a:xfrm>
          </p:grpSpPr>
          <p:pic>
            <p:nvPicPr>
              <p:cNvPr id="59" name="Picture 2" descr="Блок Схема Базы Данных графические заготовки Загрузить 198 clip arts (Страница 1) - ClipartLogo.com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3652" y="3162495"/>
                <a:ext cx="1504264" cy="1666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" name="Прямоугольник 59"/>
              <p:cNvSpPr/>
              <p:nvPr/>
            </p:nvSpPr>
            <p:spPr>
              <a:xfrm>
                <a:off x="1324282" y="3551239"/>
                <a:ext cx="936968" cy="4580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dirty="0">
                    <a:solidFill>
                      <a:schemeClr val="accent5">
                        <a:lumMod val="50000"/>
                      </a:schemeClr>
                    </a:solidFill>
                    <a:effectLst>
                      <a:glow rad="127000">
                        <a:schemeClr val="accent3">
                          <a:satMod val="175000"/>
                          <a:alpha val="88000"/>
                        </a:schemeClr>
                      </a:glow>
                    </a:effectLst>
                  </a:rPr>
                  <a:t>OTM</a:t>
                </a:r>
                <a:endParaRPr lang="ru-RU" b="1" dirty="0">
                  <a:solidFill>
                    <a:schemeClr val="accent5">
                      <a:lumMod val="50000"/>
                    </a:schemeClr>
                  </a:solidFill>
                  <a:effectLst>
                    <a:glow rad="127000">
                      <a:schemeClr val="accent3">
                        <a:satMod val="175000"/>
                        <a:alpha val="88000"/>
                      </a:schemeClr>
                    </a:glow>
                  </a:effectLst>
                </a:endParaRPr>
              </a:p>
            </p:txBody>
          </p:sp>
        </p:grpSp>
      </p:grpSp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12" y="4520857"/>
            <a:ext cx="2272044" cy="53581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Прямоугольник 6"/>
          <p:cNvSpPr/>
          <p:nvPr/>
        </p:nvSpPr>
        <p:spPr>
          <a:xfrm>
            <a:off x="703569" y="2229197"/>
            <a:ext cx="20818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  <a:effectLst>
                  <a:glow rad="152400">
                    <a:schemeClr val="accent3">
                      <a:satMod val="175000"/>
                      <a:alpha val="90000"/>
                    </a:schemeClr>
                  </a:glow>
                </a:effectLst>
                <a:cs typeface="Aharoni" panose="02010803020104030203" pitchFamily="2" charset="-79"/>
              </a:rPr>
              <a:t>АСУ ОД ТК</a:t>
            </a:r>
            <a:endParaRPr lang="ru-RU" sz="2800" b="1" dirty="0">
              <a:solidFill>
                <a:srgbClr val="FF0000"/>
              </a:solidFill>
              <a:effectLst>
                <a:glow rad="152400">
                  <a:schemeClr val="accent3">
                    <a:satMod val="175000"/>
                    <a:alpha val="90000"/>
                  </a:schemeClr>
                </a:glow>
              </a:effectLst>
              <a:cs typeface="Aharoni" panose="02010803020104030203" pitchFamily="2" charset="-79"/>
            </a:endParaRPr>
          </a:p>
        </p:txBody>
      </p:sp>
      <p:pic>
        <p:nvPicPr>
          <p:cNvPr id="67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806" y="1264378"/>
            <a:ext cx="787861" cy="6761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8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0996" y="5581814"/>
            <a:ext cx="2280502" cy="46955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68"/>
          <p:cNvSpPr/>
          <p:nvPr/>
        </p:nvSpPr>
        <p:spPr>
          <a:xfrm>
            <a:off x="350713" y="5140265"/>
            <a:ext cx="2924198" cy="361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750" b="1" dirty="0">
                <a:solidFill>
                  <a:srgbClr val="FF0000"/>
                </a:solidFill>
                <a:effectLst>
                  <a:glow rad="152400">
                    <a:schemeClr val="accent3">
                      <a:satMod val="175000"/>
                      <a:alpha val="90000"/>
                    </a:schemeClr>
                  </a:glow>
                </a:effectLst>
                <a:cs typeface="Aharoni" panose="02010803020104030203" pitchFamily="2" charset="-79"/>
              </a:rPr>
              <a:t>BI (Business intelligence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06551" y="5114866"/>
            <a:ext cx="2797297" cy="1118255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36000" rIns="36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FF0000"/>
                </a:solidFill>
              </a:defRPr>
            </a:lvl1pPr>
            <a:lvl2pPr marL="742950" lvl="1" indent="-285750"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08548" y="1034684"/>
            <a:ext cx="2723292" cy="1118255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36000" rIns="36000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FF0000"/>
                </a:solidFill>
              </a:defRPr>
            </a:lvl1pPr>
            <a:lvl2pPr marL="742950" lvl="1" indent="-285750">
              <a:buFont typeface="Arial" panose="020B0604020202020204" pitchFamily="34" charset="0"/>
              <a:buChar char="•"/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endParaRPr lang="ru-RU" sz="1400" b="0" dirty="0" smtClean="0">
              <a:solidFill>
                <a:schemeClr val="bg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3834258" y="1073944"/>
            <a:ext cx="4986214" cy="432048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гнозирование продаж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834258" y="1729828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тенциальные сделки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3834258" y="2370136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сурсное обеспечение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3834258" y="3026349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е решения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834258" y="3684057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расходов соисполнителей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3834258" y="5031086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троль исполнения заказа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3834258" y="5698311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втоматическая корректировка заказа по факту возникновения изменений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834258" y="4351914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втоматизированное формирование и согласование заявки соисполнителя</a:t>
            </a:r>
            <a:endParaRPr lang="ru-RU" sz="1400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Группа 79"/>
          <p:cNvGrpSpPr/>
          <p:nvPr/>
        </p:nvGrpSpPr>
        <p:grpSpPr>
          <a:xfrm>
            <a:off x="3451367" y="1055968"/>
            <a:ext cx="432656" cy="468000"/>
            <a:chOff x="1228774" y="1561920"/>
            <a:chExt cx="664892" cy="648502"/>
          </a:xfrm>
        </p:grpSpPr>
        <p:sp>
          <p:nvSpPr>
            <p:cNvPr id="81" name="Овал 80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8" name="Группа 82"/>
          <p:cNvGrpSpPr/>
          <p:nvPr/>
        </p:nvGrpSpPr>
        <p:grpSpPr>
          <a:xfrm>
            <a:off x="3452054" y="1693828"/>
            <a:ext cx="432656" cy="468000"/>
            <a:chOff x="1228774" y="1561920"/>
            <a:chExt cx="664892" cy="648502"/>
          </a:xfrm>
        </p:grpSpPr>
        <p:sp>
          <p:nvSpPr>
            <p:cNvPr id="84" name="Овал 83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9" name="Группа 85"/>
          <p:cNvGrpSpPr/>
          <p:nvPr/>
        </p:nvGrpSpPr>
        <p:grpSpPr>
          <a:xfrm>
            <a:off x="3460197" y="2352136"/>
            <a:ext cx="432656" cy="468000"/>
            <a:chOff x="1228774" y="1561920"/>
            <a:chExt cx="664892" cy="648502"/>
          </a:xfrm>
        </p:grpSpPr>
        <p:sp>
          <p:nvSpPr>
            <p:cNvPr id="87" name="Овал 86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10" name="Группа 88"/>
          <p:cNvGrpSpPr/>
          <p:nvPr/>
        </p:nvGrpSpPr>
        <p:grpSpPr>
          <a:xfrm>
            <a:off x="3451758" y="3003049"/>
            <a:ext cx="432656" cy="468000"/>
            <a:chOff x="1228774" y="1561920"/>
            <a:chExt cx="664892" cy="648502"/>
          </a:xfrm>
        </p:grpSpPr>
        <p:sp>
          <p:nvSpPr>
            <p:cNvPr id="90" name="Овал 89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11" name="Группа 91"/>
          <p:cNvGrpSpPr/>
          <p:nvPr/>
        </p:nvGrpSpPr>
        <p:grpSpPr>
          <a:xfrm>
            <a:off x="3451758" y="3661306"/>
            <a:ext cx="432656" cy="468000"/>
            <a:chOff x="1228774" y="1561920"/>
            <a:chExt cx="664892" cy="648502"/>
          </a:xfrm>
        </p:grpSpPr>
        <p:sp>
          <p:nvSpPr>
            <p:cNvPr id="93" name="Овал 92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12" name="Группа 94"/>
          <p:cNvGrpSpPr/>
          <p:nvPr/>
        </p:nvGrpSpPr>
        <p:grpSpPr>
          <a:xfrm>
            <a:off x="3458009" y="4323929"/>
            <a:ext cx="432656" cy="468000"/>
            <a:chOff x="1228774" y="1561920"/>
            <a:chExt cx="664892" cy="648502"/>
          </a:xfrm>
        </p:grpSpPr>
        <p:sp>
          <p:nvSpPr>
            <p:cNvPr id="96" name="Овал 95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13" name="Группа 97"/>
          <p:cNvGrpSpPr/>
          <p:nvPr/>
        </p:nvGrpSpPr>
        <p:grpSpPr>
          <a:xfrm>
            <a:off x="3461297" y="4974842"/>
            <a:ext cx="432656" cy="468000"/>
            <a:chOff x="1228774" y="1561920"/>
            <a:chExt cx="664892" cy="648502"/>
          </a:xfrm>
        </p:grpSpPr>
        <p:sp>
          <p:nvSpPr>
            <p:cNvPr id="99" name="Овал 98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grpSp>
        <p:nvGrpSpPr>
          <p:cNvPr id="14" name="Группа 100"/>
          <p:cNvGrpSpPr/>
          <p:nvPr/>
        </p:nvGrpSpPr>
        <p:grpSpPr>
          <a:xfrm>
            <a:off x="3461297" y="5658499"/>
            <a:ext cx="432656" cy="468000"/>
            <a:chOff x="1228774" y="1561920"/>
            <a:chExt cx="664892" cy="648502"/>
          </a:xfrm>
        </p:grpSpPr>
        <p:sp>
          <p:nvSpPr>
            <p:cNvPr id="102" name="Овал 101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b="1" dirty="0"/>
            </a:p>
          </p:txBody>
        </p:sp>
      </p:grpSp>
      <p:sp>
        <p:nvSpPr>
          <p:cNvPr id="55" name="Номер слайда 5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CC0D5AE-42F5-4B75-9746-C72C4F5D09AE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802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2"/>
          <a:ext cx="146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2"/>
                        <a:ext cx="146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3285" y="188640"/>
            <a:ext cx="8646223" cy="333550"/>
          </a:xfrm>
          <a:noFill/>
          <a:ln/>
        </p:spPr>
        <p:txBody>
          <a:bodyPr/>
          <a:lstStyle/>
          <a:p>
            <a:r>
              <a:rPr lang="ru-RU" sz="2000" b="1" dirty="0"/>
              <a:t>Неопределенность</a:t>
            </a:r>
          </a:p>
        </p:txBody>
      </p:sp>
      <p:sp>
        <p:nvSpPr>
          <p:cNvPr id="23" name="Номер слайда 2"/>
          <p:cNvSpPr txBox="1">
            <a:spLocks/>
          </p:cNvSpPr>
          <p:nvPr/>
        </p:nvSpPr>
        <p:spPr>
          <a:xfrm>
            <a:off x="8110351" y="6419850"/>
            <a:ext cx="880007" cy="438150"/>
          </a:xfrm>
          <a:prstGeom prst="rect">
            <a:avLst/>
          </a:prstGeom>
        </p:spPr>
        <p:txBody>
          <a:bodyPr/>
          <a:lstStyle/>
          <a:p>
            <a:pPr algn="r"/>
            <a:fld id="{0CC0D5AE-42F5-4B75-9746-C72C4F5D09AE}" type="slidenum">
              <a:rPr lang="ru-RU" sz="1200" b="1" smtClean="0">
                <a:solidFill>
                  <a:schemeClr val="tx1">
                    <a:tint val="75000"/>
                  </a:schemeClr>
                </a:solidFill>
                <a:cs typeface="+mn-cs"/>
              </a:rPr>
              <a:pPr algn="r"/>
              <a:t>14</a:t>
            </a:fld>
            <a:endParaRPr lang="ru-RU" sz="1200" b="1" dirty="0">
              <a:solidFill>
                <a:schemeClr val="tx1">
                  <a:tint val="75000"/>
                </a:schemeClr>
              </a:solidFill>
              <a:cs typeface="+mn-cs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00"/>
          <a:stretch/>
        </p:blipFill>
        <p:spPr>
          <a:xfrm>
            <a:off x="179512" y="726182"/>
            <a:ext cx="8964488" cy="565514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9930" y="961424"/>
            <a:ext cx="8332935" cy="485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67" y="2689"/>
          <a:ext cx="1464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2689"/>
                        <a:ext cx="1464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33392" y="116632"/>
            <a:ext cx="8769350" cy="398165"/>
          </a:xfrm>
          <a:noFill/>
          <a:ln/>
        </p:spPr>
        <p:txBody>
          <a:bodyPr/>
          <a:lstStyle/>
          <a:p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ути сокращения издержек предприятия</a:t>
            </a:r>
            <a:endParaRPr lang="ru-RU" sz="2000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211960" y="755508"/>
            <a:ext cx="4932040" cy="23854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43508" y="764704"/>
            <a:ext cx="4428492" cy="56166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32"/>
          <a:stretch/>
        </p:blipFill>
        <p:spPr>
          <a:xfrm>
            <a:off x="251520" y="1052736"/>
            <a:ext cx="8712968" cy="5099248"/>
          </a:xfrm>
          <a:prstGeom prst="rect">
            <a:avLst/>
          </a:prstGeom>
        </p:spPr>
      </p:pic>
      <p:sp>
        <p:nvSpPr>
          <p:cNvPr id="27" name="Заголовок 1" title="Заголовок слайда"/>
          <p:cNvSpPr txBox="1">
            <a:spLocks/>
          </p:cNvSpPr>
          <p:nvPr/>
        </p:nvSpPr>
        <p:spPr>
          <a:xfrm>
            <a:off x="5940152" y="4698292"/>
            <a:ext cx="2935085" cy="1467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7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400" b="1" dirty="0" smtClean="0">
                <a:solidFill>
                  <a:srgbClr val="00743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тимизация логистических процессов</a:t>
            </a:r>
            <a:endParaRPr lang="ru-RU" sz="2400" b="1" dirty="0">
              <a:solidFill>
                <a:srgbClr val="00743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27584" y="1772816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кращение </a:t>
            </a: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</a:t>
            </a:r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рсонала</a:t>
            </a:r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899592" y="4797152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нос </a:t>
            </a:r>
          </a:p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ства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6084168" y="1774557"/>
            <a:ext cx="2903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худшение качества продукции</a:t>
            </a:r>
            <a:endParaRPr lang="ru-RU" dirty="0"/>
          </a:p>
        </p:txBody>
      </p:sp>
      <p:sp>
        <p:nvSpPr>
          <p:cNvPr id="33" name="Номер слайда 29"/>
          <p:cNvSpPr txBox="1">
            <a:spLocks/>
          </p:cNvSpPr>
          <p:nvPr/>
        </p:nvSpPr>
        <p:spPr>
          <a:xfrm>
            <a:off x="8048655" y="6459560"/>
            <a:ext cx="666750" cy="25558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A85140D5-1A07-4810-9503-B4F7B562CB0A}" type="slidenum">
              <a:rPr lang="ru-RU" sz="1400" b="1" smtClean="0"/>
              <a:pPr algn="r">
                <a:defRPr/>
              </a:pPr>
              <a:t>15</a:t>
            </a:fld>
            <a:endParaRPr lang="ru-RU" sz="1400" b="1"/>
          </a:p>
        </p:txBody>
      </p:sp>
    </p:spTree>
    <p:extLst>
      <p:ext uri="{BB962C8B-B14F-4D97-AF65-F5344CB8AC3E}">
        <p14:creationId xmlns:p14="http://schemas.microsoft.com/office/powerpoint/2010/main" val="419794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8892480" cy="620688"/>
          </a:xfrm>
        </p:spPr>
        <p:txBody>
          <a:bodyPr anchor="ctr">
            <a:noAutofit/>
          </a:bodyPr>
          <a:lstStyle/>
          <a:p>
            <a:r>
              <a:rPr lang="ru-RU" sz="1800" b="1" dirty="0"/>
              <a:t>ОТЛК: </a:t>
            </a:r>
            <a:r>
              <a:rPr lang="ru-RU" sz="1800" b="1" dirty="0" smtClean="0"/>
              <a:t>центр </a:t>
            </a:r>
            <a:r>
              <a:rPr lang="ru-RU" sz="1800" b="1" dirty="0"/>
              <a:t>логистических компетенций</a:t>
            </a:r>
          </a:p>
        </p:txBody>
      </p:sp>
      <p:sp>
        <p:nvSpPr>
          <p:cNvPr id="30" name="Номер слайда 2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5140D5-1A07-4810-9503-B4F7B562CB0A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grpSp>
        <p:nvGrpSpPr>
          <p:cNvPr id="21" name="Группа 20"/>
          <p:cNvGrpSpPr/>
          <p:nvPr/>
        </p:nvGrpSpPr>
        <p:grpSpPr>
          <a:xfrm>
            <a:off x="7402213" y="0"/>
            <a:ext cx="1479626" cy="552345"/>
            <a:chOff x="1837867" y="2618876"/>
            <a:chExt cx="5143961" cy="1920244"/>
          </a:xfrm>
        </p:grpSpPr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9885" y="2618876"/>
              <a:ext cx="1950723" cy="1920244"/>
            </a:xfrm>
            <a:prstGeom prst="rect">
              <a:avLst/>
            </a:prstGeom>
          </p:spPr>
        </p:pic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6760" y="2752989"/>
              <a:ext cx="1655068" cy="1652019"/>
            </a:xfrm>
            <a:prstGeom prst="rect">
              <a:avLst/>
            </a:prstGeom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1837866" y="2766206"/>
              <a:ext cx="1652019" cy="1652017"/>
            </a:xfrm>
            <a:prstGeom prst="rect">
              <a:avLst/>
            </a:prstGeom>
          </p:spPr>
        </p:pic>
      </p:grpSp>
      <p:sp>
        <p:nvSpPr>
          <p:cNvPr id="37" name="Заголовок 1"/>
          <p:cNvSpPr txBox="1">
            <a:spLocks/>
          </p:cNvSpPr>
          <p:nvPr/>
        </p:nvSpPr>
        <p:spPr>
          <a:xfrm>
            <a:off x="260922" y="2493768"/>
            <a:ext cx="8883077" cy="14954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7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68288" indent="-268288">
              <a:lnSpc>
                <a:spcPct val="120000"/>
              </a:lnSpc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dirty="0" smtClean="0"/>
              <a:t>Филиальная сеть </a:t>
            </a:r>
          </a:p>
          <a:p>
            <a:pPr marL="268288" indent="-268288">
              <a:lnSpc>
                <a:spcPct val="120000"/>
              </a:lnSpc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dirty="0" smtClean="0"/>
              <a:t>Активы </a:t>
            </a:r>
          </a:p>
          <a:p>
            <a:pPr marL="268288" indent="-268288">
              <a:lnSpc>
                <a:spcPct val="120000"/>
              </a:lnSpc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dirty="0" smtClean="0"/>
              <a:t>Персонал </a:t>
            </a:r>
          </a:p>
          <a:p>
            <a:pPr marL="268288" indent="-268288">
              <a:lnSpc>
                <a:spcPct val="120000"/>
              </a:lnSpc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dirty="0" smtClean="0"/>
              <a:t>Сотни тысяч логистических решений</a:t>
            </a:r>
          </a:p>
          <a:p>
            <a:pPr marL="268288" indent="-268288">
              <a:lnSpc>
                <a:spcPct val="120000"/>
              </a:lnSpc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dirty="0" smtClean="0"/>
              <a:t>Инфраструктура </a:t>
            </a:r>
          </a:p>
          <a:p>
            <a:pPr>
              <a:lnSpc>
                <a:spcPct val="120000"/>
              </a:lnSpc>
            </a:pPr>
            <a:r>
              <a:rPr lang="ru-RU" b="1" dirty="0" smtClean="0">
                <a:solidFill>
                  <a:srgbClr val="0070C0"/>
                </a:solidFill>
              </a:rPr>
              <a:t>+</a:t>
            </a:r>
            <a:r>
              <a:rPr lang="ru-RU" dirty="0" smtClean="0"/>
              <a:t> Казахстан и Белоруссия 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168557" y="5240573"/>
            <a:ext cx="8966130" cy="1140755"/>
          </a:xfrm>
          <a:prstGeom prst="rect">
            <a:avLst/>
          </a:prstGeom>
          <a:solidFill>
            <a:srgbClr val="85C80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7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dirty="0" smtClean="0">
                <a:solidFill>
                  <a:schemeClr val="bg1"/>
                </a:solidFill>
              </a:rPr>
              <a:t>Логистика - технология управления ВСЕМИ процессами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74" y="1193029"/>
            <a:ext cx="2865126" cy="1075946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1318" y="764704"/>
            <a:ext cx="5742682" cy="3458127"/>
          </a:xfrm>
          <a:prstGeom prst="rect">
            <a:avLst/>
          </a:prstGeom>
        </p:spPr>
      </p:pic>
      <p:sp>
        <p:nvSpPr>
          <p:cNvPr id="41" name="Равнобедренный треугольник 40"/>
          <p:cNvSpPr/>
          <p:nvPr/>
        </p:nvSpPr>
        <p:spPr>
          <a:xfrm flipV="1">
            <a:off x="168557" y="4069245"/>
            <a:ext cx="3024336" cy="155710"/>
          </a:xfrm>
          <a:prstGeom prst="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96008" y="4200732"/>
            <a:ext cx="8747991" cy="7565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7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1600" b="1" dirty="0"/>
              <a:t>ВСЕ ВОЗМОЖНОСТИ ДЛЯ РЕШЕНИЯ ЛЮБЫХ ЛОГИСТИЧЕСКИХ ЗАДАЧ</a:t>
            </a:r>
          </a:p>
        </p:txBody>
      </p:sp>
    </p:spTree>
    <p:extLst>
      <p:ext uri="{BB962C8B-B14F-4D97-AF65-F5344CB8AC3E}">
        <p14:creationId xmlns:p14="http://schemas.microsoft.com/office/powerpoint/2010/main" val="151108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ЛК – Технологии, решения, инновации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27" b="20645"/>
          <a:stretch/>
        </p:blipFill>
        <p:spPr>
          <a:xfrm>
            <a:off x="31294" y="1196752"/>
            <a:ext cx="9144000" cy="534256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794"/>
          <a:stretch/>
        </p:blipFill>
        <p:spPr>
          <a:xfrm>
            <a:off x="3227829" y="1556792"/>
            <a:ext cx="2688341" cy="652241"/>
          </a:xfrm>
          <a:prstGeom prst="rect">
            <a:avLst/>
          </a:prstGeom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3194428" y="5085184"/>
            <a:ext cx="2817732" cy="13407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7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dirty="0" smtClean="0">
                <a:solidFill>
                  <a:schemeClr val="bg1"/>
                </a:solidFill>
              </a:rPr>
              <a:t>Технологии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ешения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Инновации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6989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483768" y="2852936"/>
            <a:ext cx="47344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Спасибо за внимание!</a:t>
            </a:r>
            <a:endParaRPr lang="ru-RU" sz="3200" b="1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225730" y="6485780"/>
            <a:ext cx="666750" cy="255588"/>
          </a:xfrm>
        </p:spPr>
        <p:txBody>
          <a:bodyPr/>
          <a:lstStyle/>
          <a:p>
            <a:pPr>
              <a:defRPr/>
            </a:pPr>
            <a:fld id="{9CBC3253-17C9-4B25-B5B3-A2B177AF5B26}" type="slidenum">
              <a:rPr lang="ru-RU" smtClean="0">
                <a:solidFill>
                  <a:schemeClr val="tx1">
                    <a:tint val="75000"/>
                  </a:schemeClr>
                </a:solidFill>
              </a:rPr>
              <a:pPr>
                <a:defRPr/>
              </a:pPr>
              <a:t>18</a:t>
            </a:fld>
            <a:endParaRPr lang="ru-RU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2"/>
          <a:ext cx="146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2"/>
                        <a:ext cx="146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5226" y="0"/>
            <a:ext cx="8646223" cy="666206"/>
          </a:xfrm>
          <a:noFill/>
          <a:ln/>
        </p:spPr>
        <p:txBody>
          <a:bodyPr/>
          <a:lstStyle/>
          <a:p>
            <a:r>
              <a:rPr lang="ru-RU" sz="2000" b="1" dirty="0" smtClean="0"/>
              <a:t>Создание ЕЭП направлено на повышение </a:t>
            </a:r>
            <a:r>
              <a:rPr lang="ru-RU" sz="2000" b="1" dirty="0" err="1" smtClean="0"/>
              <a:t>конкуренто</a:t>
            </a:r>
            <a:r>
              <a:rPr lang="ru-RU" sz="2000" b="1" dirty="0" smtClean="0"/>
              <a:t>-</a:t>
            </a:r>
            <a:br>
              <a:rPr lang="ru-RU" sz="2000" b="1" dirty="0" smtClean="0"/>
            </a:br>
            <a:r>
              <a:rPr lang="ru-RU" sz="2000" b="1" dirty="0" smtClean="0"/>
              <a:t>способности экономических систем РФ, РК, РБ</a:t>
            </a:r>
            <a:endParaRPr lang="ru-RU" sz="2000" b="1" dirty="0"/>
          </a:p>
        </p:txBody>
      </p:sp>
      <p:sp>
        <p:nvSpPr>
          <p:cNvPr id="4" name="ColumnHeader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0567" y="1063574"/>
            <a:ext cx="2102444" cy="61555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тификация соглашений о </a:t>
            </a:r>
            <a:r>
              <a:rPr lang="ru-RU" sz="1400" b="1" kern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ЭП</a:t>
            </a:r>
            <a:endParaRPr lang="ru-RU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ColumnContent"/>
          <p:cNvSpPr>
            <a:spLocks noChangeArrowheads="1"/>
          </p:cNvSpPr>
          <p:nvPr/>
        </p:nvSpPr>
        <p:spPr bwMode="gray">
          <a:xfrm>
            <a:off x="420567" y="3164376"/>
            <a:ext cx="2102444" cy="301074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искуссии о создании </a:t>
            </a:r>
            <a:r>
              <a:rPr lang="ru-RU" sz="11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ЭП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велись с 2003 г. </a:t>
            </a:r>
          </a:p>
          <a:p>
            <a:endParaRPr lang="ru-RU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 декабря 2010 г. </a:t>
            </a:r>
            <a:b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7 соглашений </a:t>
            </a:r>
            <a:r>
              <a:rPr lang="ru-RU" sz="11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ЭП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были ратифицированы Россией, Казахстаном и Белоруссией</a:t>
            </a:r>
          </a:p>
          <a:p>
            <a:endParaRPr lang="ru-RU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 июля 2012 г. интеграционные соглашения </a:t>
            </a:r>
            <a:r>
              <a:rPr lang="ru-RU" sz="11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ЭП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работают в полной мере</a:t>
            </a:r>
          </a:p>
          <a:p>
            <a:endParaRPr lang="ru-RU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ru-RU" sz="11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37756" y="1239824"/>
            <a:ext cx="2975426" cy="40011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сновные цели интеграции</a:t>
            </a:r>
            <a:endParaRPr lang="ru-RU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ColumnContent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24391" y="1659812"/>
            <a:ext cx="2688791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t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Эффективное функционирование общего (внутреннего) рынка товаров, услуг, капитала и труда 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гласованной налоговой, денежно-кредитной, валютно-финансовой, торговой, таможенной и тарифной политики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Создание условий стабильного развития структурной перестройки экономики сторон в интересах повышения жизненного уровня их населения 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Развитие единых транспортных, энергетических и информационных систем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Создание общей системы мер государственной поддержки развития приоритетных отраслей экономики, производственной и научно-технологической кооперации. </a:t>
            </a:r>
          </a:p>
        </p:txBody>
      </p:sp>
      <p:sp>
        <p:nvSpPr>
          <p:cNvPr id="8" name="ColumnHeader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235212" y="822004"/>
            <a:ext cx="2480896" cy="83099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ормирование интеграционных механизмов в ЕЭП</a:t>
            </a:r>
            <a:endParaRPr lang="ru-RU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ColumnContent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550653" y="1699170"/>
            <a:ext cx="2165456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вразийская экономическая комиссия создана 18 ноября 2011 года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Основная цель - реализация международных договоров, формирующих базу ТС и </a:t>
            </a:r>
            <a:r>
              <a:rPr lang="ru-RU" sz="1200" dirty="0" err="1" smtClean="0"/>
              <a:t>ЕЭП</a:t>
            </a:r>
            <a:endParaRPr lang="ru-RU" sz="1200" dirty="0" smtClean="0"/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lvl="0"/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ъединенная </a:t>
            </a:r>
            <a:r>
              <a:rPr lang="ru-RU" sz="11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анспортно-логистическая</a:t>
            </a: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компания находится в процессе становления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Основная цель -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теграция </a:t>
            </a:r>
            <a:r>
              <a:rPr lang="ru-RU" sz="12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анспортно-логистических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систем </a:t>
            </a:r>
            <a:r>
              <a:rPr lang="ru-RU" sz="12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ЭП</a:t>
            </a: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FlowTriangle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962062" y="3534510"/>
            <a:ext cx="3505200" cy="24618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lowTriangle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4274527" y="3534510"/>
            <a:ext cx="3505200" cy="24618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NumberBall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867548" y="1725249"/>
            <a:ext cx="272562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NumberBall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67548" y="3203388"/>
            <a:ext cx="272562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NumberBall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867548" y="4734762"/>
            <a:ext cx="272562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NumberBall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867548" y="2376104"/>
            <a:ext cx="272562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lipart_tick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6284590" y="1938464"/>
            <a:ext cx="299077" cy="29639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clipart_tick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284590" y="3852688"/>
            <a:ext cx="299077" cy="296392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33"/>
          <p:cNvSpPr/>
          <p:nvPr>
            <p:custDataLst>
              <p:tags r:id="rId17"/>
            </p:custDataLst>
          </p:nvPr>
        </p:nvSpPr>
        <p:spPr>
          <a:xfrm>
            <a:off x="6228184" y="3717031"/>
            <a:ext cx="2518818" cy="1944217"/>
          </a:xfrm>
          <a:prstGeom prst="roundRect">
            <a:avLst>
              <a:gd name="adj" fmla="val 9984"/>
            </a:avLst>
          </a:prstGeom>
          <a:noFill/>
          <a:ln w="19050">
            <a:solidFill>
              <a:srgbClr val="DC6E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NumberBall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867548" y="4063397"/>
            <a:ext cx="272562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49989" name="Picture 5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27537" y="1855098"/>
            <a:ext cx="1688508" cy="1314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akeaway_box"/>
          <p:cNvSpPr>
            <a:spLocks noChangeArrowheads="1"/>
          </p:cNvSpPr>
          <p:nvPr/>
        </p:nvSpPr>
        <p:spPr bwMode="gray">
          <a:xfrm>
            <a:off x="754149" y="5766926"/>
            <a:ext cx="7587454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ТЛК – единственный бизнес- проект, который реализуется на данный момент в рамках интеграционных процессов в ЕЭП</a:t>
            </a:r>
          </a:p>
        </p:txBody>
      </p:sp>
      <p:sp>
        <p:nvSpPr>
          <p:cNvPr id="23" name="Номер слайда 2"/>
          <p:cNvSpPr txBox="1">
            <a:spLocks/>
          </p:cNvSpPr>
          <p:nvPr/>
        </p:nvSpPr>
        <p:spPr>
          <a:xfrm>
            <a:off x="8110351" y="6419850"/>
            <a:ext cx="880007" cy="438150"/>
          </a:xfrm>
          <a:prstGeom prst="rect">
            <a:avLst/>
          </a:prstGeom>
        </p:spPr>
        <p:txBody>
          <a:bodyPr/>
          <a:lstStyle/>
          <a:p>
            <a:pPr algn="r"/>
            <a:fld id="{0CC0D5AE-42F5-4B75-9746-C72C4F5D09AE}" type="slidenum">
              <a:rPr lang="ru-RU" sz="1200" b="1" smtClean="0">
                <a:solidFill>
                  <a:schemeClr val="tx1">
                    <a:tint val="75000"/>
                  </a:schemeClr>
                </a:solidFill>
                <a:cs typeface="+mn-cs"/>
              </a:rPr>
              <a:pPr algn="r"/>
              <a:t>2</a:t>
            </a:fld>
            <a:endParaRPr lang="ru-RU" sz="1200" b="1" dirty="0">
              <a:solidFill>
                <a:schemeClr val="tx1">
                  <a:tint val="75000"/>
                </a:schemeClr>
              </a:solidFill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ColumnContent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458632" y="4509120"/>
            <a:ext cx="4264803" cy="158231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91411" rIns="0" bIns="91411" anchor="ctr" anchorCtr="0"/>
          <a:lstStyle/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Создание единой транспортно-логистической базы для развития хозяйственных связей внутри ЕЭП</a:t>
            </a: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Единая транспортная технология</a:t>
            </a: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Единые принципы ценовой политики</a:t>
            </a: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Единый товарно-сопроводительный документ</a:t>
            </a: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Единые принципы взаимного использования парка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ПС</a:t>
            </a: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Единый расчетный центр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  <a:p>
            <a:pPr lvl="1" indent="-171399">
              <a:buClr>
                <a:srgbClr val="177B57"/>
              </a:buClr>
              <a:buSzPct val="100000"/>
              <a:buFont typeface="Arial"/>
              <a:buChar char="–"/>
            </a:pPr>
            <a:endParaRPr lang="ru-RU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21" name="Object 20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467" y="2689"/>
          <a:ext cx="1464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2689"/>
                        <a:ext cx="1464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2" name="Picture 4" descr="http://t0.gstatic.com/images?q=tbn:ANd9GcRWokXyd6eKNqNB-i-AWRAgl8GMcxHo6B7sefjQNuqKrHYIu6qM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24313" y="4900302"/>
            <a:ext cx="796189" cy="702969"/>
          </a:xfrm>
          <a:prstGeom prst="rect">
            <a:avLst/>
          </a:prstGeom>
          <a:noFill/>
        </p:spPr>
      </p:pic>
      <p:cxnSp>
        <p:nvCxnSpPr>
          <p:cNvPr id="50" name="Straight Connector 49"/>
          <p:cNvCxnSpPr/>
          <p:nvPr>
            <p:custDataLst>
              <p:tags r:id="rId5"/>
            </p:custDataLst>
          </p:nvPr>
        </p:nvCxnSpPr>
        <p:spPr>
          <a:xfrm>
            <a:off x="467544" y="4149080"/>
            <a:ext cx="8301046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lumnHeader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94004" y="1069726"/>
            <a:ext cx="3606888" cy="43074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11" bIns="91411" anchor="b">
            <a:spAutoFit/>
          </a:bodyPr>
          <a:lstStyle/>
          <a:p>
            <a:pPr algn="ctr">
              <a:defRPr/>
            </a:pPr>
            <a:r>
              <a:rPr lang="ru-RU" sz="16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Цели создания</a:t>
            </a:r>
          </a:p>
        </p:txBody>
      </p:sp>
      <p:sp>
        <p:nvSpPr>
          <p:cNvPr id="20" name="Pentagon 19"/>
          <p:cNvSpPr/>
          <p:nvPr>
            <p:custDataLst>
              <p:tags r:id="rId7"/>
            </p:custDataLst>
          </p:nvPr>
        </p:nvSpPr>
        <p:spPr>
          <a:xfrm>
            <a:off x="1410089" y="4637361"/>
            <a:ext cx="2590806" cy="1227390"/>
          </a:xfrm>
          <a:prstGeom prst="homePlate">
            <a:avLst>
              <a:gd name="adj" fmla="val 29596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89971" rIns="35988" bIns="89971" rtlCol="0" anchor="ctr" anchorCtr="0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еспечение интеграции транспортных процессов внутри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ЕЭП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Pentagon 21"/>
          <p:cNvSpPr/>
          <p:nvPr>
            <p:custDataLst>
              <p:tags r:id="rId8"/>
            </p:custDataLst>
          </p:nvPr>
        </p:nvSpPr>
        <p:spPr>
          <a:xfrm>
            <a:off x="1410089" y="2216861"/>
            <a:ext cx="2590806" cy="1227390"/>
          </a:xfrm>
          <a:prstGeom prst="homePlate">
            <a:avLst>
              <a:gd name="adj" fmla="val 29596"/>
            </a:avLst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89971" rIns="35988" bIns="89971" rtlCol="0" anchor="ctr" anchorCtr="0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вышение международной конкурентоспособности 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мпаний 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ЕЭП на глобальном транспортном рынке</a:t>
            </a:r>
          </a:p>
        </p:txBody>
      </p:sp>
      <p:sp>
        <p:nvSpPr>
          <p:cNvPr id="31" name="TextColumnContent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458632" y="1611621"/>
            <a:ext cx="4264803" cy="27249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91411" rIns="0" bIns="91411" anchor="ctr" anchorCtr="0"/>
          <a:lstStyle/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Развитие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транспортных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коридоров  по территории стран ЕЭП</a:t>
            </a: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Предложение комплексной услуги по принципу 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«одного окна»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Обеспечение масштаба бизнеса, сопоставимого с мировыми лидерами отрасли</a:t>
            </a: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Сильная </a:t>
            </a: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переговорная позиция </a:t>
            </a:r>
            <a:r>
              <a:rPr lang="ru-RU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ри взаимодействии с </a:t>
            </a: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КНР и ЕС</a:t>
            </a: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Совместный контроль над ключевыми транспортными активами в </a:t>
            </a: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ЕЭП</a:t>
            </a: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400" dirty="0">
                <a:solidFill>
                  <a:srgbClr val="000000"/>
                </a:solidFill>
                <a:cs typeface="Arial" pitchFamily="34" charset="0"/>
              </a:rPr>
              <a:t>Сокращение сроков и себестоимости перевозки за счет оптимизации транспортных схем</a:t>
            </a:r>
          </a:p>
          <a:p>
            <a:pPr marL="171399" indent="-171399">
              <a:buClr>
                <a:srgbClr val="177B57"/>
              </a:buClr>
              <a:buSzPct val="100000"/>
              <a:buFont typeface="Arial"/>
              <a:buChar char="•"/>
            </a:pPr>
            <a:endParaRPr lang="ru-RU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noFill/>
          <a:ln/>
        </p:spPr>
        <p:txBody>
          <a:bodyPr/>
          <a:lstStyle/>
          <a:p>
            <a:r>
              <a:rPr lang="ru-RU" sz="2000" b="1" dirty="0" smtClean="0"/>
              <a:t>ОТЛК – ключевой механизм объединения транспортно-</a:t>
            </a:r>
            <a:br>
              <a:rPr lang="ru-RU" sz="2000" b="1" dirty="0" smtClean="0"/>
            </a:br>
            <a:r>
              <a:rPr lang="ru-RU" sz="2000" b="1" dirty="0" smtClean="0"/>
              <a:t>логистических систем стран ЕЭП</a:t>
            </a:r>
            <a:endParaRPr lang="ru-RU" sz="2000" b="1" dirty="0"/>
          </a:p>
        </p:txBody>
      </p:sp>
      <p:sp>
        <p:nvSpPr>
          <p:cNvPr id="17" name="NumberBall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48477" y="2185553"/>
            <a:ext cx="272562" cy="29518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8" name="NumberBall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48477" y="4583614"/>
            <a:ext cx="272562" cy="29518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5" name="ColumnHeader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458632" y="1069726"/>
            <a:ext cx="4264803" cy="43074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11" bIns="91411" anchor="b">
            <a:spAutoFit/>
          </a:bodyPr>
          <a:lstStyle/>
          <a:p>
            <a:pPr algn="ctr">
              <a:defRPr/>
            </a:pPr>
            <a:r>
              <a:rPr lang="ru-RU" sz="16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дачи</a:t>
            </a:r>
          </a:p>
        </p:txBody>
      </p:sp>
      <p:pic>
        <p:nvPicPr>
          <p:cNvPr id="7180" name="Picture 12" descr="http://dcincome.com/blog/wp-content/uploads/2012/02/one-step-ahead.jp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95173" y="2462264"/>
            <a:ext cx="854472" cy="694036"/>
          </a:xfrm>
          <a:prstGeom prst="rect">
            <a:avLst/>
          </a:prstGeom>
          <a:noFill/>
        </p:spPr>
      </p:pic>
      <p:sp>
        <p:nvSpPr>
          <p:cNvPr id="16" name="Номер слайда 2"/>
          <p:cNvSpPr txBox="1">
            <a:spLocks/>
          </p:cNvSpPr>
          <p:nvPr/>
        </p:nvSpPr>
        <p:spPr>
          <a:xfrm>
            <a:off x="8110351" y="6419850"/>
            <a:ext cx="880007" cy="43815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C0D5AE-42F5-4B75-9746-C72C4F5D09AE}" type="slidenum">
              <a:rPr lang="ru-RU" sz="1200" b="1" smtClean="0">
                <a:solidFill>
                  <a:schemeClr val="tx1">
                    <a:tint val="75000"/>
                  </a:schemeClr>
                </a:solidFill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lang="ru-RU" sz="1200" b="1" dirty="0">
              <a:solidFill>
                <a:schemeClr val="tx1">
                  <a:tint val="7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113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1" name="Группа 810"/>
          <p:cNvGrpSpPr/>
          <p:nvPr/>
        </p:nvGrpSpPr>
        <p:grpSpPr>
          <a:xfrm>
            <a:off x="323528" y="692696"/>
            <a:ext cx="6624736" cy="3672407"/>
            <a:chOff x="323527" y="692696"/>
            <a:chExt cx="7934982" cy="3983559"/>
          </a:xfrm>
        </p:grpSpPr>
        <p:grpSp>
          <p:nvGrpSpPr>
            <p:cNvPr id="723" name="Группа 722"/>
            <p:cNvGrpSpPr/>
            <p:nvPr/>
          </p:nvGrpSpPr>
          <p:grpSpPr>
            <a:xfrm>
              <a:off x="323527" y="692696"/>
              <a:ext cx="7934982" cy="3983559"/>
              <a:chOff x="655574" y="1136650"/>
              <a:chExt cx="7934982" cy="4919663"/>
            </a:xfrm>
          </p:grpSpPr>
          <p:sp>
            <p:nvSpPr>
              <p:cNvPr id="48133" name="Freeform 4"/>
              <p:cNvSpPr>
                <a:spLocks noEditPoint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2255133" y="1179513"/>
                <a:ext cx="6335423" cy="3173412"/>
              </a:xfrm>
              <a:custGeom>
                <a:avLst/>
                <a:gdLst>
                  <a:gd name="T0" fmla="*/ 2147483647 w 1603"/>
                  <a:gd name="T1" fmla="*/ 2147483647 h 811"/>
                  <a:gd name="T2" fmla="*/ 2147483647 w 1603"/>
                  <a:gd name="T3" fmla="*/ 2147483647 h 811"/>
                  <a:gd name="T4" fmla="*/ 2147483647 w 1603"/>
                  <a:gd name="T5" fmla="*/ 2147483647 h 811"/>
                  <a:gd name="T6" fmla="*/ 2147483647 w 1603"/>
                  <a:gd name="T7" fmla="*/ 2147483647 h 811"/>
                  <a:gd name="T8" fmla="*/ 2147483647 w 1603"/>
                  <a:gd name="T9" fmla="*/ 2147483647 h 811"/>
                  <a:gd name="T10" fmla="*/ 2147483647 w 1603"/>
                  <a:gd name="T11" fmla="*/ 2147483647 h 811"/>
                  <a:gd name="T12" fmla="*/ 2147483647 w 1603"/>
                  <a:gd name="T13" fmla="*/ 2147483647 h 811"/>
                  <a:gd name="T14" fmla="*/ 2147483647 w 1603"/>
                  <a:gd name="T15" fmla="*/ 2147483647 h 811"/>
                  <a:gd name="T16" fmla="*/ 2147483647 w 1603"/>
                  <a:gd name="T17" fmla="*/ 2147483647 h 811"/>
                  <a:gd name="T18" fmla="*/ 2147483647 w 1603"/>
                  <a:gd name="T19" fmla="*/ 2147483647 h 811"/>
                  <a:gd name="T20" fmla="*/ 2147483647 w 1603"/>
                  <a:gd name="T21" fmla="*/ 2147483647 h 811"/>
                  <a:gd name="T22" fmla="*/ 2147483647 w 1603"/>
                  <a:gd name="T23" fmla="*/ 2147483647 h 811"/>
                  <a:gd name="T24" fmla="*/ 2147483647 w 1603"/>
                  <a:gd name="T25" fmla="*/ 2147483647 h 811"/>
                  <a:gd name="T26" fmla="*/ 2147483647 w 1603"/>
                  <a:gd name="T27" fmla="*/ 2147483647 h 811"/>
                  <a:gd name="T28" fmla="*/ 2147483647 w 1603"/>
                  <a:gd name="T29" fmla="*/ 2147483647 h 811"/>
                  <a:gd name="T30" fmla="*/ 2147483647 w 1603"/>
                  <a:gd name="T31" fmla="*/ 2147483647 h 811"/>
                  <a:gd name="T32" fmla="*/ 2147483647 w 1603"/>
                  <a:gd name="T33" fmla="*/ 2147483647 h 811"/>
                  <a:gd name="T34" fmla="*/ 2147483647 w 1603"/>
                  <a:gd name="T35" fmla="*/ 2147483647 h 811"/>
                  <a:gd name="T36" fmla="*/ 2147483647 w 1603"/>
                  <a:gd name="T37" fmla="*/ 2147483647 h 811"/>
                  <a:gd name="T38" fmla="*/ 2147483647 w 1603"/>
                  <a:gd name="T39" fmla="*/ 2147483647 h 811"/>
                  <a:gd name="T40" fmla="*/ 2147483647 w 1603"/>
                  <a:gd name="T41" fmla="*/ 2147483647 h 811"/>
                  <a:gd name="T42" fmla="*/ 2147483647 w 1603"/>
                  <a:gd name="T43" fmla="*/ 2147483647 h 811"/>
                  <a:gd name="T44" fmla="*/ 2147483647 w 1603"/>
                  <a:gd name="T45" fmla="*/ 2147483647 h 811"/>
                  <a:gd name="T46" fmla="*/ 2147483647 w 1603"/>
                  <a:gd name="T47" fmla="*/ 2147483647 h 811"/>
                  <a:gd name="T48" fmla="*/ 2147483647 w 1603"/>
                  <a:gd name="T49" fmla="*/ 2147483647 h 811"/>
                  <a:gd name="T50" fmla="*/ 2147483647 w 1603"/>
                  <a:gd name="T51" fmla="*/ 2147483647 h 811"/>
                  <a:gd name="T52" fmla="*/ 2147483647 w 1603"/>
                  <a:gd name="T53" fmla="*/ 2147483647 h 811"/>
                  <a:gd name="T54" fmla="*/ 2147483647 w 1603"/>
                  <a:gd name="T55" fmla="*/ 2147483647 h 811"/>
                  <a:gd name="T56" fmla="*/ 2147483647 w 1603"/>
                  <a:gd name="T57" fmla="*/ 2147483647 h 811"/>
                  <a:gd name="T58" fmla="*/ 2147483647 w 1603"/>
                  <a:gd name="T59" fmla="*/ 2147483647 h 811"/>
                  <a:gd name="T60" fmla="*/ 2147483647 w 1603"/>
                  <a:gd name="T61" fmla="*/ 2147483647 h 811"/>
                  <a:gd name="T62" fmla="*/ 2147483647 w 1603"/>
                  <a:gd name="T63" fmla="*/ 2147483647 h 811"/>
                  <a:gd name="T64" fmla="*/ 2147483647 w 1603"/>
                  <a:gd name="T65" fmla="*/ 2147483647 h 811"/>
                  <a:gd name="T66" fmla="*/ 2147483647 w 1603"/>
                  <a:gd name="T67" fmla="*/ 2147483647 h 811"/>
                  <a:gd name="T68" fmla="*/ 2147483647 w 1603"/>
                  <a:gd name="T69" fmla="*/ 2147483647 h 811"/>
                  <a:gd name="T70" fmla="*/ 2147483647 w 1603"/>
                  <a:gd name="T71" fmla="*/ 2147483647 h 811"/>
                  <a:gd name="T72" fmla="*/ 2147483647 w 1603"/>
                  <a:gd name="T73" fmla="*/ 2147483647 h 811"/>
                  <a:gd name="T74" fmla="*/ 2147483647 w 1603"/>
                  <a:gd name="T75" fmla="*/ 2147483647 h 811"/>
                  <a:gd name="T76" fmla="*/ 2147483647 w 1603"/>
                  <a:gd name="T77" fmla="*/ 2147483647 h 811"/>
                  <a:gd name="T78" fmla="*/ 2147483647 w 1603"/>
                  <a:gd name="T79" fmla="*/ 2147483647 h 811"/>
                  <a:gd name="T80" fmla="*/ 2147483647 w 1603"/>
                  <a:gd name="T81" fmla="*/ 2147483647 h 811"/>
                  <a:gd name="T82" fmla="*/ 2147483647 w 1603"/>
                  <a:gd name="T83" fmla="*/ 2147483647 h 811"/>
                  <a:gd name="T84" fmla="*/ 2147483647 w 1603"/>
                  <a:gd name="T85" fmla="*/ 2147483647 h 811"/>
                  <a:gd name="T86" fmla="*/ 2147483647 w 1603"/>
                  <a:gd name="T87" fmla="*/ 2147483647 h 811"/>
                  <a:gd name="T88" fmla="*/ 2147483647 w 1603"/>
                  <a:gd name="T89" fmla="*/ 2147483647 h 811"/>
                  <a:gd name="T90" fmla="*/ 2147483647 w 1603"/>
                  <a:gd name="T91" fmla="*/ 2147483647 h 811"/>
                  <a:gd name="T92" fmla="*/ 2147483647 w 1603"/>
                  <a:gd name="T93" fmla="*/ 2147483647 h 811"/>
                  <a:gd name="T94" fmla="*/ 2147483647 w 1603"/>
                  <a:gd name="T95" fmla="*/ 2147483647 h 811"/>
                  <a:gd name="T96" fmla="*/ 2147483647 w 1603"/>
                  <a:gd name="T97" fmla="*/ 2147483647 h 811"/>
                  <a:gd name="T98" fmla="*/ 2147483647 w 1603"/>
                  <a:gd name="T99" fmla="*/ 2147483647 h 811"/>
                  <a:gd name="T100" fmla="*/ 2147483647 w 1603"/>
                  <a:gd name="T101" fmla="*/ 2147483647 h 811"/>
                  <a:gd name="T102" fmla="*/ 2147483647 w 1603"/>
                  <a:gd name="T103" fmla="*/ 2147483647 h 811"/>
                  <a:gd name="T104" fmla="*/ 2147483647 w 1603"/>
                  <a:gd name="T105" fmla="*/ 2147483647 h 811"/>
                  <a:gd name="T106" fmla="*/ 2147483647 w 1603"/>
                  <a:gd name="T107" fmla="*/ 2147483647 h 811"/>
                  <a:gd name="T108" fmla="*/ 2147483647 w 1603"/>
                  <a:gd name="T109" fmla="*/ 2147483647 h 811"/>
                  <a:gd name="T110" fmla="*/ 2147483647 w 1603"/>
                  <a:gd name="T111" fmla="*/ 2147483647 h 811"/>
                  <a:gd name="T112" fmla="*/ 2147483647 w 1603"/>
                  <a:gd name="T113" fmla="*/ 2147483647 h 811"/>
                  <a:gd name="T114" fmla="*/ 2147483647 w 1603"/>
                  <a:gd name="T115" fmla="*/ 2147483647 h 811"/>
                  <a:gd name="T116" fmla="*/ 2147483647 w 1603"/>
                  <a:gd name="T117" fmla="*/ 2147483647 h 811"/>
                  <a:gd name="T118" fmla="*/ 2147483647 w 1603"/>
                  <a:gd name="T119" fmla="*/ 2147483647 h 811"/>
                  <a:gd name="T120" fmla="*/ 2147483647 w 1603"/>
                  <a:gd name="T121" fmla="*/ 2147483647 h 811"/>
                  <a:gd name="T122" fmla="*/ 2147483647 w 1603"/>
                  <a:gd name="T123" fmla="*/ 2147483647 h 811"/>
                  <a:gd name="T124" fmla="*/ 2147483647 w 1603"/>
                  <a:gd name="T125" fmla="*/ 2147483647 h 81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03"/>
                  <a:gd name="T190" fmla="*/ 0 h 811"/>
                  <a:gd name="T191" fmla="*/ 1603 w 1603"/>
                  <a:gd name="T192" fmla="*/ 811 h 81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03" h="811">
                    <a:moveTo>
                      <a:pt x="1253" y="691"/>
                    </a:moveTo>
                    <a:cubicBezTo>
                      <a:pt x="1251" y="693"/>
                      <a:pt x="1251" y="698"/>
                      <a:pt x="1253" y="695"/>
                    </a:cubicBezTo>
                    <a:cubicBezTo>
                      <a:pt x="1255" y="692"/>
                      <a:pt x="1254" y="690"/>
                      <a:pt x="1253" y="691"/>
                    </a:cubicBezTo>
                    <a:close/>
                    <a:moveTo>
                      <a:pt x="1366" y="603"/>
                    </a:moveTo>
                    <a:cubicBezTo>
                      <a:pt x="1366" y="600"/>
                      <a:pt x="1361" y="601"/>
                      <a:pt x="1361" y="601"/>
                    </a:cubicBezTo>
                    <a:cubicBezTo>
                      <a:pt x="1362" y="603"/>
                      <a:pt x="1365" y="608"/>
                      <a:pt x="1367" y="610"/>
                    </a:cubicBezTo>
                    <a:cubicBezTo>
                      <a:pt x="1370" y="613"/>
                      <a:pt x="1365" y="605"/>
                      <a:pt x="1366" y="603"/>
                    </a:cubicBezTo>
                    <a:close/>
                    <a:moveTo>
                      <a:pt x="1377" y="608"/>
                    </a:moveTo>
                    <a:cubicBezTo>
                      <a:pt x="1377" y="611"/>
                      <a:pt x="1380" y="615"/>
                      <a:pt x="1382" y="614"/>
                    </a:cubicBezTo>
                    <a:cubicBezTo>
                      <a:pt x="1384" y="612"/>
                      <a:pt x="1377" y="606"/>
                      <a:pt x="1377" y="608"/>
                    </a:cubicBezTo>
                    <a:close/>
                    <a:moveTo>
                      <a:pt x="1036" y="221"/>
                    </a:moveTo>
                    <a:cubicBezTo>
                      <a:pt x="1036" y="220"/>
                      <a:pt x="1036" y="220"/>
                      <a:pt x="1036" y="220"/>
                    </a:cubicBezTo>
                    <a:cubicBezTo>
                      <a:pt x="1036" y="220"/>
                      <a:pt x="1035" y="219"/>
                      <a:pt x="1036" y="221"/>
                    </a:cubicBezTo>
                    <a:close/>
                    <a:moveTo>
                      <a:pt x="1222" y="732"/>
                    </a:moveTo>
                    <a:cubicBezTo>
                      <a:pt x="1222" y="735"/>
                      <a:pt x="1228" y="730"/>
                      <a:pt x="1228" y="728"/>
                    </a:cubicBezTo>
                    <a:cubicBezTo>
                      <a:pt x="1228" y="727"/>
                      <a:pt x="1222" y="730"/>
                      <a:pt x="1222" y="732"/>
                    </a:cubicBezTo>
                    <a:close/>
                    <a:moveTo>
                      <a:pt x="1209" y="741"/>
                    </a:moveTo>
                    <a:cubicBezTo>
                      <a:pt x="1209" y="741"/>
                      <a:pt x="1202" y="746"/>
                      <a:pt x="1201" y="749"/>
                    </a:cubicBezTo>
                    <a:cubicBezTo>
                      <a:pt x="1199" y="753"/>
                      <a:pt x="1209" y="745"/>
                      <a:pt x="1210" y="744"/>
                    </a:cubicBezTo>
                    <a:cubicBezTo>
                      <a:pt x="1212" y="742"/>
                      <a:pt x="1209" y="741"/>
                      <a:pt x="1209" y="741"/>
                    </a:cubicBezTo>
                    <a:close/>
                    <a:moveTo>
                      <a:pt x="1236" y="720"/>
                    </a:moveTo>
                    <a:cubicBezTo>
                      <a:pt x="1237" y="720"/>
                      <a:pt x="1238" y="717"/>
                      <a:pt x="1237" y="714"/>
                    </a:cubicBezTo>
                    <a:cubicBezTo>
                      <a:pt x="1237" y="714"/>
                      <a:pt x="1234" y="721"/>
                      <a:pt x="1236" y="720"/>
                    </a:cubicBezTo>
                    <a:close/>
                    <a:moveTo>
                      <a:pt x="1245" y="704"/>
                    </a:moveTo>
                    <a:cubicBezTo>
                      <a:pt x="1245" y="704"/>
                      <a:pt x="1247" y="704"/>
                      <a:pt x="1248" y="702"/>
                    </a:cubicBezTo>
                    <a:cubicBezTo>
                      <a:pt x="1249" y="700"/>
                      <a:pt x="1245" y="703"/>
                      <a:pt x="1245" y="704"/>
                    </a:cubicBezTo>
                    <a:close/>
                    <a:moveTo>
                      <a:pt x="1265" y="674"/>
                    </a:moveTo>
                    <a:cubicBezTo>
                      <a:pt x="1262" y="675"/>
                      <a:pt x="1262" y="677"/>
                      <a:pt x="1260" y="680"/>
                    </a:cubicBezTo>
                    <a:cubicBezTo>
                      <a:pt x="1258" y="684"/>
                      <a:pt x="1255" y="684"/>
                      <a:pt x="1257" y="685"/>
                    </a:cubicBezTo>
                    <a:cubicBezTo>
                      <a:pt x="1259" y="686"/>
                      <a:pt x="1262" y="685"/>
                      <a:pt x="1265" y="681"/>
                    </a:cubicBezTo>
                    <a:cubicBezTo>
                      <a:pt x="1268" y="676"/>
                      <a:pt x="1269" y="675"/>
                      <a:pt x="1269" y="674"/>
                    </a:cubicBezTo>
                    <a:cubicBezTo>
                      <a:pt x="1270" y="672"/>
                      <a:pt x="1267" y="674"/>
                      <a:pt x="1265" y="674"/>
                    </a:cubicBezTo>
                    <a:close/>
                    <a:moveTo>
                      <a:pt x="1600" y="380"/>
                    </a:moveTo>
                    <a:cubicBezTo>
                      <a:pt x="1599" y="380"/>
                      <a:pt x="1594" y="377"/>
                      <a:pt x="1594" y="377"/>
                    </a:cubicBezTo>
                    <a:cubicBezTo>
                      <a:pt x="1594" y="377"/>
                      <a:pt x="1589" y="371"/>
                      <a:pt x="1586" y="369"/>
                    </a:cubicBezTo>
                    <a:cubicBezTo>
                      <a:pt x="1583" y="367"/>
                      <a:pt x="1582" y="364"/>
                      <a:pt x="1582" y="364"/>
                    </a:cubicBezTo>
                    <a:cubicBezTo>
                      <a:pt x="1580" y="359"/>
                      <a:pt x="1580" y="359"/>
                      <a:pt x="1580" y="359"/>
                    </a:cubicBezTo>
                    <a:cubicBezTo>
                      <a:pt x="1580" y="359"/>
                      <a:pt x="1575" y="359"/>
                      <a:pt x="1572" y="361"/>
                    </a:cubicBezTo>
                    <a:cubicBezTo>
                      <a:pt x="1568" y="363"/>
                      <a:pt x="1572" y="361"/>
                      <a:pt x="1567" y="363"/>
                    </a:cubicBezTo>
                    <a:cubicBezTo>
                      <a:pt x="1562" y="364"/>
                      <a:pt x="1566" y="357"/>
                      <a:pt x="1564" y="357"/>
                    </a:cubicBezTo>
                    <a:cubicBezTo>
                      <a:pt x="1562" y="356"/>
                      <a:pt x="1556" y="357"/>
                      <a:pt x="1554" y="357"/>
                    </a:cubicBezTo>
                    <a:cubicBezTo>
                      <a:pt x="1551" y="357"/>
                      <a:pt x="1558" y="358"/>
                      <a:pt x="1559" y="360"/>
                    </a:cubicBezTo>
                    <a:cubicBezTo>
                      <a:pt x="1559" y="362"/>
                      <a:pt x="1560" y="367"/>
                      <a:pt x="1558" y="369"/>
                    </a:cubicBezTo>
                    <a:cubicBezTo>
                      <a:pt x="1557" y="370"/>
                      <a:pt x="1562" y="372"/>
                      <a:pt x="1561" y="374"/>
                    </a:cubicBezTo>
                    <a:cubicBezTo>
                      <a:pt x="1561" y="375"/>
                      <a:pt x="1559" y="376"/>
                      <a:pt x="1559" y="373"/>
                    </a:cubicBezTo>
                    <a:cubicBezTo>
                      <a:pt x="1558" y="371"/>
                      <a:pt x="1558" y="375"/>
                      <a:pt x="1557" y="376"/>
                    </a:cubicBezTo>
                    <a:cubicBezTo>
                      <a:pt x="1555" y="377"/>
                      <a:pt x="1555" y="374"/>
                      <a:pt x="1555" y="371"/>
                    </a:cubicBezTo>
                    <a:cubicBezTo>
                      <a:pt x="1555" y="368"/>
                      <a:pt x="1550" y="370"/>
                      <a:pt x="1551" y="367"/>
                    </a:cubicBezTo>
                    <a:cubicBezTo>
                      <a:pt x="1551" y="364"/>
                      <a:pt x="1551" y="363"/>
                      <a:pt x="1550" y="360"/>
                    </a:cubicBezTo>
                    <a:cubicBezTo>
                      <a:pt x="1549" y="356"/>
                      <a:pt x="1551" y="352"/>
                      <a:pt x="1551" y="349"/>
                    </a:cubicBezTo>
                    <a:cubicBezTo>
                      <a:pt x="1551" y="346"/>
                      <a:pt x="1548" y="349"/>
                      <a:pt x="1548" y="349"/>
                    </a:cubicBezTo>
                    <a:cubicBezTo>
                      <a:pt x="1548" y="349"/>
                      <a:pt x="1547" y="347"/>
                      <a:pt x="1547" y="345"/>
                    </a:cubicBezTo>
                    <a:cubicBezTo>
                      <a:pt x="1547" y="343"/>
                      <a:pt x="1545" y="341"/>
                      <a:pt x="1542" y="339"/>
                    </a:cubicBezTo>
                    <a:cubicBezTo>
                      <a:pt x="1540" y="337"/>
                      <a:pt x="1540" y="343"/>
                      <a:pt x="1540" y="343"/>
                    </a:cubicBezTo>
                    <a:cubicBezTo>
                      <a:pt x="1540" y="343"/>
                      <a:pt x="1537" y="344"/>
                      <a:pt x="1538" y="341"/>
                    </a:cubicBezTo>
                    <a:cubicBezTo>
                      <a:pt x="1540" y="338"/>
                      <a:pt x="1537" y="337"/>
                      <a:pt x="1537" y="337"/>
                    </a:cubicBezTo>
                    <a:cubicBezTo>
                      <a:pt x="1531" y="335"/>
                      <a:pt x="1531" y="335"/>
                      <a:pt x="1531" y="335"/>
                    </a:cubicBezTo>
                    <a:cubicBezTo>
                      <a:pt x="1534" y="333"/>
                      <a:pt x="1534" y="333"/>
                      <a:pt x="1534" y="333"/>
                    </a:cubicBezTo>
                    <a:cubicBezTo>
                      <a:pt x="1529" y="330"/>
                      <a:pt x="1529" y="330"/>
                      <a:pt x="1529" y="330"/>
                    </a:cubicBezTo>
                    <a:cubicBezTo>
                      <a:pt x="1529" y="330"/>
                      <a:pt x="1527" y="328"/>
                      <a:pt x="1523" y="327"/>
                    </a:cubicBezTo>
                    <a:cubicBezTo>
                      <a:pt x="1518" y="326"/>
                      <a:pt x="1520" y="325"/>
                      <a:pt x="1519" y="323"/>
                    </a:cubicBezTo>
                    <a:cubicBezTo>
                      <a:pt x="1517" y="321"/>
                      <a:pt x="1514" y="321"/>
                      <a:pt x="1514" y="318"/>
                    </a:cubicBezTo>
                    <a:cubicBezTo>
                      <a:pt x="1513" y="316"/>
                      <a:pt x="1510" y="313"/>
                      <a:pt x="1508" y="312"/>
                    </a:cubicBezTo>
                    <a:cubicBezTo>
                      <a:pt x="1506" y="312"/>
                      <a:pt x="1502" y="311"/>
                      <a:pt x="1501" y="309"/>
                    </a:cubicBezTo>
                    <a:cubicBezTo>
                      <a:pt x="1500" y="308"/>
                      <a:pt x="1496" y="303"/>
                      <a:pt x="1496" y="302"/>
                    </a:cubicBezTo>
                    <a:cubicBezTo>
                      <a:pt x="1497" y="301"/>
                      <a:pt x="1491" y="300"/>
                      <a:pt x="1489" y="300"/>
                    </a:cubicBezTo>
                    <a:cubicBezTo>
                      <a:pt x="1487" y="300"/>
                      <a:pt x="1488" y="298"/>
                      <a:pt x="1490" y="298"/>
                    </a:cubicBezTo>
                    <a:cubicBezTo>
                      <a:pt x="1492" y="298"/>
                      <a:pt x="1488" y="295"/>
                      <a:pt x="1485" y="295"/>
                    </a:cubicBezTo>
                    <a:cubicBezTo>
                      <a:pt x="1481" y="294"/>
                      <a:pt x="1475" y="291"/>
                      <a:pt x="1473" y="290"/>
                    </a:cubicBezTo>
                    <a:cubicBezTo>
                      <a:pt x="1470" y="289"/>
                      <a:pt x="1462" y="285"/>
                      <a:pt x="1461" y="284"/>
                    </a:cubicBezTo>
                    <a:cubicBezTo>
                      <a:pt x="1459" y="284"/>
                      <a:pt x="1457" y="283"/>
                      <a:pt x="1454" y="283"/>
                    </a:cubicBezTo>
                    <a:cubicBezTo>
                      <a:pt x="1450" y="282"/>
                      <a:pt x="1440" y="282"/>
                      <a:pt x="1440" y="282"/>
                    </a:cubicBezTo>
                    <a:cubicBezTo>
                      <a:pt x="1440" y="282"/>
                      <a:pt x="1436" y="281"/>
                      <a:pt x="1435" y="280"/>
                    </a:cubicBezTo>
                    <a:cubicBezTo>
                      <a:pt x="1434" y="280"/>
                      <a:pt x="1434" y="283"/>
                      <a:pt x="1434" y="284"/>
                    </a:cubicBezTo>
                    <a:cubicBezTo>
                      <a:pt x="1434" y="283"/>
                      <a:pt x="1429" y="281"/>
                      <a:pt x="1428" y="281"/>
                    </a:cubicBezTo>
                    <a:cubicBezTo>
                      <a:pt x="1427" y="281"/>
                      <a:pt x="1414" y="277"/>
                      <a:pt x="1412" y="276"/>
                    </a:cubicBezTo>
                    <a:cubicBezTo>
                      <a:pt x="1410" y="276"/>
                      <a:pt x="1407" y="275"/>
                      <a:pt x="1407" y="276"/>
                    </a:cubicBezTo>
                    <a:cubicBezTo>
                      <a:pt x="1407" y="277"/>
                      <a:pt x="1406" y="286"/>
                      <a:pt x="1406" y="286"/>
                    </a:cubicBezTo>
                    <a:cubicBezTo>
                      <a:pt x="1406" y="286"/>
                      <a:pt x="1406" y="286"/>
                      <a:pt x="1404" y="288"/>
                    </a:cubicBezTo>
                    <a:cubicBezTo>
                      <a:pt x="1402" y="289"/>
                      <a:pt x="1404" y="291"/>
                      <a:pt x="1407" y="290"/>
                    </a:cubicBezTo>
                    <a:cubicBezTo>
                      <a:pt x="1409" y="289"/>
                      <a:pt x="1410" y="293"/>
                      <a:pt x="1410" y="295"/>
                    </a:cubicBezTo>
                    <a:cubicBezTo>
                      <a:pt x="1410" y="297"/>
                      <a:pt x="1412" y="302"/>
                      <a:pt x="1411" y="305"/>
                    </a:cubicBezTo>
                    <a:cubicBezTo>
                      <a:pt x="1411" y="308"/>
                      <a:pt x="1407" y="310"/>
                      <a:pt x="1404" y="312"/>
                    </a:cubicBezTo>
                    <a:cubicBezTo>
                      <a:pt x="1401" y="313"/>
                      <a:pt x="1396" y="312"/>
                      <a:pt x="1397" y="310"/>
                    </a:cubicBezTo>
                    <a:cubicBezTo>
                      <a:pt x="1397" y="307"/>
                      <a:pt x="1395" y="304"/>
                      <a:pt x="1394" y="303"/>
                    </a:cubicBezTo>
                    <a:cubicBezTo>
                      <a:pt x="1394" y="302"/>
                      <a:pt x="1386" y="301"/>
                      <a:pt x="1385" y="300"/>
                    </a:cubicBezTo>
                    <a:cubicBezTo>
                      <a:pt x="1384" y="300"/>
                      <a:pt x="1384" y="294"/>
                      <a:pt x="1384" y="292"/>
                    </a:cubicBezTo>
                    <a:cubicBezTo>
                      <a:pt x="1385" y="290"/>
                      <a:pt x="1382" y="289"/>
                      <a:pt x="1383" y="288"/>
                    </a:cubicBezTo>
                    <a:cubicBezTo>
                      <a:pt x="1383" y="287"/>
                      <a:pt x="1389" y="291"/>
                      <a:pt x="1392" y="292"/>
                    </a:cubicBezTo>
                    <a:cubicBezTo>
                      <a:pt x="1395" y="293"/>
                      <a:pt x="1394" y="291"/>
                      <a:pt x="1394" y="289"/>
                    </a:cubicBezTo>
                    <a:cubicBezTo>
                      <a:pt x="1394" y="287"/>
                      <a:pt x="1396" y="286"/>
                      <a:pt x="1396" y="283"/>
                    </a:cubicBezTo>
                    <a:cubicBezTo>
                      <a:pt x="1397" y="281"/>
                      <a:pt x="1394" y="282"/>
                      <a:pt x="1389" y="280"/>
                    </a:cubicBezTo>
                    <a:cubicBezTo>
                      <a:pt x="1385" y="277"/>
                      <a:pt x="1384" y="279"/>
                      <a:pt x="1382" y="280"/>
                    </a:cubicBezTo>
                    <a:cubicBezTo>
                      <a:pt x="1380" y="281"/>
                      <a:pt x="1382" y="286"/>
                      <a:pt x="1382" y="286"/>
                    </a:cubicBezTo>
                    <a:cubicBezTo>
                      <a:pt x="1378" y="285"/>
                      <a:pt x="1378" y="285"/>
                      <a:pt x="1378" y="285"/>
                    </a:cubicBezTo>
                    <a:cubicBezTo>
                      <a:pt x="1378" y="285"/>
                      <a:pt x="1374" y="291"/>
                      <a:pt x="1373" y="293"/>
                    </a:cubicBezTo>
                    <a:cubicBezTo>
                      <a:pt x="1371" y="295"/>
                      <a:pt x="1363" y="292"/>
                      <a:pt x="1361" y="291"/>
                    </a:cubicBezTo>
                    <a:cubicBezTo>
                      <a:pt x="1359" y="290"/>
                      <a:pt x="1352" y="291"/>
                      <a:pt x="1352" y="291"/>
                    </a:cubicBezTo>
                    <a:cubicBezTo>
                      <a:pt x="1352" y="291"/>
                      <a:pt x="1347" y="289"/>
                      <a:pt x="1345" y="287"/>
                    </a:cubicBezTo>
                    <a:cubicBezTo>
                      <a:pt x="1344" y="284"/>
                      <a:pt x="1342" y="287"/>
                      <a:pt x="1339" y="288"/>
                    </a:cubicBezTo>
                    <a:cubicBezTo>
                      <a:pt x="1337" y="288"/>
                      <a:pt x="1329" y="289"/>
                      <a:pt x="1329" y="289"/>
                    </a:cubicBezTo>
                    <a:cubicBezTo>
                      <a:pt x="1329" y="289"/>
                      <a:pt x="1325" y="289"/>
                      <a:pt x="1323" y="290"/>
                    </a:cubicBezTo>
                    <a:cubicBezTo>
                      <a:pt x="1321" y="291"/>
                      <a:pt x="1320" y="289"/>
                      <a:pt x="1319" y="289"/>
                    </a:cubicBezTo>
                    <a:cubicBezTo>
                      <a:pt x="1318" y="289"/>
                      <a:pt x="1316" y="292"/>
                      <a:pt x="1314" y="294"/>
                    </a:cubicBezTo>
                    <a:cubicBezTo>
                      <a:pt x="1313" y="296"/>
                      <a:pt x="1315" y="290"/>
                      <a:pt x="1315" y="290"/>
                    </a:cubicBezTo>
                    <a:cubicBezTo>
                      <a:pt x="1315" y="290"/>
                      <a:pt x="1310" y="289"/>
                      <a:pt x="1305" y="286"/>
                    </a:cubicBezTo>
                    <a:cubicBezTo>
                      <a:pt x="1301" y="284"/>
                      <a:pt x="1302" y="281"/>
                      <a:pt x="1304" y="274"/>
                    </a:cubicBezTo>
                    <a:cubicBezTo>
                      <a:pt x="1306" y="267"/>
                      <a:pt x="1302" y="260"/>
                      <a:pt x="1293" y="253"/>
                    </a:cubicBezTo>
                    <a:cubicBezTo>
                      <a:pt x="1284" y="246"/>
                      <a:pt x="1262" y="247"/>
                      <a:pt x="1254" y="249"/>
                    </a:cubicBezTo>
                    <a:cubicBezTo>
                      <a:pt x="1246" y="250"/>
                      <a:pt x="1232" y="255"/>
                      <a:pt x="1229" y="255"/>
                    </a:cubicBezTo>
                    <a:cubicBezTo>
                      <a:pt x="1226" y="254"/>
                      <a:pt x="1222" y="250"/>
                      <a:pt x="1223" y="250"/>
                    </a:cubicBezTo>
                    <a:cubicBezTo>
                      <a:pt x="1224" y="251"/>
                      <a:pt x="1227" y="251"/>
                      <a:pt x="1226" y="247"/>
                    </a:cubicBezTo>
                    <a:cubicBezTo>
                      <a:pt x="1225" y="244"/>
                      <a:pt x="1219" y="238"/>
                      <a:pt x="1214" y="235"/>
                    </a:cubicBezTo>
                    <a:cubicBezTo>
                      <a:pt x="1209" y="231"/>
                      <a:pt x="1206" y="229"/>
                      <a:pt x="1200" y="229"/>
                    </a:cubicBezTo>
                    <a:cubicBezTo>
                      <a:pt x="1195" y="228"/>
                      <a:pt x="1196" y="226"/>
                      <a:pt x="1197" y="225"/>
                    </a:cubicBezTo>
                    <a:cubicBezTo>
                      <a:pt x="1198" y="224"/>
                      <a:pt x="1200" y="222"/>
                      <a:pt x="1201" y="223"/>
                    </a:cubicBezTo>
                    <a:cubicBezTo>
                      <a:pt x="1201" y="225"/>
                      <a:pt x="1202" y="225"/>
                      <a:pt x="1206" y="223"/>
                    </a:cubicBezTo>
                    <a:cubicBezTo>
                      <a:pt x="1209" y="221"/>
                      <a:pt x="1205" y="220"/>
                      <a:pt x="1204" y="218"/>
                    </a:cubicBezTo>
                    <a:cubicBezTo>
                      <a:pt x="1203" y="215"/>
                      <a:pt x="1196" y="210"/>
                      <a:pt x="1191" y="209"/>
                    </a:cubicBezTo>
                    <a:cubicBezTo>
                      <a:pt x="1186" y="207"/>
                      <a:pt x="1179" y="208"/>
                      <a:pt x="1179" y="208"/>
                    </a:cubicBezTo>
                    <a:cubicBezTo>
                      <a:pt x="1179" y="208"/>
                      <a:pt x="1174" y="214"/>
                      <a:pt x="1172" y="217"/>
                    </a:cubicBezTo>
                    <a:cubicBezTo>
                      <a:pt x="1170" y="221"/>
                      <a:pt x="1167" y="228"/>
                      <a:pt x="1161" y="228"/>
                    </a:cubicBezTo>
                    <a:cubicBezTo>
                      <a:pt x="1155" y="228"/>
                      <a:pt x="1156" y="227"/>
                      <a:pt x="1157" y="225"/>
                    </a:cubicBezTo>
                    <a:cubicBezTo>
                      <a:pt x="1158" y="224"/>
                      <a:pt x="1160" y="222"/>
                      <a:pt x="1162" y="221"/>
                    </a:cubicBezTo>
                    <a:cubicBezTo>
                      <a:pt x="1165" y="220"/>
                      <a:pt x="1163" y="218"/>
                      <a:pt x="1163" y="217"/>
                    </a:cubicBezTo>
                    <a:cubicBezTo>
                      <a:pt x="1163" y="216"/>
                      <a:pt x="1164" y="214"/>
                      <a:pt x="1166" y="214"/>
                    </a:cubicBezTo>
                    <a:cubicBezTo>
                      <a:pt x="1168" y="213"/>
                      <a:pt x="1165" y="221"/>
                      <a:pt x="1165" y="221"/>
                    </a:cubicBezTo>
                    <a:cubicBezTo>
                      <a:pt x="1165" y="221"/>
                      <a:pt x="1168" y="219"/>
                      <a:pt x="1170" y="217"/>
                    </a:cubicBezTo>
                    <a:cubicBezTo>
                      <a:pt x="1173" y="215"/>
                      <a:pt x="1175" y="208"/>
                      <a:pt x="1174" y="208"/>
                    </a:cubicBezTo>
                    <a:cubicBezTo>
                      <a:pt x="1172" y="208"/>
                      <a:pt x="1160" y="210"/>
                      <a:pt x="1160" y="210"/>
                    </a:cubicBezTo>
                    <a:cubicBezTo>
                      <a:pt x="1151" y="211"/>
                      <a:pt x="1151" y="211"/>
                      <a:pt x="1151" y="211"/>
                    </a:cubicBezTo>
                    <a:cubicBezTo>
                      <a:pt x="1151" y="211"/>
                      <a:pt x="1153" y="206"/>
                      <a:pt x="1156" y="205"/>
                    </a:cubicBezTo>
                    <a:cubicBezTo>
                      <a:pt x="1159" y="203"/>
                      <a:pt x="1162" y="207"/>
                      <a:pt x="1165" y="207"/>
                    </a:cubicBezTo>
                    <a:cubicBezTo>
                      <a:pt x="1168" y="207"/>
                      <a:pt x="1174" y="207"/>
                      <a:pt x="1173" y="206"/>
                    </a:cubicBezTo>
                    <a:cubicBezTo>
                      <a:pt x="1172" y="204"/>
                      <a:pt x="1164" y="202"/>
                      <a:pt x="1157" y="201"/>
                    </a:cubicBezTo>
                    <a:cubicBezTo>
                      <a:pt x="1149" y="199"/>
                      <a:pt x="1143" y="197"/>
                      <a:pt x="1136" y="197"/>
                    </a:cubicBezTo>
                    <a:cubicBezTo>
                      <a:pt x="1129" y="196"/>
                      <a:pt x="1123" y="194"/>
                      <a:pt x="1121" y="192"/>
                    </a:cubicBezTo>
                    <a:cubicBezTo>
                      <a:pt x="1119" y="190"/>
                      <a:pt x="1114" y="190"/>
                      <a:pt x="1114" y="190"/>
                    </a:cubicBezTo>
                    <a:cubicBezTo>
                      <a:pt x="1114" y="190"/>
                      <a:pt x="1116" y="194"/>
                      <a:pt x="1117" y="196"/>
                    </a:cubicBezTo>
                    <a:cubicBezTo>
                      <a:pt x="1117" y="197"/>
                      <a:pt x="1116" y="199"/>
                      <a:pt x="1113" y="201"/>
                    </a:cubicBezTo>
                    <a:cubicBezTo>
                      <a:pt x="1111" y="203"/>
                      <a:pt x="1109" y="199"/>
                      <a:pt x="1109" y="199"/>
                    </a:cubicBezTo>
                    <a:cubicBezTo>
                      <a:pt x="1105" y="200"/>
                      <a:pt x="1105" y="200"/>
                      <a:pt x="1105" y="200"/>
                    </a:cubicBezTo>
                    <a:cubicBezTo>
                      <a:pt x="1105" y="200"/>
                      <a:pt x="1100" y="205"/>
                      <a:pt x="1099" y="211"/>
                    </a:cubicBezTo>
                    <a:cubicBezTo>
                      <a:pt x="1098" y="217"/>
                      <a:pt x="1102" y="214"/>
                      <a:pt x="1104" y="211"/>
                    </a:cubicBezTo>
                    <a:cubicBezTo>
                      <a:pt x="1106" y="208"/>
                      <a:pt x="1109" y="210"/>
                      <a:pt x="1110" y="212"/>
                    </a:cubicBezTo>
                    <a:cubicBezTo>
                      <a:pt x="1111" y="214"/>
                      <a:pt x="1107" y="213"/>
                      <a:pt x="1106" y="213"/>
                    </a:cubicBezTo>
                    <a:cubicBezTo>
                      <a:pt x="1105" y="213"/>
                      <a:pt x="1106" y="219"/>
                      <a:pt x="1104" y="225"/>
                    </a:cubicBezTo>
                    <a:cubicBezTo>
                      <a:pt x="1103" y="230"/>
                      <a:pt x="1107" y="232"/>
                      <a:pt x="1106" y="234"/>
                    </a:cubicBezTo>
                    <a:cubicBezTo>
                      <a:pt x="1104" y="235"/>
                      <a:pt x="1103" y="234"/>
                      <a:pt x="1101" y="236"/>
                    </a:cubicBezTo>
                    <a:cubicBezTo>
                      <a:pt x="1099" y="238"/>
                      <a:pt x="1099" y="234"/>
                      <a:pt x="1098" y="233"/>
                    </a:cubicBezTo>
                    <a:cubicBezTo>
                      <a:pt x="1098" y="232"/>
                      <a:pt x="1098" y="228"/>
                      <a:pt x="1097" y="227"/>
                    </a:cubicBezTo>
                    <a:cubicBezTo>
                      <a:pt x="1097" y="226"/>
                      <a:pt x="1092" y="231"/>
                      <a:pt x="1091" y="232"/>
                    </a:cubicBezTo>
                    <a:cubicBezTo>
                      <a:pt x="1090" y="232"/>
                      <a:pt x="1087" y="232"/>
                      <a:pt x="1084" y="230"/>
                    </a:cubicBezTo>
                    <a:cubicBezTo>
                      <a:pt x="1082" y="229"/>
                      <a:pt x="1081" y="232"/>
                      <a:pt x="1079" y="233"/>
                    </a:cubicBezTo>
                    <a:cubicBezTo>
                      <a:pt x="1077" y="234"/>
                      <a:pt x="1076" y="232"/>
                      <a:pt x="1075" y="230"/>
                    </a:cubicBezTo>
                    <a:cubicBezTo>
                      <a:pt x="1073" y="229"/>
                      <a:pt x="1067" y="230"/>
                      <a:pt x="1065" y="230"/>
                    </a:cubicBezTo>
                    <a:cubicBezTo>
                      <a:pt x="1063" y="229"/>
                      <a:pt x="1059" y="234"/>
                      <a:pt x="1057" y="234"/>
                    </a:cubicBezTo>
                    <a:cubicBezTo>
                      <a:pt x="1055" y="235"/>
                      <a:pt x="1058" y="239"/>
                      <a:pt x="1049" y="238"/>
                    </a:cubicBezTo>
                    <a:cubicBezTo>
                      <a:pt x="1041" y="237"/>
                      <a:pt x="1040" y="232"/>
                      <a:pt x="1037" y="225"/>
                    </a:cubicBezTo>
                    <a:cubicBezTo>
                      <a:pt x="1036" y="223"/>
                      <a:pt x="1036" y="222"/>
                      <a:pt x="1036" y="221"/>
                    </a:cubicBezTo>
                    <a:cubicBezTo>
                      <a:pt x="1035" y="223"/>
                      <a:pt x="1033" y="226"/>
                      <a:pt x="1031" y="229"/>
                    </a:cubicBezTo>
                    <a:cubicBezTo>
                      <a:pt x="1028" y="232"/>
                      <a:pt x="1027" y="243"/>
                      <a:pt x="1027" y="243"/>
                    </a:cubicBezTo>
                    <a:cubicBezTo>
                      <a:pt x="1027" y="243"/>
                      <a:pt x="1024" y="256"/>
                      <a:pt x="1020" y="258"/>
                    </a:cubicBezTo>
                    <a:cubicBezTo>
                      <a:pt x="1017" y="260"/>
                      <a:pt x="1018" y="256"/>
                      <a:pt x="1017" y="252"/>
                    </a:cubicBezTo>
                    <a:cubicBezTo>
                      <a:pt x="1017" y="247"/>
                      <a:pt x="1016" y="254"/>
                      <a:pt x="1014" y="253"/>
                    </a:cubicBezTo>
                    <a:cubicBezTo>
                      <a:pt x="1012" y="251"/>
                      <a:pt x="1011" y="251"/>
                      <a:pt x="1011" y="248"/>
                    </a:cubicBezTo>
                    <a:cubicBezTo>
                      <a:pt x="1011" y="244"/>
                      <a:pt x="1007" y="247"/>
                      <a:pt x="1007" y="245"/>
                    </a:cubicBezTo>
                    <a:cubicBezTo>
                      <a:pt x="1007" y="243"/>
                      <a:pt x="1004" y="242"/>
                      <a:pt x="1004" y="238"/>
                    </a:cubicBezTo>
                    <a:cubicBezTo>
                      <a:pt x="1003" y="235"/>
                      <a:pt x="1003" y="232"/>
                      <a:pt x="1000" y="232"/>
                    </a:cubicBezTo>
                    <a:cubicBezTo>
                      <a:pt x="998" y="232"/>
                      <a:pt x="999" y="229"/>
                      <a:pt x="1000" y="229"/>
                    </a:cubicBezTo>
                    <a:cubicBezTo>
                      <a:pt x="1001" y="228"/>
                      <a:pt x="1005" y="228"/>
                      <a:pt x="1004" y="227"/>
                    </a:cubicBezTo>
                    <a:cubicBezTo>
                      <a:pt x="1003" y="226"/>
                      <a:pt x="1002" y="223"/>
                      <a:pt x="1001" y="221"/>
                    </a:cubicBezTo>
                    <a:cubicBezTo>
                      <a:pt x="1001" y="219"/>
                      <a:pt x="1001" y="225"/>
                      <a:pt x="999" y="226"/>
                    </a:cubicBezTo>
                    <a:cubicBezTo>
                      <a:pt x="997" y="227"/>
                      <a:pt x="996" y="228"/>
                      <a:pt x="995" y="223"/>
                    </a:cubicBezTo>
                    <a:cubicBezTo>
                      <a:pt x="994" y="218"/>
                      <a:pt x="997" y="219"/>
                      <a:pt x="999" y="218"/>
                    </a:cubicBezTo>
                    <a:cubicBezTo>
                      <a:pt x="1001" y="218"/>
                      <a:pt x="1001" y="215"/>
                      <a:pt x="1003" y="215"/>
                    </a:cubicBezTo>
                    <a:cubicBezTo>
                      <a:pt x="1004" y="214"/>
                      <a:pt x="1004" y="212"/>
                      <a:pt x="1003" y="210"/>
                    </a:cubicBezTo>
                    <a:cubicBezTo>
                      <a:pt x="1002" y="209"/>
                      <a:pt x="1004" y="207"/>
                      <a:pt x="1003" y="205"/>
                    </a:cubicBezTo>
                    <a:cubicBezTo>
                      <a:pt x="1002" y="203"/>
                      <a:pt x="1001" y="203"/>
                      <a:pt x="1000" y="203"/>
                    </a:cubicBezTo>
                    <a:cubicBezTo>
                      <a:pt x="998" y="202"/>
                      <a:pt x="1003" y="199"/>
                      <a:pt x="1002" y="199"/>
                    </a:cubicBezTo>
                    <a:cubicBezTo>
                      <a:pt x="1000" y="199"/>
                      <a:pt x="1004" y="196"/>
                      <a:pt x="1003" y="195"/>
                    </a:cubicBezTo>
                    <a:cubicBezTo>
                      <a:pt x="1001" y="193"/>
                      <a:pt x="1005" y="192"/>
                      <a:pt x="1002" y="190"/>
                    </a:cubicBezTo>
                    <a:cubicBezTo>
                      <a:pt x="1000" y="188"/>
                      <a:pt x="1000" y="187"/>
                      <a:pt x="1003" y="187"/>
                    </a:cubicBezTo>
                    <a:cubicBezTo>
                      <a:pt x="1007" y="187"/>
                      <a:pt x="1001" y="184"/>
                      <a:pt x="999" y="181"/>
                    </a:cubicBezTo>
                    <a:cubicBezTo>
                      <a:pt x="996" y="178"/>
                      <a:pt x="989" y="171"/>
                      <a:pt x="987" y="169"/>
                    </a:cubicBezTo>
                    <a:cubicBezTo>
                      <a:pt x="984" y="167"/>
                      <a:pt x="980" y="169"/>
                      <a:pt x="978" y="169"/>
                    </a:cubicBezTo>
                    <a:cubicBezTo>
                      <a:pt x="977" y="170"/>
                      <a:pt x="972" y="169"/>
                      <a:pt x="970" y="168"/>
                    </a:cubicBezTo>
                    <a:cubicBezTo>
                      <a:pt x="967" y="167"/>
                      <a:pt x="962" y="164"/>
                      <a:pt x="959" y="161"/>
                    </a:cubicBezTo>
                    <a:cubicBezTo>
                      <a:pt x="956" y="158"/>
                      <a:pt x="954" y="158"/>
                      <a:pt x="952" y="159"/>
                    </a:cubicBezTo>
                    <a:cubicBezTo>
                      <a:pt x="950" y="160"/>
                      <a:pt x="950" y="164"/>
                      <a:pt x="948" y="164"/>
                    </a:cubicBezTo>
                    <a:cubicBezTo>
                      <a:pt x="947" y="164"/>
                      <a:pt x="947" y="160"/>
                      <a:pt x="947" y="160"/>
                    </a:cubicBezTo>
                    <a:cubicBezTo>
                      <a:pt x="947" y="160"/>
                      <a:pt x="945" y="163"/>
                      <a:pt x="943" y="164"/>
                    </a:cubicBezTo>
                    <a:cubicBezTo>
                      <a:pt x="942" y="165"/>
                      <a:pt x="944" y="173"/>
                      <a:pt x="944" y="176"/>
                    </a:cubicBezTo>
                    <a:cubicBezTo>
                      <a:pt x="944" y="179"/>
                      <a:pt x="943" y="187"/>
                      <a:pt x="943" y="187"/>
                    </a:cubicBezTo>
                    <a:cubicBezTo>
                      <a:pt x="939" y="183"/>
                      <a:pt x="939" y="183"/>
                      <a:pt x="939" y="183"/>
                    </a:cubicBezTo>
                    <a:cubicBezTo>
                      <a:pt x="939" y="183"/>
                      <a:pt x="935" y="184"/>
                      <a:pt x="933" y="184"/>
                    </a:cubicBezTo>
                    <a:cubicBezTo>
                      <a:pt x="931" y="185"/>
                      <a:pt x="932" y="188"/>
                      <a:pt x="931" y="188"/>
                    </a:cubicBezTo>
                    <a:cubicBezTo>
                      <a:pt x="930" y="188"/>
                      <a:pt x="927" y="187"/>
                      <a:pt x="924" y="188"/>
                    </a:cubicBezTo>
                    <a:cubicBezTo>
                      <a:pt x="921" y="190"/>
                      <a:pt x="914" y="186"/>
                      <a:pt x="914" y="186"/>
                    </a:cubicBezTo>
                    <a:cubicBezTo>
                      <a:pt x="915" y="184"/>
                      <a:pt x="915" y="184"/>
                      <a:pt x="915" y="184"/>
                    </a:cubicBezTo>
                    <a:cubicBezTo>
                      <a:pt x="915" y="184"/>
                      <a:pt x="912" y="181"/>
                      <a:pt x="909" y="181"/>
                    </a:cubicBezTo>
                    <a:cubicBezTo>
                      <a:pt x="906" y="181"/>
                      <a:pt x="906" y="184"/>
                      <a:pt x="905" y="184"/>
                    </a:cubicBezTo>
                    <a:cubicBezTo>
                      <a:pt x="904" y="183"/>
                      <a:pt x="897" y="181"/>
                      <a:pt x="897" y="181"/>
                    </a:cubicBezTo>
                    <a:cubicBezTo>
                      <a:pt x="897" y="181"/>
                      <a:pt x="895" y="175"/>
                      <a:pt x="896" y="173"/>
                    </a:cubicBezTo>
                    <a:cubicBezTo>
                      <a:pt x="897" y="170"/>
                      <a:pt x="899" y="172"/>
                      <a:pt x="899" y="172"/>
                    </a:cubicBezTo>
                    <a:cubicBezTo>
                      <a:pt x="899" y="172"/>
                      <a:pt x="901" y="171"/>
                      <a:pt x="900" y="169"/>
                    </a:cubicBezTo>
                    <a:cubicBezTo>
                      <a:pt x="899" y="166"/>
                      <a:pt x="890" y="167"/>
                      <a:pt x="888" y="167"/>
                    </a:cubicBezTo>
                    <a:cubicBezTo>
                      <a:pt x="886" y="167"/>
                      <a:pt x="886" y="167"/>
                      <a:pt x="881" y="164"/>
                    </a:cubicBezTo>
                    <a:cubicBezTo>
                      <a:pt x="875" y="161"/>
                      <a:pt x="874" y="164"/>
                      <a:pt x="871" y="163"/>
                    </a:cubicBezTo>
                    <a:cubicBezTo>
                      <a:pt x="869" y="163"/>
                      <a:pt x="864" y="163"/>
                      <a:pt x="861" y="165"/>
                    </a:cubicBezTo>
                    <a:cubicBezTo>
                      <a:pt x="858" y="167"/>
                      <a:pt x="857" y="165"/>
                      <a:pt x="851" y="167"/>
                    </a:cubicBezTo>
                    <a:cubicBezTo>
                      <a:pt x="844" y="168"/>
                      <a:pt x="850" y="174"/>
                      <a:pt x="850" y="174"/>
                    </a:cubicBezTo>
                    <a:cubicBezTo>
                      <a:pt x="849" y="177"/>
                      <a:pt x="849" y="177"/>
                      <a:pt x="849" y="177"/>
                    </a:cubicBezTo>
                    <a:cubicBezTo>
                      <a:pt x="849" y="177"/>
                      <a:pt x="846" y="174"/>
                      <a:pt x="845" y="171"/>
                    </a:cubicBezTo>
                    <a:cubicBezTo>
                      <a:pt x="844" y="168"/>
                      <a:pt x="846" y="167"/>
                      <a:pt x="848" y="165"/>
                    </a:cubicBezTo>
                    <a:cubicBezTo>
                      <a:pt x="849" y="163"/>
                      <a:pt x="846" y="164"/>
                      <a:pt x="844" y="157"/>
                    </a:cubicBezTo>
                    <a:cubicBezTo>
                      <a:pt x="842" y="150"/>
                      <a:pt x="840" y="152"/>
                      <a:pt x="840" y="152"/>
                    </a:cubicBezTo>
                    <a:cubicBezTo>
                      <a:pt x="840" y="152"/>
                      <a:pt x="841" y="155"/>
                      <a:pt x="841" y="158"/>
                    </a:cubicBezTo>
                    <a:cubicBezTo>
                      <a:pt x="841" y="161"/>
                      <a:pt x="838" y="162"/>
                      <a:pt x="830" y="160"/>
                    </a:cubicBezTo>
                    <a:cubicBezTo>
                      <a:pt x="822" y="158"/>
                      <a:pt x="826" y="151"/>
                      <a:pt x="828" y="151"/>
                    </a:cubicBezTo>
                    <a:cubicBezTo>
                      <a:pt x="830" y="151"/>
                      <a:pt x="829" y="150"/>
                      <a:pt x="829" y="150"/>
                    </a:cubicBezTo>
                    <a:cubicBezTo>
                      <a:pt x="829" y="150"/>
                      <a:pt x="826" y="149"/>
                      <a:pt x="824" y="149"/>
                    </a:cubicBezTo>
                    <a:cubicBezTo>
                      <a:pt x="822" y="149"/>
                      <a:pt x="823" y="154"/>
                      <a:pt x="823" y="154"/>
                    </a:cubicBezTo>
                    <a:cubicBezTo>
                      <a:pt x="823" y="154"/>
                      <a:pt x="820" y="153"/>
                      <a:pt x="818" y="152"/>
                    </a:cubicBezTo>
                    <a:cubicBezTo>
                      <a:pt x="816" y="150"/>
                      <a:pt x="813" y="151"/>
                      <a:pt x="812" y="153"/>
                    </a:cubicBezTo>
                    <a:cubicBezTo>
                      <a:pt x="811" y="154"/>
                      <a:pt x="810" y="156"/>
                      <a:pt x="809" y="157"/>
                    </a:cubicBezTo>
                    <a:cubicBezTo>
                      <a:pt x="807" y="159"/>
                      <a:pt x="810" y="163"/>
                      <a:pt x="810" y="163"/>
                    </a:cubicBezTo>
                    <a:cubicBezTo>
                      <a:pt x="810" y="163"/>
                      <a:pt x="813" y="163"/>
                      <a:pt x="815" y="162"/>
                    </a:cubicBezTo>
                    <a:cubicBezTo>
                      <a:pt x="816" y="162"/>
                      <a:pt x="818" y="160"/>
                      <a:pt x="820" y="161"/>
                    </a:cubicBezTo>
                    <a:cubicBezTo>
                      <a:pt x="822" y="162"/>
                      <a:pt x="818" y="165"/>
                      <a:pt x="817" y="165"/>
                    </a:cubicBezTo>
                    <a:cubicBezTo>
                      <a:pt x="816" y="165"/>
                      <a:pt x="812" y="170"/>
                      <a:pt x="810" y="171"/>
                    </a:cubicBezTo>
                    <a:cubicBezTo>
                      <a:pt x="808" y="171"/>
                      <a:pt x="805" y="168"/>
                      <a:pt x="805" y="168"/>
                    </a:cubicBezTo>
                    <a:cubicBezTo>
                      <a:pt x="805" y="168"/>
                      <a:pt x="805" y="173"/>
                      <a:pt x="803" y="173"/>
                    </a:cubicBezTo>
                    <a:cubicBezTo>
                      <a:pt x="801" y="174"/>
                      <a:pt x="797" y="176"/>
                      <a:pt x="794" y="178"/>
                    </a:cubicBezTo>
                    <a:cubicBezTo>
                      <a:pt x="790" y="180"/>
                      <a:pt x="789" y="182"/>
                      <a:pt x="786" y="181"/>
                    </a:cubicBezTo>
                    <a:cubicBezTo>
                      <a:pt x="783" y="181"/>
                      <a:pt x="780" y="183"/>
                      <a:pt x="778" y="180"/>
                    </a:cubicBezTo>
                    <a:cubicBezTo>
                      <a:pt x="776" y="177"/>
                      <a:pt x="776" y="181"/>
                      <a:pt x="776" y="184"/>
                    </a:cubicBezTo>
                    <a:cubicBezTo>
                      <a:pt x="776" y="187"/>
                      <a:pt x="774" y="190"/>
                      <a:pt x="773" y="191"/>
                    </a:cubicBezTo>
                    <a:cubicBezTo>
                      <a:pt x="771" y="193"/>
                      <a:pt x="762" y="196"/>
                      <a:pt x="762" y="196"/>
                    </a:cubicBezTo>
                    <a:cubicBezTo>
                      <a:pt x="762" y="196"/>
                      <a:pt x="765" y="194"/>
                      <a:pt x="768" y="192"/>
                    </a:cubicBezTo>
                    <a:cubicBezTo>
                      <a:pt x="771" y="190"/>
                      <a:pt x="772" y="188"/>
                      <a:pt x="772" y="186"/>
                    </a:cubicBezTo>
                    <a:cubicBezTo>
                      <a:pt x="773" y="185"/>
                      <a:pt x="774" y="180"/>
                      <a:pt x="775" y="177"/>
                    </a:cubicBezTo>
                    <a:cubicBezTo>
                      <a:pt x="776" y="175"/>
                      <a:pt x="778" y="176"/>
                      <a:pt x="781" y="175"/>
                    </a:cubicBezTo>
                    <a:cubicBezTo>
                      <a:pt x="783" y="175"/>
                      <a:pt x="781" y="174"/>
                      <a:pt x="784" y="169"/>
                    </a:cubicBezTo>
                    <a:cubicBezTo>
                      <a:pt x="787" y="164"/>
                      <a:pt x="790" y="165"/>
                      <a:pt x="794" y="164"/>
                    </a:cubicBezTo>
                    <a:cubicBezTo>
                      <a:pt x="799" y="163"/>
                      <a:pt x="798" y="158"/>
                      <a:pt x="800" y="154"/>
                    </a:cubicBezTo>
                    <a:cubicBezTo>
                      <a:pt x="802" y="150"/>
                      <a:pt x="804" y="151"/>
                      <a:pt x="808" y="150"/>
                    </a:cubicBezTo>
                    <a:cubicBezTo>
                      <a:pt x="812" y="149"/>
                      <a:pt x="810" y="145"/>
                      <a:pt x="812" y="142"/>
                    </a:cubicBezTo>
                    <a:cubicBezTo>
                      <a:pt x="813" y="139"/>
                      <a:pt x="810" y="140"/>
                      <a:pt x="812" y="139"/>
                    </a:cubicBezTo>
                    <a:cubicBezTo>
                      <a:pt x="813" y="139"/>
                      <a:pt x="815" y="136"/>
                      <a:pt x="817" y="134"/>
                    </a:cubicBezTo>
                    <a:cubicBezTo>
                      <a:pt x="819" y="132"/>
                      <a:pt x="823" y="133"/>
                      <a:pt x="824" y="130"/>
                    </a:cubicBezTo>
                    <a:cubicBezTo>
                      <a:pt x="825" y="128"/>
                      <a:pt x="831" y="128"/>
                      <a:pt x="831" y="128"/>
                    </a:cubicBezTo>
                    <a:cubicBezTo>
                      <a:pt x="831" y="128"/>
                      <a:pt x="832" y="124"/>
                      <a:pt x="833" y="122"/>
                    </a:cubicBezTo>
                    <a:cubicBezTo>
                      <a:pt x="834" y="121"/>
                      <a:pt x="835" y="121"/>
                      <a:pt x="839" y="119"/>
                    </a:cubicBezTo>
                    <a:cubicBezTo>
                      <a:pt x="842" y="117"/>
                      <a:pt x="844" y="110"/>
                      <a:pt x="846" y="108"/>
                    </a:cubicBezTo>
                    <a:cubicBezTo>
                      <a:pt x="848" y="106"/>
                      <a:pt x="850" y="97"/>
                      <a:pt x="850" y="96"/>
                    </a:cubicBezTo>
                    <a:cubicBezTo>
                      <a:pt x="851" y="95"/>
                      <a:pt x="847" y="94"/>
                      <a:pt x="847" y="94"/>
                    </a:cubicBezTo>
                    <a:cubicBezTo>
                      <a:pt x="845" y="90"/>
                      <a:pt x="845" y="90"/>
                      <a:pt x="845" y="90"/>
                    </a:cubicBezTo>
                    <a:cubicBezTo>
                      <a:pt x="845" y="90"/>
                      <a:pt x="842" y="92"/>
                      <a:pt x="841" y="93"/>
                    </a:cubicBezTo>
                    <a:cubicBezTo>
                      <a:pt x="840" y="93"/>
                      <a:pt x="840" y="89"/>
                      <a:pt x="840" y="87"/>
                    </a:cubicBezTo>
                    <a:cubicBezTo>
                      <a:pt x="841" y="86"/>
                      <a:pt x="840" y="84"/>
                      <a:pt x="839" y="84"/>
                    </a:cubicBezTo>
                    <a:cubicBezTo>
                      <a:pt x="840" y="85"/>
                      <a:pt x="842" y="86"/>
                      <a:pt x="843" y="88"/>
                    </a:cubicBezTo>
                    <a:cubicBezTo>
                      <a:pt x="843" y="90"/>
                      <a:pt x="846" y="88"/>
                      <a:pt x="847" y="89"/>
                    </a:cubicBezTo>
                    <a:cubicBezTo>
                      <a:pt x="848" y="90"/>
                      <a:pt x="847" y="95"/>
                      <a:pt x="849" y="92"/>
                    </a:cubicBezTo>
                    <a:cubicBezTo>
                      <a:pt x="851" y="90"/>
                      <a:pt x="851" y="82"/>
                      <a:pt x="851" y="79"/>
                    </a:cubicBezTo>
                    <a:cubicBezTo>
                      <a:pt x="851" y="76"/>
                      <a:pt x="848" y="78"/>
                      <a:pt x="848" y="77"/>
                    </a:cubicBezTo>
                    <a:cubicBezTo>
                      <a:pt x="847" y="76"/>
                      <a:pt x="847" y="71"/>
                      <a:pt x="847" y="68"/>
                    </a:cubicBezTo>
                    <a:cubicBezTo>
                      <a:pt x="847" y="65"/>
                      <a:pt x="846" y="66"/>
                      <a:pt x="843" y="64"/>
                    </a:cubicBezTo>
                    <a:cubicBezTo>
                      <a:pt x="840" y="62"/>
                      <a:pt x="843" y="68"/>
                      <a:pt x="844" y="69"/>
                    </a:cubicBezTo>
                    <a:cubicBezTo>
                      <a:pt x="845" y="70"/>
                      <a:pt x="842" y="73"/>
                      <a:pt x="841" y="71"/>
                    </a:cubicBezTo>
                    <a:cubicBezTo>
                      <a:pt x="840" y="70"/>
                      <a:pt x="837" y="68"/>
                      <a:pt x="839" y="67"/>
                    </a:cubicBezTo>
                    <a:cubicBezTo>
                      <a:pt x="841" y="65"/>
                      <a:pt x="839" y="63"/>
                      <a:pt x="839" y="61"/>
                    </a:cubicBezTo>
                    <a:cubicBezTo>
                      <a:pt x="839" y="60"/>
                      <a:pt x="836" y="57"/>
                      <a:pt x="836" y="57"/>
                    </a:cubicBezTo>
                    <a:cubicBezTo>
                      <a:pt x="836" y="57"/>
                      <a:pt x="839" y="60"/>
                      <a:pt x="839" y="58"/>
                    </a:cubicBezTo>
                    <a:cubicBezTo>
                      <a:pt x="840" y="56"/>
                      <a:pt x="838" y="52"/>
                      <a:pt x="837" y="51"/>
                    </a:cubicBezTo>
                    <a:cubicBezTo>
                      <a:pt x="836" y="49"/>
                      <a:pt x="834" y="51"/>
                      <a:pt x="833" y="51"/>
                    </a:cubicBezTo>
                    <a:cubicBezTo>
                      <a:pt x="831" y="51"/>
                      <a:pt x="834" y="54"/>
                      <a:pt x="834" y="56"/>
                    </a:cubicBezTo>
                    <a:cubicBezTo>
                      <a:pt x="833" y="57"/>
                      <a:pt x="830" y="53"/>
                      <a:pt x="829" y="51"/>
                    </a:cubicBezTo>
                    <a:cubicBezTo>
                      <a:pt x="828" y="49"/>
                      <a:pt x="829" y="47"/>
                      <a:pt x="828" y="47"/>
                    </a:cubicBezTo>
                    <a:cubicBezTo>
                      <a:pt x="826" y="46"/>
                      <a:pt x="824" y="47"/>
                      <a:pt x="822" y="45"/>
                    </a:cubicBezTo>
                    <a:cubicBezTo>
                      <a:pt x="820" y="42"/>
                      <a:pt x="819" y="44"/>
                      <a:pt x="816" y="45"/>
                    </a:cubicBezTo>
                    <a:cubicBezTo>
                      <a:pt x="814" y="47"/>
                      <a:pt x="812" y="48"/>
                      <a:pt x="809" y="45"/>
                    </a:cubicBezTo>
                    <a:cubicBezTo>
                      <a:pt x="807" y="41"/>
                      <a:pt x="806" y="45"/>
                      <a:pt x="802" y="45"/>
                    </a:cubicBezTo>
                    <a:cubicBezTo>
                      <a:pt x="799" y="45"/>
                      <a:pt x="796" y="46"/>
                      <a:pt x="793" y="44"/>
                    </a:cubicBezTo>
                    <a:cubicBezTo>
                      <a:pt x="790" y="42"/>
                      <a:pt x="792" y="48"/>
                      <a:pt x="792" y="49"/>
                    </a:cubicBezTo>
                    <a:cubicBezTo>
                      <a:pt x="793" y="51"/>
                      <a:pt x="792" y="54"/>
                      <a:pt x="789" y="54"/>
                    </a:cubicBezTo>
                    <a:cubicBezTo>
                      <a:pt x="787" y="53"/>
                      <a:pt x="783" y="55"/>
                      <a:pt x="779" y="55"/>
                    </a:cubicBezTo>
                    <a:cubicBezTo>
                      <a:pt x="775" y="55"/>
                      <a:pt x="778" y="53"/>
                      <a:pt x="778" y="53"/>
                    </a:cubicBezTo>
                    <a:cubicBezTo>
                      <a:pt x="778" y="53"/>
                      <a:pt x="780" y="52"/>
                      <a:pt x="780" y="51"/>
                    </a:cubicBezTo>
                    <a:cubicBezTo>
                      <a:pt x="781" y="49"/>
                      <a:pt x="782" y="46"/>
                      <a:pt x="785" y="43"/>
                    </a:cubicBezTo>
                    <a:cubicBezTo>
                      <a:pt x="789" y="39"/>
                      <a:pt x="787" y="37"/>
                      <a:pt x="787" y="34"/>
                    </a:cubicBezTo>
                    <a:cubicBezTo>
                      <a:pt x="787" y="31"/>
                      <a:pt x="783" y="32"/>
                      <a:pt x="780" y="32"/>
                    </a:cubicBezTo>
                    <a:cubicBezTo>
                      <a:pt x="778" y="32"/>
                      <a:pt x="776" y="32"/>
                      <a:pt x="775" y="32"/>
                    </a:cubicBezTo>
                    <a:cubicBezTo>
                      <a:pt x="774" y="32"/>
                      <a:pt x="773" y="34"/>
                      <a:pt x="769" y="34"/>
                    </a:cubicBezTo>
                    <a:cubicBezTo>
                      <a:pt x="765" y="34"/>
                      <a:pt x="770" y="33"/>
                      <a:pt x="771" y="32"/>
                    </a:cubicBezTo>
                    <a:cubicBezTo>
                      <a:pt x="773" y="31"/>
                      <a:pt x="773" y="28"/>
                      <a:pt x="772" y="29"/>
                    </a:cubicBezTo>
                    <a:cubicBezTo>
                      <a:pt x="771" y="30"/>
                      <a:pt x="765" y="30"/>
                      <a:pt x="763" y="30"/>
                    </a:cubicBezTo>
                    <a:cubicBezTo>
                      <a:pt x="761" y="29"/>
                      <a:pt x="756" y="29"/>
                      <a:pt x="756" y="29"/>
                    </a:cubicBezTo>
                    <a:cubicBezTo>
                      <a:pt x="756" y="29"/>
                      <a:pt x="765" y="27"/>
                      <a:pt x="767" y="25"/>
                    </a:cubicBezTo>
                    <a:cubicBezTo>
                      <a:pt x="769" y="23"/>
                      <a:pt x="772" y="19"/>
                      <a:pt x="774" y="19"/>
                    </a:cubicBezTo>
                    <a:cubicBezTo>
                      <a:pt x="776" y="19"/>
                      <a:pt x="776" y="18"/>
                      <a:pt x="775" y="17"/>
                    </a:cubicBezTo>
                    <a:cubicBezTo>
                      <a:pt x="774" y="15"/>
                      <a:pt x="773" y="12"/>
                      <a:pt x="773" y="10"/>
                    </a:cubicBezTo>
                    <a:cubicBezTo>
                      <a:pt x="773" y="7"/>
                      <a:pt x="771" y="9"/>
                      <a:pt x="767" y="8"/>
                    </a:cubicBezTo>
                    <a:cubicBezTo>
                      <a:pt x="763" y="7"/>
                      <a:pt x="762" y="6"/>
                      <a:pt x="761" y="4"/>
                    </a:cubicBezTo>
                    <a:cubicBezTo>
                      <a:pt x="761" y="1"/>
                      <a:pt x="758" y="5"/>
                      <a:pt x="757" y="3"/>
                    </a:cubicBezTo>
                    <a:cubicBezTo>
                      <a:pt x="757" y="1"/>
                      <a:pt x="756" y="0"/>
                      <a:pt x="754" y="1"/>
                    </a:cubicBezTo>
                    <a:cubicBezTo>
                      <a:pt x="753" y="2"/>
                      <a:pt x="750" y="6"/>
                      <a:pt x="747" y="6"/>
                    </a:cubicBezTo>
                    <a:cubicBezTo>
                      <a:pt x="744" y="5"/>
                      <a:pt x="743" y="9"/>
                      <a:pt x="742" y="10"/>
                    </a:cubicBezTo>
                    <a:cubicBezTo>
                      <a:pt x="741" y="11"/>
                      <a:pt x="738" y="15"/>
                      <a:pt x="737" y="17"/>
                    </a:cubicBezTo>
                    <a:cubicBezTo>
                      <a:pt x="736" y="19"/>
                      <a:pt x="731" y="26"/>
                      <a:pt x="729" y="28"/>
                    </a:cubicBezTo>
                    <a:cubicBezTo>
                      <a:pt x="728" y="29"/>
                      <a:pt x="725" y="34"/>
                      <a:pt x="724" y="35"/>
                    </a:cubicBezTo>
                    <a:cubicBezTo>
                      <a:pt x="723" y="35"/>
                      <a:pt x="722" y="41"/>
                      <a:pt x="724" y="42"/>
                    </a:cubicBezTo>
                    <a:cubicBezTo>
                      <a:pt x="726" y="44"/>
                      <a:pt x="727" y="47"/>
                      <a:pt x="727" y="47"/>
                    </a:cubicBezTo>
                    <a:cubicBezTo>
                      <a:pt x="727" y="47"/>
                      <a:pt x="726" y="49"/>
                      <a:pt x="725" y="52"/>
                    </a:cubicBezTo>
                    <a:cubicBezTo>
                      <a:pt x="723" y="56"/>
                      <a:pt x="731" y="56"/>
                      <a:pt x="732" y="56"/>
                    </a:cubicBezTo>
                    <a:cubicBezTo>
                      <a:pt x="733" y="57"/>
                      <a:pt x="738" y="62"/>
                      <a:pt x="737" y="62"/>
                    </a:cubicBezTo>
                    <a:cubicBezTo>
                      <a:pt x="736" y="61"/>
                      <a:pt x="729" y="58"/>
                      <a:pt x="729" y="58"/>
                    </a:cubicBezTo>
                    <a:cubicBezTo>
                      <a:pt x="723" y="55"/>
                      <a:pt x="723" y="55"/>
                      <a:pt x="723" y="55"/>
                    </a:cubicBezTo>
                    <a:cubicBezTo>
                      <a:pt x="723" y="55"/>
                      <a:pt x="719" y="57"/>
                      <a:pt x="717" y="57"/>
                    </a:cubicBezTo>
                    <a:cubicBezTo>
                      <a:pt x="715" y="57"/>
                      <a:pt x="710" y="57"/>
                      <a:pt x="707" y="56"/>
                    </a:cubicBezTo>
                    <a:cubicBezTo>
                      <a:pt x="704" y="55"/>
                      <a:pt x="703" y="55"/>
                      <a:pt x="703" y="56"/>
                    </a:cubicBezTo>
                    <a:cubicBezTo>
                      <a:pt x="703" y="57"/>
                      <a:pt x="705" y="63"/>
                      <a:pt x="707" y="63"/>
                    </a:cubicBezTo>
                    <a:cubicBezTo>
                      <a:pt x="709" y="63"/>
                      <a:pt x="713" y="71"/>
                      <a:pt x="712" y="72"/>
                    </a:cubicBezTo>
                    <a:cubicBezTo>
                      <a:pt x="711" y="72"/>
                      <a:pt x="709" y="69"/>
                      <a:pt x="709" y="67"/>
                    </a:cubicBezTo>
                    <a:cubicBezTo>
                      <a:pt x="708" y="66"/>
                      <a:pt x="704" y="66"/>
                      <a:pt x="703" y="65"/>
                    </a:cubicBezTo>
                    <a:cubicBezTo>
                      <a:pt x="702" y="65"/>
                      <a:pt x="700" y="68"/>
                      <a:pt x="698" y="68"/>
                    </a:cubicBezTo>
                    <a:cubicBezTo>
                      <a:pt x="695" y="69"/>
                      <a:pt x="698" y="71"/>
                      <a:pt x="698" y="71"/>
                    </a:cubicBezTo>
                    <a:cubicBezTo>
                      <a:pt x="692" y="71"/>
                      <a:pt x="692" y="71"/>
                      <a:pt x="692" y="71"/>
                    </a:cubicBezTo>
                    <a:cubicBezTo>
                      <a:pt x="692" y="71"/>
                      <a:pt x="694" y="76"/>
                      <a:pt x="693" y="76"/>
                    </a:cubicBezTo>
                    <a:cubicBezTo>
                      <a:pt x="692" y="76"/>
                      <a:pt x="688" y="77"/>
                      <a:pt x="688" y="76"/>
                    </a:cubicBezTo>
                    <a:cubicBezTo>
                      <a:pt x="688" y="75"/>
                      <a:pt x="687" y="73"/>
                      <a:pt x="687" y="72"/>
                    </a:cubicBezTo>
                    <a:cubicBezTo>
                      <a:pt x="687" y="71"/>
                      <a:pt x="686" y="73"/>
                      <a:pt x="683" y="74"/>
                    </a:cubicBezTo>
                    <a:cubicBezTo>
                      <a:pt x="681" y="75"/>
                      <a:pt x="684" y="78"/>
                      <a:pt x="681" y="80"/>
                    </a:cubicBezTo>
                    <a:cubicBezTo>
                      <a:pt x="678" y="81"/>
                      <a:pt x="682" y="76"/>
                      <a:pt x="680" y="76"/>
                    </a:cubicBezTo>
                    <a:cubicBezTo>
                      <a:pt x="678" y="76"/>
                      <a:pt x="675" y="80"/>
                      <a:pt x="673" y="81"/>
                    </a:cubicBezTo>
                    <a:cubicBezTo>
                      <a:pt x="671" y="83"/>
                      <a:pt x="672" y="82"/>
                      <a:pt x="675" y="79"/>
                    </a:cubicBezTo>
                    <a:cubicBezTo>
                      <a:pt x="677" y="76"/>
                      <a:pt x="676" y="73"/>
                      <a:pt x="675" y="72"/>
                    </a:cubicBezTo>
                    <a:cubicBezTo>
                      <a:pt x="674" y="71"/>
                      <a:pt x="675" y="70"/>
                      <a:pt x="679" y="70"/>
                    </a:cubicBezTo>
                    <a:cubicBezTo>
                      <a:pt x="683" y="70"/>
                      <a:pt x="680" y="69"/>
                      <a:pt x="679" y="68"/>
                    </a:cubicBezTo>
                    <a:cubicBezTo>
                      <a:pt x="678" y="66"/>
                      <a:pt x="682" y="67"/>
                      <a:pt x="683" y="66"/>
                    </a:cubicBezTo>
                    <a:cubicBezTo>
                      <a:pt x="685" y="65"/>
                      <a:pt x="683" y="62"/>
                      <a:pt x="682" y="61"/>
                    </a:cubicBezTo>
                    <a:cubicBezTo>
                      <a:pt x="680" y="61"/>
                      <a:pt x="678" y="64"/>
                      <a:pt x="677" y="64"/>
                    </a:cubicBezTo>
                    <a:cubicBezTo>
                      <a:pt x="676" y="64"/>
                      <a:pt x="674" y="65"/>
                      <a:pt x="671" y="64"/>
                    </a:cubicBezTo>
                    <a:cubicBezTo>
                      <a:pt x="669" y="63"/>
                      <a:pt x="667" y="66"/>
                      <a:pt x="669" y="67"/>
                    </a:cubicBezTo>
                    <a:cubicBezTo>
                      <a:pt x="670" y="68"/>
                      <a:pt x="673" y="69"/>
                      <a:pt x="671" y="69"/>
                    </a:cubicBezTo>
                    <a:cubicBezTo>
                      <a:pt x="668" y="69"/>
                      <a:pt x="667" y="70"/>
                      <a:pt x="666" y="69"/>
                    </a:cubicBezTo>
                    <a:cubicBezTo>
                      <a:pt x="666" y="68"/>
                      <a:pt x="663" y="70"/>
                      <a:pt x="663" y="70"/>
                    </a:cubicBezTo>
                    <a:cubicBezTo>
                      <a:pt x="663" y="70"/>
                      <a:pt x="662" y="70"/>
                      <a:pt x="660" y="70"/>
                    </a:cubicBezTo>
                    <a:cubicBezTo>
                      <a:pt x="658" y="69"/>
                      <a:pt x="654" y="72"/>
                      <a:pt x="654" y="72"/>
                    </a:cubicBezTo>
                    <a:cubicBezTo>
                      <a:pt x="650" y="73"/>
                      <a:pt x="650" y="73"/>
                      <a:pt x="650" y="73"/>
                    </a:cubicBezTo>
                    <a:cubicBezTo>
                      <a:pt x="650" y="73"/>
                      <a:pt x="647" y="73"/>
                      <a:pt x="645" y="73"/>
                    </a:cubicBezTo>
                    <a:cubicBezTo>
                      <a:pt x="643" y="73"/>
                      <a:pt x="644" y="78"/>
                      <a:pt x="645" y="79"/>
                    </a:cubicBezTo>
                    <a:cubicBezTo>
                      <a:pt x="646" y="81"/>
                      <a:pt x="648" y="78"/>
                      <a:pt x="649" y="78"/>
                    </a:cubicBezTo>
                    <a:cubicBezTo>
                      <a:pt x="650" y="78"/>
                      <a:pt x="655" y="80"/>
                      <a:pt x="654" y="80"/>
                    </a:cubicBezTo>
                    <a:cubicBezTo>
                      <a:pt x="653" y="80"/>
                      <a:pt x="644" y="84"/>
                      <a:pt x="642" y="84"/>
                    </a:cubicBezTo>
                    <a:cubicBezTo>
                      <a:pt x="641" y="85"/>
                      <a:pt x="633" y="88"/>
                      <a:pt x="631" y="89"/>
                    </a:cubicBezTo>
                    <a:cubicBezTo>
                      <a:pt x="629" y="89"/>
                      <a:pt x="624" y="91"/>
                      <a:pt x="618" y="91"/>
                    </a:cubicBezTo>
                    <a:cubicBezTo>
                      <a:pt x="612" y="91"/>
                      <a:pt x="621" y="92"/>
                      <a:pt x="616" y="96"/>
                    </a:cubicBezTo>
                    <a:cubicBezTo>
                      <a:pt x="611" y="100"/>
                      <a:pt x="611" y="96"/>
                      <a:pt x="610" y="95"/>
                    </a:cubicBezTo>
                    <a:cubicBezTo>
                      <a:pt x="608" y="94"/>
                      <a:pt x="605" y="101"/>
                      <a:pt x="602" y="103"/>
                    </a:cubicBezTo>
                    <a:cubicBezTo>
                      <a:pt x="598" y="105"/>
                      <a:pt x="596" y="110"/>
                      <a:pt x="596" y="110"/>
                    </a:cubicBezTo>
                    <a:cubicBezTo>
                      <a:pt x="596" y="110"/>
                      <a:pt x="589" y="106"/>
                      <a:pt x="586" y="109"/>
                    </a:cubicBezTo>
                    <a:cubicBezTo>
                      <a:pt x="584" y="111"/>
                      <a:pt x="593" y="113"/>
                      <a:pt x="594" y="113"/>
                    </a:cubicBezTo>
                    <a:cubicBezTo>
                      <a:pt x="593" y="113"/>
                      <a:pt x="590" y="117"/>
                      <a:pt x="590" y="117"/>
                    </a:cubicBezTo>
                    <a:cubicBezTo>
                      <a:pt x="588" y="124"/>
                      <a:pt x="588" y="124"/>
                      <a:pt x="588" y="124"/>
                    </a:cubicBezTo>
                    <a:cubicBezTo>
                      <a:pt x="588" y="124"/>
                      <a:pt x="586" y="122"/>
                      <a:pt x="586" y="121"/>
                    </a:cubicBezTo>
                    <a:cubicBezTo>
                      <a:pt x="586" y="120"/>
                      <a:pt x="588" y="116"/>
                      <a:pt x="588" y="116"/>
                    </a:cubicBezTo>
                    <a:cubicBezTo>
                      <a:pt x="588" y="116"/>
                      <a:pt x="587" y="116"/>
                      <a:pt x="585" y="112"/>
                    </a:cubicBezTo>
                    <a:cubicBezTo>
                      <a:pt x="584" y="109"/>
                      <a:pt x="582" y="115"/>
                      <a:pt x="581" y="117"/>
                    </a:cubicBezTo>
                    <a:cubicBezTo>
                      <a:pt x="579" y="118"/>
                      <a:pt x="583" y="122"/>
                      <a:pt x="583" y="122"/>
                    </a:cubicBezTo>
                    <a:cubicBezTo>
                      <a:pt x="583" y="122"/>
                      <a:pt x="586" y="125"/>
                      <a:pt x="585" y="126"/>
                    </a:cubicBezTo>
                    <a:cubicBezTo>
                      <a:pt x="583" y="127"/>
                      <a:pt x="582" y="125"/>
                      <a:pt x="581" y="124"/>
                    </a:cubicBezTo>
                    <a:cubicBezTo>
                      <a:pt x="580" y="122"/>
                      <a:pt x="579" y="122"/>
                      <a:pt x="578" y="123"/>
                    </a:cubicBezTo>
                    <a:cubicBezTo>
                      <a:pt x="576" y="125"/>
                      <a:pt x="574" y="127"/>
                      <a:pt x="574" y="127"/>
                    </a:cubicBezTo>
                    <a:cubicBezTo>
                      <a:pt x="574" y="127"/>
                      <a:pt x="577" y="128"/>
                      <a:pt x="579" y="128"/>
                    </a:cubicBezTo>
                    <a:cubicBezTo>
                      <a:pt x="582" y="128"/>
                      <a:pt x="584" y="129"/>
                      <a:pt x="584" y="131"/>
                    </a:cubicBezTo>
                    <a:cubicBezTo>
                      <a:pt x="583" y="133"/>
                      <a:pt x="582" y="135"/>
                      <a:pt x="582" y="133"/>
                    </a:cubicBezTo>
                    <a:cubicBezTo>
                      <a:pt x="581" y="131"/>
                      <a:pt x="580" y="135"/>
                      <a:pt x="577" y="135"/>
                    </a:cubicBezTo>
                    <a:cubicBezTo>
                      <a:pt x="573" y="135"/>
                      <a:pt x="577" y="139"/>
                      <a:pt x="578" y="139"/>
                    </a:cubicBezTo>
                    <a:cubicBezTo>
                      <a:pt x="580" y="140"/>
                      <a:pt x="584" y="142"/>
                      <a:pt x="584" y="144"/>
                    </a:cubicBezTo>
                    <a:cubicBezTo>
                      <a:pt x="584" y="146"/>
                      <a:pt x="584" y="148"/>
                      <a:pt x="583" y="150"/>
                    </a:cubicBezTo>
                    <a:cubicBezTo>
                      <a:pt x="582" y="152"/>
                      <a:pt x="587" y="153"/>
                      <a:pt x="587" y="152"/>
                    </a:cubicBezTo>
                    <a:cubicBezTo>
                      <a:pt x="587" y="151"/>
                      <a:pt x="589" y="156"/>
                      <a:pt x="588" y="155"/>
                    </a:cubicBezTo>
                    <a:cubicBezTo>
                      <a:pt x="587" y="155"/>
                      <a:pt x="583" y="155"/>
                      <a:pt x="581" y="155"/>
                    </a:cubicBezTo>
                    <a:cubicBezTo>
                      <a:pt x="580" y="154"/>
                      <a:pt x="573" y="157"/>
                      <a:pt x="572" y="159"/>
                    </a:cubicBezTo>
                    <a:cubicBezTo>
                      <a:pt x="571" y="161"/>
                      <a:pt x="569" y="161"/>
                      <a:pt x="566" y="159"/>
                    </a:cubicBezTo>
                    <a:cubicBezTo>
                      <a:pt x="563" y="157"/>
                      <a:pt x="561" y="160"/>
                      <a:pt x="554" y="162"/>
                    </a:cubicBezTo>
                    <a:cubicBezTo>
                      <a:pt x="547" y="164"/>
                      <a:pt x="536" y="164"/>
                      <a:pt x="532" y="165"/>
                    </a:cubicBezTo>
                    <a:cubicBezTo>
                      <a:pt x="528" y="165"/>
                      <a:pt x="524" y="166"/>
                      <a:pt x="524" y="167"/>
                    </a:cubicBezTo>
                    <a:cubicBezTo>
                      <a:pt x="524" y="168"/>
                      <a:pt x="524" y="171"/>
                      <a:pt x="522" y="172"/>
                    </a:cubicBezTo>
                    <a:cubicBezTo>
                      <a:pt x="521" y="172"/>
                      <a:pt x="523" y="176"/>
                      <a:pt x="523" y="176"/>
                    </a:cubicBezTo>
                    <a:cubicBezTo>
                      <a:pt x="523" y="176"/>
                      <a:pt x="521" y="178"/>
                      <a:pt x="523" y="181"/>
                    </a:cubicBezTo>
                    <a:cubicBezTo>
                      <a:pt x="526" y="184"/>
                      <a:pt x="526" y="186"/>
                      <a:pt x="525" y="189"/>
                    </a:cubicBezTo>
                    <a:cubicBezTo>
                      <a:pt x="525" y="192"/>
                      <a:pt x="525" y="197"/>
                      <a:pt x="525" y="200"/>
                    </a:cubicBezTo>
                    <a:cubicBezTo>
                      <a:pt x="524" y="204"/>
                      <a:pt x="532" y="207"/>
                      <a:pt x="536" y="208"/>
                    </a:cubicBezTo>
                    <a:cubicBezTo>
                      <a:pt x="539" y="208"/>
                      <a:pt x="540" y="213"/>
                      <a:pt x="540" y="215"/>
                    </a:cubicBezTo>
                    <a:cubicBezTo>
                      <a:pt x="540" y="217"/>
                      <a:pt x="543" y="220"/>
                      <a:pt x="547" y="221"/>
                    </a:cubicBezTo>
                    <a:cubicBezTo>
                      <a:pt x="550" y="222"/>
                      <a:pt x="552" y="224"/>
                      <a:pt x="551" y="226"/>
                    </a:cubicBezTo>
                    <a:cubicBezTo>
                      <a:pt x="551" y="227"/>
                      <a:pt x="555" y="230"/>
                      <a:pt x="552" y="232"/>
                    </a:cubicBezTo>
                    <a:cubicBezTo>
                      <a:pt x="550" y="233"/>
                      <a:pt x="551" y="238"/>
                      <a:pt x="549" y="240"/>
                    </a:cubicBezTo>
                    <a:cubicBezTo>
                      <a:pt x="547" y="242"/>
                      <a:pt x="551" y="248"/>
                      <a:pt x="552" y="251"/>
                    </a:cubicBezTo>
                    <a:cubicBezTo>
                      <a:pt x="552" y="253"/>
                      <a:pt x="555" y="259"/>
                      <a:pt x="554" y="264"/>
                    </a:cubicBezTo>
                    <a:cubicBezTo>
                      <a:pt x="554" y="269"/>
                      <a:pt x="551" y="270"/>
                      <a:pt x="549" y="269"/>
                    </a:cubicBezTo>
                    <a:cubicBezTo>
                      <a:pt x="547" y="268"/>
                      <a:pt x="545" y="274"/>
                      <a:pt x="544" y="272"/>
                    </a:cubicBezTo>
                    <a:cubicBezTo>
                      <a:pt x="544" y="271"/>
                      <a:pt x="546" y="268"/>
                      <a:pt x="548" y="267"/>
                    </a:cubicBezTo>
                    <a:cubicBezTo>
                      <a:pt x="549" y="266"/>
                      <a:pt x="550" y="263"/>
                      <a:pt x="551" y="261"/>
                    </a:cubicBezTo>
                    <a:cubicBezTo>
                      <a:pt x="552" y="259"/>
                      <a:pt x="549" y="255"/>
                      <a:pt x="549" y="253"/>
                    </a:cubicBezTo>
                    <a:cubicBezTo>
                      <a:pt x="549" y="252"/>
                      <a:pt x="548" y="249"/>
                      <a:pt x="546" y="249"/>
                    </a:cubicBezTo>
                    <a:cubicBezTo>
                      <a:pt x="545" y="249"/>
                      <a:pt x="542" y="257"/>
                      <a:pt x="542" y="257"/>
                    </a:cubicBezTo>
                    <a:cubicBezTo>
                      <a:pt x="542" y="257"/>
                      <a:pt x="542" y="252"/>
                      <a:pt x="543" y="251"/>
                    </a:cubicBezTo>
                    <a:cubicBezTo>
                      <a:pt x="543" y="250"/>
                      <a:pt x="542" y="248"/>
                      <a:pt x="540" y="249"/>
                    </a:cubicBezTo>
                    <a:cubicBezTo>
                      <a:pt x="537" y="249"/>
                      <a:pt x="541" y="245"/>
                      <a:pt x="540" y="243"/>
                    </a:cubicBezTo>
                    <a:cubicBezTo>
                      <a:pt x="540" y="241"/>
                      <a:pt x="543" y="239"/>
                      <a:pt x="545" y="238"/>
                    </a:cubicBezTo>
                    <a:cubicBezTo>
                      <a:pt x="546" y="237"/>
                      <a:pt x="547" y="237"/>
                      <a:pt x="548" y="234"/>
                    </a:cubicBezTo>
                    <a:cubicBezTo>
                      <a:pt x="548" y="231"/>
                      <a:pt x="550" y="229"/>
                      <a:pt x="550" y="227"/>
                    </a:cubicBezTo>
                    <a:cubicBezTo>
                      <a:pt x="551" y="226"/>
                      <a:pt x="547" y="226"/>
                      <a:pt x="545" y="226"/>
                    </a:cubicBezTo>
                    <a:cubicBezTo>
                      <a:pt x="544" y="226"/>
                      <a:pt x="537" y="228"/>
                      <a:pt x="534" y="227"/>
                    </a:cubicBezTo>
                    <a:cubicBezTo>
                      <a:pt x="531" y="226"/>
                      <a:pt x="526" y="218"/>
                      <a:pt x="526" y="218"/>
                    </a:cubicBezTo>
                    <a:cubicBezTo>
                      <a:pt x="526" y="218"/>
                      <a:pt x="523" y="213"/>
                      <a:pt x="521" y="211"/>
                    </a:cubicBezTo>
                    <a:cubicBezTo>
                      <a:pt x="518" y="210"/>
                      <a:pt x="514" y="208"/>
                      <a:pt x="513" y="207"/>
                    </a:cubicBezTo>
                    <a:cubicBezTo>
                      <a:pt x="512" y="206"/>
                      <a:pt x="504" y="205"/>
                      <a:pt x="500" y="206"/>
                    </a:cubicBezTo>
                    <a:cubicBezTo>
                      <a:pt x="495" y="207"/>
                      <a:pt x="495" y="210"/>
                      <a:pt x="494" y="212"/>
                    </a:cubicBezTo>
                    <a:cubicBezTo>
                      <a:pt x="493" y="214"/>
                      <a:pt x="493" y="216"/>
                      <a:pt x="493" y="216"/>
                    </a:cubicBezTo>
                    <a:cubicBezTo>
                      <a:pt x="493" y="216"/>
                      <a:pt x="495" y="214"/>
                      <a:pt x="497" y="214"/>
                    </a:cubicBezTo>
                    <a:cubicBezTo>
                      <a:pt x="499" y="214"/>
                      <a:pt x="500" y="216"/>
                      <a:pt x="499" y="221"/>
                    </a:cubicBezTo>
                    <a:cubicBezTo>
                      <a:pt x="498" y="225"/>
                      <a:pt x="496" y="223"/>
                      <a:pt x="495" y="223"/>
                    </a:cubicBezTo>
                    <a:cubicBezTo>
                      <a:pt x="494" y="224"/>
                      <a:pt x="489" y="218"/>
                      <a:pt x="487" y="216"/>
                    </a:cubicBezTo>
                    <a:cubicBezTo>
                      <a:pt x="485" y="214"/>
                      <a:pt x="483" y="217"/>
                      <a:pt x="481" y="218"/>
                    </a:cubicBezTo>
                    <a:cubicBezTo>
                      <a:pt x="479" y="219"/>
                      <a:pt x="479" y="222"/>
                      <a:pt x="479" y="222"/>
                    </a:cubicBezTo>
                    <a:cubicBezTo>
                      <a:pt x="479" y="222"/>
                      <a:pt x="480" y="229"/>
                      <a:pt x="483" y="233"/>
                    </a:cubicBezTo>
                    <a:cubicBezTo>
                      <a:pt x="485" y="236"/>
                      <a:pt x="491" y="239"/>
                      <a:pt x="491" y="239"/>
                    </a:cubicBezTo>
                    <a:cubicBezTo>
                      <a:pt x="491" y="239"/>
                      <a:pt x="497" y="241"/>
                      <a:pt x="498" y="240"/>
                    </a:cubicBezTo>
                    <a:cubicBezTo>
                      <a:pt x="499" y="239"/>
                      <a:pt x="502" y="244"/>
                      <a:pt x="502" y="245"/>
                    </a:cubicBezTo>
                    <a:cubicBezTo>
                      <a:pt x="502" y="246"/>
                      <a:pt x="503" y="251"/>
                      <a:pt x="503" y="251"/>
                    </a:cubicBezTo>
                    <a:cubicBezTo>
                      <a:pt x="503" y="251"/>
                      <a:pt x="497" y="247"/>
                      <a:pt x="497" y="246"/>
                    </a:cubicBezTo>
                    <a:cubicBezTo>
                      <a:pt x="496" y="245"/>
                      <a:pt x="492" y="244"/>
                      <a:pt x="489" y="244"/>
                    </a:cubicBezTo>
                    <a:cubicBezTo>
                      <a:pt x="485" y="243"/>
                      <a:pt x="475" y="241"/>
                      <a:pt x="473" y="239"/>
                    </a:cubicBezTo>
                    <a:cubicBezTo>
                      <a:pt x="470" y="237"/>
                      <a:pt x="471" y="236"/>
                      <a:pt x="472" y="231"/>
                    </a:cubicBezTo>
                    <a:cubicBezTo>
                      <a:pt x="474" y="227"/>
                      <a:pt x="472" y="229"/>
                      <a:pt x="472" y="225"/>
                    </a:cubicBezTo>
                    <a:cubicBezTo>
                      <a:pt x="471" y="220"/>
                      <a:pt x="473" y="215"/>
                      <a:pt x="475" y="213"/>
                    </a:cubicBezTo>
                    <a:cubicBezTo>
                      <a:pt x="477" y="211"/>
                      <a:pt x="475" y="208"/>
                      <a:pt x="475" y="204"/>
                    </a:cubicBezTo>
                    <a:cubicBezTo>
                      <a:pt x="475" y="200"/>
                      <a:pt x="474" y="196"/>
                      <a:pt x="474" y="194"/>
                    </a:cubicBezTo>
                    <a:cubicBezTo>
                      <a:pt x="473" y="193"/>
                      <a:pt x="471" y="191"/>
                      <a:pt x="468" y="190"/>
                    </a:cubicBezTo>
                    <a:cubicBezTo>
                      <a:pt x="464" y="189"/>
                      <a:pt x="467" y="185"/>
                      <a:pt x="467" y="183"/>
                    </a:cubicBezTo>
                    <a:cubicBezTo>
                      <a:pt x="468" y="182"/>
                      <a:pt x="465" y="182"/>
                      <a:pt x="464" y="181"/>
                    </a:cubicBezTo>
                    <a:cubicBezTo>
                      <a:pt x="463" y="180"/>
                      <a:pt x="460" y="184"/>
                      <a:pt x="460" y="184"/>
                    </a:cubicBezTo>
                    <a:cubicBezTo>
                      <a:pt x="460" y="184"/>
                      <a:pt x="465" y="191"/>
                      <a:pt x="467" y="192"/>
                    </a:cubicBezTo>
                    <a:cubicBezTo>
                      <a:pt x="468" y="193"/>
                      <a:pt x="470" y="198"/>
                      <a:pt x="469" y="208"/>
                    </a:cubicBezTo>
                    <a:cubicBezTo>
                      <a:pt x="468" y="217"/>
                      <a:pt x="460" y="221"/>
                      <a:pt x="457" y="221"/>
                    </a:cubicBezTo>
                    <a:cubicBezTo>
                      <a:pt x="454" y="221"/>
                      <a:pt x="455" y="223"/>
                      <a:pt x="453" y="228"/>
                    </a:cubicBezTo>
                    <a:cubicBezTo>
                      <a:pt x="451" y="234"/>
                      <a:pt x="451" y="234"/>
                      <a:pt x="449" y="236"/>
                    </a:cubicBezTo>
                    <a:cubicBezTo>
                      <a:pt x="447" y="238"/>
                      <a:pt x="451" y="238"/>
                      <a:pt x="454" y="243"/>
                    </a:cubicBezTo>
                    <a:cubicBezTo>
                      <a:pt x="457" y="248"/>
                      <a:pt x="459" y="251"/>
                      <a:pt x="460" y="255"/>
                    </a:cubicBezTo>
                    <a:cubicBezTo>
                      <a:pt x="461" y="260"/>
                      <a:pt x="462" y="264"/>
                      <a:pt x="460" y="266"/>
                    </a:cubicBezTo>
                    <a:cubicBezTo>
                      <a:pt x="460" y="266"/>
                      <a:pt x="456" y="272"/>
                      <a:pt x="456" y="274"/>
                    </a:cubicBezTo>
                    <a:cubicBezTo>
                      <a:pt x="456" y="276"/>
                      <a:pt x="456" y="283"/>
                      <a:pt x="455" y="285"/>
                    </a:cubicBezTo>
                    <a:cubicBezTo>
                      <a:pt x="453" y="287"/>
                      <a:pt x="457" y="291"/>
                      <a:pt x="458" y="293"/>
                    </a:cubicBezTo>
                    <a:cubicBezTo>
                      <a:pt x="458" y="296"/>
                      <a:pt x="457" y="301"/>
                      <a:pt x="457" y="302"/>
                    </a:cubicBezTo>
                    <a:cubicBezTo>
                      <a:pt x="457" y="304"/>
                      <a:pt x="461" y="305"/>
                      <a:pt x="462" y="303"/>
                    </a:cubicBezTo>
                    <a:cubicBezTo>
                      <a:pt x="463" y="302"/>
                      <a:pt x="465" y="303"/>
                      <a:pt x="466" y="304"/>
                    </a:cubicBezTo>
                    <a:cubicBezTo>
                      <a:pt x="468" y="305"/>
                      <a:pt x="470" y="304"/>
                      <a:pt x="471" y="302"/>
                    </a:cubicBezTo>
                    <a:cubicBezTo>
                      <a:pt x="471" y="301"/>
                      <a:pt x="478" y="299"/>
                      <a:pt x="479" y="301"/>
                    </a:cubicBezTo>
                    <a:cubicBezTo>
                      <a:pt x="480" y="302"/>
                      <a:pt x="482" y="301"/>
                      <a:pt x="490" y="307"/>
                    </a:cubicBezTo>
                    <a:cubicBezTo>
                      <a:pt x="494" y="309"/>
                      <a:pt x="495" y="310"/>
                      <a:pt x="496" y="310"/>
                    </a:cubicBezTo>
                    <a:cubicBezTo>
                      <a:pt x="496" y="311"/>
                      <a:pt x="496" y="313"/>
                      <a:pt x="496" y="318"/>
                    </a:cubicBezTo>
                    <a:cubicBezTo>
                      <a:pt x="495" y="326"/>
                      <a:pt x="501" y="326"/>
                      <a:pt x="501" y="326"/>
                    </a:cubicBezTo>
                    <a:cubicBezTo>
                      <a:pt x="501" y="326"/>
                      <a:pt x="497" y="328"/>
                      <a:pt x="496" y="327"/>
                    </a:cubicBezTo>
                    <a:cubicBezTo>
                      <a:pt x="495" y="327"/>
                      <a:pt x="494" y="332"/>
                      <a:pt x="493" y="334"/>
                    </a:cubicBezTo>
                    <a:cubicBezTo>
                      <a:pt x="492" y="337"/>
                      <a:pt x="495" y="340"/>
                      <a:pt x="497" y="341"/>
                    </a:cubicBezTo>
                    <a:cubicBezTo>
                      <a:pt x="499" y="342"/>
                      <a:pt x="506" y="343"/>
                      <a:pt x="506" y="343"/>
                    </a:cubicBezTo>
                    <a:cubicBezTo>
                      <a:pt x="506" y="343"/>
                      <a:pt x="499" y="344"/>
                      <a:pt x="498" y="344"/>
                    </a:cubicBezTo>
                    <a:cubicBezTo>
                      <a:pt x="497" y="345"/>
                      <a:pt x="492" y="341"/>
                      <a:pt x="491" y="340"/>
                    </a:cubicBezTo>
                    <a:cubicBezTo>
                      <a:pt x="490" y="339"/>
                      <a:pt x="491" y="333"/>
                      <a:pt x="491" y="331"/>
                    </a:cubicBezTo>
                    <a:cubicBezTo>
                      <a:pt x="491" y="330"/>
                      <a:pt x="490" y="323"/>
                      <a:pt x="491" y="320"/>
                    </a:cubicBezTo>
                    <a:cubicBezTo>
                      <a:pt x="492" y="317"/>
                      <a:pt x="486" y="313"/>
                      <a:pt x="485" y="313"/>
                    </a:cubicBezTo>
                    <a:cubicBezTo>
                      <a:pt x="484" y="312"/>
                      <a:pt x="485" y="309"/>
                      <a:pt x="484" y="307"/>
                    </a:cubicBezTo>
                    <a:cubicBezTo>
                      <a:pt x="483" y="306"/>
                      <a:pt x="479" y="307"/>
                      <a:pt x="475" y="308"/>
                    </a:cubicBezTo>
                    <a:cubicBezTo>
                      <a:pt x="471" y="309"/>
                      <a:pt x="467" y="313"/>
                      <a:pt x="464" y="313"/>
                    </a:cubicBezTo>
                    <a:cubicBezTo>
                      <a:pt x="461" y="314"/>
                      <a:pt x="465" y="317"/>
                      <a:pt x="463" y="321"/>
                    </a:cubicBezTo>
                    <a:cubicBezTo>
                      <a:pt x="460" y="325"/>
                      <a:pt x="465" y="328"/>
                      <a:pt x="467" y="335"/>
                    </a:cubicBezTo>
                    <a:cubicBezTo>
                      <a:pt x="468" y="342"/>
                      <a:pt x="465" y="343"/>
                      <a:pt x="462" y="346"/>
                    </a:cubicBezTo>
                    <a:cubicBezTo>
                      <a:pt x="459" y="348"/>
                      <a:pt x="459" y="353"/>
                      <a:pt x="458" y="356"/>
                    </a:cubicBezTo>
                    <a:cubicBezTo>
                      <a:pt x="458" y="359"/>
                      <a:pt x="458" y="361"/>
                      <a:pt x="452" y="362"/>
                    </a:cubicBezTo>
                    <a:cubicBezTo>
                      <a:pt x="447" y="363"/>
                      <a:pt x="452" y="367"/>
                      <a:pt x="445" y="370"/>
                    </a:cubicBezTo>
                    <a:cubicBezTo>
                      <a:pt x="439" y="372"/>
                      <a:pt x="445" y="374"/>
                      <a:pt x="443" y="376"/>
                    </a:cubicBezTo>
                    <a:cubicBezTo>
                      <a:pt x="442" y="379"/>
                      <a:pt x="438" y="378"/>
                      <a:pt x="436" y="376"/>
                    </a:cubicBezTo>
                    <a:cubicBezTo>
                      <a:pt x="434" y="375"/>
                      <a:pt x="427" y="375"/>
                      <a:pt x="424" y="375"/>
                    </a:cubicBezTo>
                    <a:cubicBezTo>
                      <a:pt x="421" y="376"/>
                      <a:pt x="416" y="371"/>
                      <a:pt x="413" y="370"/>
                    </a:cubicBezTo>
                    <a:cubicBezTo>
                      <a:pt x="410" y="368"/>
                      <a:pt x="412" y="366"/>
                      <a:pt x="412" y="366"/>
                    </a:cubicBezTo>
                    <a:cubicBezTo>
                      <a:pt x="416" y="369"/>
                      <a:pt x="416" y="369"/>
                      <a:pt x="416" y="369"/>
                    </a:cubicBezTo>
                    <a:cubicBezTo>
                      <a:pt x="416" y="369"/>
                      <a:pt x="419" y="372"/>
                      <a:pt x="421" y="371"/>
                    </a:cubicBezTo>
                    <a:cubicBezTo>
                      <a:pt x="423" y="370"/>
                      <a:pt x="425" y="371"/>
                      <a:pt x="428" y="371"/>
                    </a:cubicBezTo>
                    <a:cubicBezTo>
                      <a:pt x="430" y="372"/>
                      <a:pt x="430" y="368"/>
                      <a:pt x="433" y="368"/>
                    </a:cubicBezTo>
                    <a:cubicBezTo>
                      <a:pt x="436" y="368"/>
                      <a:pt x="436" y="366"/>
                      <a:pt x="436" y="362"/>
                    </a:cubicBezTo>
                    <a:cubicBezTo>
                      <a:pt x="436" y="358"/>
                      <a:pt x="438" y="359"/>
                      <a:pt x="440" y="355"/>
                    </a:cubicBezTo>
                    <a:cubicBezTo>
                      <a:pt x="441" y="351"/>
                      <a:pt x="442" y="352"/>
                      <a:pt x="442" y="350"/>
                    </a:cubicBezTo>
                    <a:cubicBezTo>
                      <a:pt x="443" y="348"/>
                      <a:pt x="445" y="345"/>
                      <a:pt x="449" y="342"/>
                    </a:cubicBezTo>
                    <a:cubicBezTo>
                      <a:pt x="453" y="338"/>
                      <a:pt x="451" y="338"/>
                      <a:pt x="450" y="333"/>
                    </a:cubicBezTo>
                    <a:cubicBezTo>
                      <a:pt x="449" y="328"/>
                      <a:pt x="451" y="327"/>
                      <a:pt x="454" y="321"/>
                    </a:cubicBezTo>
                    <a:cubicBezTo>
                      <a:pt x="457" y="315"/>
                      <a:pt x="451" y="315"/>
                      <a:pt x="447" y="310"/>
                    </a:cubicBezTo>
                    <a:cubicBezTo>
                      <a:pt x="443" y="304"/>
                      <a:pt x="446" y="298"/>
                      <a:pt x="446" y="294"/>
                    </a:cubicBezTo>
                    <a:cubicBezTo>
                      <a:pt x="445" y="289"/>
                      <a:pt x="446" y="287"/>
                      <a:pt x="446" y="284"/>
                    </a:cubicBezTo>
                    <a:cubicBezTo>
                      <a:pt x="446" y="281"/>
                      <a:pt x="444" y="281"/>
                      <a:pt x="445" y="277"/>
                    </a:cubicBezTo>
                    <a:cubicBezTo>
                      <a:pt x="446" y="272"/>
                      <a:pt x="444" y="272"/>
                      <a:pt x="445" y="270"/>
                    </a:cubicBezTo>
                    <a:cubicBezTo>
                      <a:pt x="446" y="268"/>
                      <a:pt x="447" y="264"/>
                      <a:pt x="446" y="263"/>
                    </a:cubicBezTo>
                    <a:cubicBezTo>
                      <a:pt x="446" y="262"/>
                      <a:pt x="447" y="258"/>
                      <a:pt x="447" y="254"/>
                    </a:cubicBezTo>
                    <a:cubicBezTo>
                      <a:pt x="447" y="250"/>
                      <a:pt x="446" y="248"/>
                      <a:pt x="446" y="246"/>
                    </a:cubicBezTo>
                    <a:cubicBezTo>
                      <a:pt x="446" y="243"/>
                      <a:pt x="442" y="242"/>
                      <a:pt x="440" y="239"/>
                    </a:cubicBezTo>
                    <a:cubicBezTo>
                      <a:pt x="438" y="235"/>
                      <a:pt x="438" y="232"/>
                      <a:pt x="439" y="231"/>
                    </a:cubicBezTo>
                    <a:cubicBezTo>
                      <a:pt x="441" y="230"/>
                      <a:pt x="441" y="232"/>
                      <a:pt x="443" y="225"/>
                    </a:cubicBezTo>
                    <a:cubicBezTo>
                      <a:pt x="445" y="218"/>
                      <a:pt x="443" y="217"/>
                      <a:pt x="445" y="215"/>
                    </a:cubicBezTo>
                    <a:cubicBezTo>
                      <a:pt x="447" y="213"/>
                      <a:pt x="447" y="206"/>
                      <a:pt x="447" y="203"/>
                    </a:cubicBezTo>
                    <a:cubicBezTo>
                      <a:pt x="447" y="200"/>
                      <a:pt x="448" y="199"/>
                      <a:pt x="448" y="199"/>
                    </a:cubicBezTo>
                    <a:cubicBezTo>
                      <a:pt x="448" y="199"/>
                      <a:pt x="448" y="195"/>
                      <a:pt x="446" y="194"/>
                    </a:cubicBezTo>
                    <a:cubicBezTo>
                      <a:pt x="444" y="193"/>
                      <a:pt x="434" y="190"/>
                      <a:pt x="434" y="190"/>
                    </a:cubicBezTo>
                    <a:cubicBezTo>
                      <a:pt x="434" y="190"/>
                      <a:pt x="419" y="191"/>
                      <a:pt x="417" y="191"/>
                    </a:cubicBezTo>
                    <a:cubicBezTo>
                      <a:pt x="416" y="191"/>
                      <a:pt x="418" y="187"/>
                      <a:pt x="418" y="187"/>
                    </a:cubicBezTo>
                    <a:cubicBezTo>
                      <a:pt x="413" y="187"/>
                      <a:pt x="413" y="187"/>
                      <a:pt x="413" y="187"/>
                    </a:cubicBezTo>
                    <a:cubicBezTo>
                      <a:pt x="413" y="187"/>
                      <a:pt x="413" y="192"/>
                      <a:pt x="411" y="194"/>
                    </a:cubicBezTo>
                    <a:cubicBezTo>
                      <a:pt x="410" y="196"/>
                      <a:pt x="411" y="194"/>
                      <a:pt x="409" y="202"/>
                    </a:cubicBezTo>
                    <a:cubicBezTo>
                      <a:pt x="406" y="209"/>
                      <a:pt x="408" y="213"/>
                      <a:pt x="405" y="220"/>
                    </a:cubicBezTo>
                    <a:cubicBezTo>
                      <a:pt x="402" y="227"/>
                      <a:pt x="402" y="233"/>
                      <a:pt x="396" y="236"/>
                    </a:cubicBezTo>
                    <a:cubicBezTo>
                      <a:pt x="390" y="239"/>
                      <a:pt x="390" y="239"/>
                      <a:pt x="386" y="249"/>
                    </a:cubicBezTo>
                    <a:cubicBezTo>
                      <a:pt x="381" y="259"/>
                      <a:pt x="386" y="265"/>
                      <a:pt x="388" y="267"/>
                    </a:cubicBezTo>
                    <a:cubicBezTo>
                      <a:pt x="390" y="269"/>
                      <a:pt x="391" y="266"/>
                      <a:pt x="391" y="266"/>
                    </a:cubicBezTo>
                    <a:cubicBezTo>
                      <a:pt x="391" y="266"/>
                      <a:pt x="388" y="262"/>
                      <a:pt x="386" y="260"/>
                    </a:cubicBezTo>
                    <a:cubicBezTo>
                      <a:pt x="384" y="258"/>
                      <a:pt x="387" y="251"/>
                      <a:pt x="387" y="251"/>
                    </a:cubicBezTo>
                    <a:cubicBezTo>
                      <a:pt x="387" y="251"/>
                      <a:pt x="387" y="257"/>
                      <a:pt x="389" y="256"/>
                    </a:cubicBezTo>
                    <a:cubicBezTo>
                      <a:pt x="390" y="255"/>
                      <a:pt x="393" y="255"/>
                      <a:pt x="393" y="256"/>
                    </a:cubicBezTo>
                    <a:cubicBezTo>
                      <a:pt x="393" y="257"/>
                      <a:pt x="394" y="265"/>
                      <a:pt x="393" y="267"/>
                    </a:cubicBezTo>
                    <a:cubicBezTo>
                      <a:pt x="392" y="268"/>
                      <a:pt x="394" y="272"/>
                      <a:pt x="393" y="276"/>
                    </a:cubicBezTo>
                    <a:cubicBezTo>
                      <a:pt x="392" y="280"/>
                      <a:pt x="389" y="277"/>
                      <a:pt x="389" y="277"/>
                    </a:cubicBezTo>
                    <a:cubicBezTo>
                      <a:pt x="389" y="277"/>
                      <a:pt x="388" y="286"/>
                      <a:pt x="388" y="292"/>
                    </a:cubicBezTo>
                    <a:cubicBezTo>
                      <a:pt x="388" y="298"/>
                      <a:pt x="391" y="297"/>
                      <a:pt x="393" y="295"/>
                    </a:cubicBezTo>
                    <a:cubicBezTo>
                      <a:pt x="395" y="293"/>
                      <a:pt x="393" y="290"/>
                      <a:pt x="393" y="290"/>
                    </a:cubicBezTo>
                    <a:cubicBezTo>
                      <a:pt x="393" y="290"/>
                      <a:pt x="391" y="291"/>
                      <a:pt x="390" y="292"/>
                    </a:cubicBezTo>
                    <a:cubicBezTo>
                      <a:pt x="389" y="293"/>
                      <a:pt x="391" y="287"/>
                      <a:pt x="391" y="287"/>
                    </a:cubicBezTo>
                    <a:cubicBezTo>
                      <a:pt x="401" y="292"/>
                      <a:pt x="401" y="292"/>
                      <a:pt x="401" y="292"/>
                    </a:cubicBezTo>
                    <a:cubicBezTo>
                      <a:pt x="401" y="300"/>
                      <a:pt x="401" y="300"/>
                      <a:pt x="401" y="300"/>
                    </a:cubicBezTo>
                    <a:cubicBezTo>
                      <a:pt x="401" y="300"/>
                      <a:pt x="406" y="310"/>
                      <a:pt x="409" y="309"/>
                    </a:cubicBezTo>
                    <a:cubicBezTo>
                      <a:pt x="412" y="308"/>
                      <a:pt x="409" y="315"/>
                      <a:pt x="409" y="315"/>
                    </a:cubicBezTo>
                    <a:cubicBezTo>
                      <a:pt x="409" y="315"/>
                      <a:pt x="405" y="326"/>
                      <a:pt x="404" y="328"/>
                    </a:cubicBezTo>
                    <a:cubicBezTo>
                      <a:pt x="403" y="330"/>
                      <a:pt x="402" y="326"/>
                      <a:pt x="401" y="323"/>
                    </a:cubicBezTo>
                    <a:cubicBezTo>
                      <a:pt x="400" y="320"/>
                      <a:pt x="397" y="317"/>
                      <a:pt x="393" y="314"/>
                    </a:cubicBezTo>
                    <a:cubicBezTo>
                      <a:pt x="390" y="311"/>
                      <a:pt x="394" y="311"/>
                      <a:pt x="394" y="311"/>
                    </a:cubicBezTo>
                    <a:cubicBezTo>
                      <a:pt x="394" y="311"/>
                      <a:pt x="390" y="310"/>
                      <a:pt x="387" y="309"/>
                    </a:cubicBezTo>
                    <a:cubicBezTo>
                      <a:pt x="383" y="308"/>
                      <a:pt x="384" y="306"/>
                      <a:pt x="382" y="304"/>
                    </a:cubicBezTo>
                    <a:cubicBezTo>
                      <a:pt x="379" y="302"/>
                      <a:pt x="374" y="302"/>
                      <a:pt x="371" y="298"/>
                    </a:cubicBezTo>
                    <a:cubicBezTo>
                      <a:pt x="367" y="294"/>
                      <a:pt x="355" y="289"/>
                      <a:pt x="351" y="287"/>
                    </a:cubicBezTo>
                    <a:cubicBezTo>
                      <a:pt x="348" y="284"/>
                      <a:pt x="340" y="286"/>
                      <a:pt x="336" y="284"/>
                    </a:cubicBezTo>
                    <a:cubicBezTo>
                      <a:pt x="333" y="282"/>
                      <a:pt x="332" y="282"/>
                      <a:pt x="329" y="282"/>
                    </a:cubicBezTo>
                    <a:cubicBezTo>
                      <a:pt x="325" y="283"/>
                      <a:pt x="331" y="285"/>
                      <a:pt x="328" y="288"/>
                    </a:cubicBezTo>
                    <a:cubicBezTo>
                      <a:pt x="325" y="290"/>
                      <a:pt x="325" y="288"/>
                      <a:pt x="323" y="289"/>
                    </a:cubicBezTo>
                    <a:cubicBezTo>
                      <a:pt x="322" y="290"/>
                      <a:pt x="326" y="296"/>
                      <a:pt x="327" y="298"/>
                    </a:cubicBezTo>
                    <a:cubicBezTo>
                      <a:pt x="328" y="300"/>
                      <a:pt x="327" y="303"/>
                      <a:pt x="330" y="303"/>
                    </a:cubicBezTo>
                    <a:cubicBezTo>
                      <a:pt x="332" y="303"/>
                      <a:pt x="333" y="304"/>
                      <a:pt x="331" y="307"/>
                    </a:cubicBezTo>
                    <a:cubicBezTo>
                      <a:pt x="330" y="310"/>
                      <a:pt x="328" y="314"/>
                      <a:pt x="325" y="314"/>
                    </a:cubicBezTo>
                    <a:cubicBezTo>
                      <a:pt x="322" y="314"/>
                      <a:pt x="321" y="315"/>
                      <a:pt x="320" y="317"/>
                    </a:cubicBezTo>
                    <a:cubicBezTo>
                      <a:pt x="319" y="319"/>
                      <a:pt x="322" y="321"/>
                      <a:pt x="319" y="323"/>
                    </a:cubicBezTo>
                    <a:cubicBezTo>
                      <a:pt x="316" y="326"/>
                      <a:pt x="314" y="323"/>
                      <a:pt x="314" y="319"/>
                    </a:cubicBezTo>
                    <a:cubicBezTo>
                      <a:pt x="314" y="316"/>
                      <a:pt x="317" y="315"/>
                      <a:pt x="317" y="315"/>
                    </a:cubicBezTo>
                    <a:cubicBezTo>
                      <a:pt x="317" y="315"/>
                      <a:pt x="312" y="310"/>
                      <a:pt x="314" y="309"/>
                    </a:cubicBezTo>
                    <a:cubicBezTo>
                      <a:pt x="315" y="308"/>
                      <a:pt x="315" y="306"/>
                      <a:pt x="313" y="306"/>
                    </a:cubicBezTo>
                    <a:cubicBezTo>
                      <a:pt x="311" y="306"/>
                      <a:pt x="308" y="308"/>
                      <a:pt x="304" y="309"/>
                    </a:cubicBezTo>
                    <a:cubicBezTo>
                      <a:pt x="299" y="311"/>
                      <a:pt x="300" y="311"/>
                      <a:pt x="297" y="317"/>
                    </a:cubicBezTo>
                    <a:cubicBezTo>
                      <a:pt x="293" y="323"/>
                      <a:pt x="290" y="317"/>
                      <a:pt x="288" y="317"/>
                    </a:cubicBezTo>
                    <a:cubicBezTo>
                      <a:pt x="285" y="318"/>
                      <a:pt x="282" y="316"/>
                      <a:pt x="280" y="317"/>
                    </a:cubicBezTo>
                    <a:cubicBezTo>
                      <a:pt x="279" y="318"/>
                      <a:pt x="277" y="319"/>
                      <a:pt x="275" y="320"/>
                    </a:cubicBezTo>
                    <a:cubicBezTo>
                      <a:pt x="272" y="320"/>
                      <a:pt x="272" y="327"/>
                      <a:pt x="271" y="328"/>
                    </a:cubicBezTo>
                    <a:cubicBezTo>
                      <a:pt x="270" y="329"/>
                      <a:pt x="269" y="328"/>
                      <a:pt x="267" y="325"/>
                    </a:cubicBezTo>
                    <a:cubicBezTo>
                      <a:pt x="265" y="322"/>
                      <a:pt x="265" y="326"/>
                      <a:pt x="263" y="327"/>
                    </a:cubicBezTo>
                    <a:cubicBezTo>
                      <a:pt x="261" y="328"/>
                      <a:pt x="256" y="327"/>
                      <a:pt x="256" y="327"/>
                    </a:cubicBezTo>
                    <a:cubicBezTo>
                      <a:pt x="256" y="327"/>
                      <a:pt x="256" y="326"/>
                      <a:pt x="258" y="324"/>
                    </a:cubicBezTo>
                    <a:cubicBezTo>
                      <a:pt x="260" y="322"/>
                      <a:pt x="262" y="324"/>
                      <a:pt x="262" y="324"/>
                    </a:cubicBezTo>
                    <a:cubicBezTo>
                      <a:pt x="262" y="324"/>
                      <a:pt x="261" y="319"/>
                      <a:pt x="261" y="316"/>
                    </a:cubicBezTo>
                    <a:cubicBezTo>
                      <a:pt x="261" y="314"/>
                      <a:pt x="263" y="311"/>
                      <a:pt x="263" y="311"/>
                    </a:cubicBezTo>
                    <a:cubicBezTo>
                      <a:pt x="260" y="309"/>
                      <a:pt x="260" y="309"/>
                      <a:pt x="260" y="309"/>
                    </a:cubicBezTo>
                    <a:cubicBezTo>
                      <a:pt x="260" y="309"/>
                      <a:pt x="267" y="308"/>
                      <a:pt x="268" y="307"/>
                    </a:cubicBezTo>
                    <a:cubicBezTo>
                      <a:pt x="270" y="307"/>
                      <a:pt x="270" y="307"/>
                      <a:pt x="269" y="306"/>
                    </a:cubicBezTo>
                    <a:cubicBezTo>
                      <a:pt x="268" y="305"/>
                      <a:pt x="261" y="307"/>
                      <a:pt x="259" y="308"/>
                    </a:cubicBezTo>
                    <a:cubicBezTo>
                      <a:pt x="256" y="308"/>
                      <a:pt x="253" y="313"/>
                      <a:pt x="248" y="315"/>
                    </a:cubicBezTo>
                    <a:cubicBezTo>
                      <a:pt x="244" y="316"/>
                      <a:pt x="247" y="318"/>
                      <a:pt x="247" y="318"/>
                    </a:cubicBezTo>
                    <a:cubicBezTo>
                      <a:pt x="247" y="318"/>
                      <a:pt x="250" y="320"/>
                      <a:pt x="250" y="321"/>
                    </a:cubicBezTo>
                    <a:cubicBezTo>
                      <a:pt x="250" y="323"/>
                      <a:pt x="246" y="324"/>
                      <a:pt x="246" y="323"/>
                    </a:cubicBezTo>
                    <a:cubicBezTo>
                      <a:pt x="246" y="322"/>
                      <a:pt x="245" y="319"/>
                      <a:pt x="244" y="319"/>
                    </a:cubicBezTo>
                    <a:cubicBezTo>
                      <a:pt x="242" y="318"/>
                      <a:pt x="238" y="320"/>
                      <a:pt x="238" y="320"/>
                    </a:cubicBezTo>
                    <a:cubicBezTo>
                      <a:pt x="238" y="320"/>
                      <a:pt x="235" y="320"/>
                      <a:pt x="232" y="321"/>
                    </a:cubicBezTo>
                    <a:cubicBezTo>
                      <a:pt x="230" y="322"/>
                      <a:pt x="229" y="327"/>
                      <a:pt x="226" y="328"/>
                    </a:cubicBezTo>
                    <a:cubicBezTo>
                      <a:pt x="224" y="330"/>
                      <a:pt x="217" y="337"/>
                      <a:pt x="214" y="337"/>
                    </a:cubicBezTo>
                    <a:cubicBezTo>
                      <a:pt x="212" y="336"/>
                      <a:pt x="211" y="336"/>
                      <a:pt x="211" y="338"/>
                    </a:cubicBezTo>
                    <a:cubicBezTo>
                      <a:pt x="211" y="341"/>
                      <a:pt x="210" y="341"/>
                      <a:pt x="206" y="342"/>
                    </a:cubicBezTo>
                    <a:cubicBezTo>
                      <a:pt x="201" y="343"/>
                      <a:pt x="202" y="344"/>
                      <a:pt x="202" y="346"/>
                    </a:cubicBezTo>
                    <a:cubicBezTo>
                      <a:pt x="202" y="348"/>
                      <a:pt x="201" y="355"/>
                      <a:pt x="200" y="357"/>
                    </a:cubicBezTo>
                    <a:cubicBezTo>
                      <a:pt x="200" y="359"/>
                      <a:pt x="196" y="362"/>
                      <a:pt x="196" y="362"/>
                    </a:cubicBezTo>
                    <a:cubicBezTo>
                      <a:pt x="196" y="362"/>
                      <a:pt x="187" y="363"/>
                      <a:pt x="184" y="362"/>
                    </a:cubicBezTo>
                    <a:cubicBezTo>
                      <a:pt x="180" y="361"/>
                      <a:pt x="181" y="355"/>
                      <a:pt x="180" y="354"/>
                    </a:cubicBezTo>
                    <a:cubicBezTo>
                      <a:pt x="179" y="352"/>
                      <a:pt x="176" y="352"/>
                      <a:pt x="174" y="349"/>
                    </a:cubicBezTo>
                    <a:cubicBezTo>
                      <a:pt x="172" y="346"/>
                      <a:pt x="175" y="345"/>
                      <a:pt x="177" y="344"/>
                    </a:cubicBezTo>
                    <a:cubicBezTo>
                      <a:pt x="179" y="342"/>
                      <a:pt x="178" y="341"/>
                      <a:pt x="178" y="341"/>
                    </a:cubicBezTo>
                    <a:cubicBezTo>
                      <a:pt x="178" y="341"/>
                      <a:pt x="179" y="340"/>
                      <a:pt x="183" y="339"/>
                    </a:cubicBezTo>
                    <a:cubicBezTo>
                      <a:pt x="187" y="339"/>
                      <a:pt x="190" y="338"/>
                      <a:pt x="191" y="337"/>
                    </a:cubicBezTo>
                    <a:cubicBezTo>
                      <a:pt x="192" y="336"/>
                      <a:pt x="190" y="333"/>
                      <a:pt x="189" y="331"/>
                    </a:cubicBezTo>
                    <a:cubicBezTo>
                      <a:pt x="189" y="329"/>
                      <a:pt x="189" y="328"/>
                      <a:pt x="186" y="326"/>
                    </a:cubicBezTo>
                    <a:cubicBezTo>
                      <a:pt x="184" y="323"/>
                      <a:pt x="185" y="321"/>
                      <a:pt x="181" y="319"/>
                    </a:cubicBezTo>
                    <a:cubicBezTo>
                      <a:pt x="177" y="317"/>
                      <a:pt x="169" y="318"/>
                      <a:pt x="167" y="318"/>
                    </a:cubicBezTo>
                    <a:cubicBezTo>
                      <a:pt x="164" y="318"/>
                      <a:pt x="163" y="318"/>
                      <a:pt x="162" y="316"/>
                    </a:cubicBezTo>
                    <a:cubicBezTo>
                      <a:pt x="160" y="315"/>
                      <a:pt x="157" y="315"/>
                      <a:pt x="157" y="315"/>
                    </a:cubicBezTo>
                    <a:cubicBezTo>
                      <a:pt x="157" y="315"/>
                      <a:pt x="163" y="321"/>
                      <a:pt x="164" y="322"/>
                    </a:cubicBezTo>
                    <a:cubicBezTo>
                      <a:pt x="165" y="323"/>
                      <a:pt x="167" y="324"/>
                      <a:pt x="166" y="329"/>
                    </a:cubicBezTo>
                    <a:cubicBezTo>
                      <a:pt x="166" y="334"/>
                      <a:pt x="167" y="339"/>
                      <a:pt x="164" y="343"/>
                    </a:cubicBezTo>
                    <a:cubicBezTo>
                      <a:pt x="161" y="346"/>
                      <a:pt x="162" y="354"/>
                      <a:pt x="164" y="355"/>
                    </a:cubicBezTo>
                    <a:cubicBezTo>
                      <a:pt x="166" y="355"/>
                      <a:pt x="167" y="356"/>
                      <a:pt x="168" y="357"/>
                    </a:cubicBezTo>
                    <a:cubicBezTo>
                      <a:pt x="169" y="358"/>
                      <a:pt x="169" y="364"/>
                      <a:pt x="169" y="365"/>
                    </a:cubicBezTo>
                    <a:cubicBezTo>
                      <a:pt x="168" y="366"/>
                      <a:pt x="169" y="369"/>
                      <a:pt x="167" y="372"/>
                    </a:cubicBezTo>
                    <a:cubicBezTo>
                      <a:pt x="165" y="374"/>
                      <a:pt x="166" y="379"/>
                      <a:pt x="166" y="383"/>
                    </a:cubicBezTo>
                    <a:cubicBezTo>
                      <a:pt x="165" y="387"/>
                      <a:pt x="164" y="381"/>
                      <a:pt x="163" y="379"/>
                    </a:cubicBezTo>
                    <a:cubicBezTo>
                      <a:pt x="162" y="376"/>
                      <a:pt x="159" y="380"/>
                      <a:pt x="161" y="379"/>
                    </a:cubicBezTo>
                    <a:cubicBezTo>
                      <a:pt x="162" y="377"/>
                      <a:pt x="159" y="376"/>
                      <a:pt x="159" y="376"/>
                    </a:cubicBezTo>
                    <a:cubicBezTo>
                      <a:pt x="155" y="373"/>
                      <a:pt x="155" y="373"/>
                      <a:pt x="155" y="373"/>
                    </a:cubicBezTo>
                    <a:cubicBezTo>
                      <a:pt x="155" y="373"/>
                      <a:pt x="152" y="374"/>
                      <a:pt x="150" y="371"/>
                    </a:cubicBezTo>
                    <a:cubicBezTo>
                      <a:pt x="148" y="369"/>
                      <a:pt x="147" y="371"/>
                      <a:pt x="145" y="373"/>
                    </a:cubicBezTo>
                    <a:cubicBezTo>
                      <a:pt x="143" y="376"/>
                      <a:pt x="141" y="379"/>
                      <a:pt x="136" y="381"/>
                    </a:cubicBezTo>
                    <a:cubicBezTo>
                      <a:pt x="132" y="383"/>
                      <a:pt x="130" y="389"/>
                      <a:pt x="130" y="389"/>
                    </a:cubicBezTo>
                    <a:cubicBezTo>
                      <a:pt x="130" y="389"/>
                      <a:pt x="123" y="393"/>
                      <a:pt x="123" y="394"/>
                    </a:cubicBezTo>
                    <a:cubicBezTo>
                      <a:pt x="122" y="395"/>
                      <a:pt x="124" y="401"/>
                      <a:pt x="125" y="404"/>
                    </a:cubicBezTo>
                    <a:cubicBezTo>
                      <a:pt x="127" y="408"/>
                      <a:pt x="130" y="413"/>
                      <a:pt x="130" y="413"/>
                    </a:cubicBezTo>
                    <a:cubicBezTo>
                      <a:pt x="130" y="413"/>
                      <a:pt x="128" y="414"/>
                      <a:pt x="126" y="412"/>
                    </a:cubicBezTo>
                    <a:cubicBezTo>
                      <a:pt x="123" y="411"/>
                      <a:pt x="126" y="416"/>
                      <a:pt x="126" y="416"/>
                    </a:cubicBezTo>
                    <a:cubicBezTo>
                      <a:pt x="126" y="416"/>
                      <a:pt x="122" y="416"/>
                      <a:pt x="120" y="415"/>
                    </a:cubicBezTo>
                    <a:cubicBezTo>
                      <a:pt x="119" y="413"/>
                      <a:pt x="112" y="412"/>
                      <a:pt x="110" y="411"/>
                    </a:cubicBezTo>
                    <a:cubicBezTo>
                      <a:pt x="107" y="411"/>
                      <a:pt x="105" y="410"/>
                      <a:pt x="102" y="406"/>
                    </a:cubicBezTo>
                    <a:cubicBezTo>
                      <a:pt x="100" y="403"/>
                      <a:pt x="97" y="403"/>
                      <a:pt x="96" y="403"/>
                    </a:cubicBezTo>
                    <a:cubicBezTo>
                      <a:pt x="95" y="403"/>
                      <a:pt x="93" y="405"/>
                      <a:pt x="93" y="406"/>
                    </a:cubicBezTo>
                    <a:cubicBezTo>
                      <a:pt x="92" y="408"/>
                      <a:pt x="90" y="409"/>
                      <a:pt x="90" y="409"/>
                    </a:cubicBezTo>
                    <a:cubicBezTo>
                      <a:pt x="90" y="409"/>
                      <a:pt x="94" y="415"/>
                      <a:pt x="94" y="417"/>
                    </a:cubicBezTo>
                    <a:cubicBezTo>
                      <a:pt x="95" y="418"/>
                      <a:pt x="99" y="421"/>
                      <a:pt x="101" y="421"/>
                    </a:cubicBezTo>
                    <a:cubicBezTo>
                      <a:pt x="102" y="420"/>
                      <a:pt x="105" y="422"/>
                      <a:pt x="104" y="424"/>
                    </a:cubicBezTo>
                    <a:cubicBezTo>
                      <a:pt x="103" y="426"/>
                      <a:pt x="107" y="429"/>
                      <a:pt x="105" y="431"/>
                    </a:cubicBezTo>
                    <a:cubicBezTo>
                      <a:pt x="104" y="432"/>
                      <a:pt x="102" y="433"/>
                      <a:pt x="101" y="434"/>
                    </a:cubicBezTo>
                    <a:cubicBezTo>
                      <a:pt x="100" y="435"/>
                      <a:pt x="99" y="434"/>
                      <a:pt x="97" y="433"/>
                    </a:cubicBezTo>
                    <a:cubicBezTo>
                      <a:pt x="96" y="432"/>
                      <a:pt x="89" y="429"/>
                      <a:pt x="89" y="429"/>
                    </a:cubicBezTo>
                    <a:cubicBezTo>
                      <a:pt x="85" y="423"/>
                      <a:pt x="85" y="423"/>
                      <a:pt x="85" y="423"/>
                    </a:cubicBezTo>
                    <a:cubicBezTo>
                      <a:pt x="85" y="423"/>
                      <a:pt x="82" y="423"/>
                      <a:pt x="80" y="423"/>
                    </a:cubicBezTo>
                    <a:cubicBezTo>
                      <a:pt x="78" y="422"/>
                      <a:pt x="76" y="419"/>
                      <a:pt x="76" y="416"/>
                    </a:cubicBezTo>
                    <a:cubicBezTo>
                      <a:pt x="76" y="412"/>
                      <a:pt x="74" y="408"/>
                      <a:pt x="73" y="406"/>
                    </a:cubicBezTo>
                    <a:cubicBezTo>
                      <a:pt x="72" y="404"/>
                      <a:pt x="70" y="400"/>
                      <a:pt x="69" y="399"/>
                    </a:cubicBezTo>
                    <a:cubicBezTo>
                      <a:pt x="68" y="399"/>
                      <a:pt x="71" y="397"/>
                      <a:pt x="73" y="396"/>
                    </a:cubicBezTo>
                    <a:cubicBezTo>
                      <a:pt x="75" y="394"/>
                      <a:pt x="73" y="390"/>
                      <a:pt x="73" y="390"/>
                    </a:cubicBezTo>
                    <a:cubicBezTo>
                      <a:pt x="73" y="390"/>
                      <a:pt x="75" y="390"/>
                      <a:pt x="76" y="389"/>
                    </a:cubicBezTo>
                    <a:cubicBezTo>
                      <a:pt x="76" y="387"/>
                      <a:pt x="74" y="384"/>
                      <a:pt x="71" y="380"/>
                    </a:cubicBezTo>
                    <a:cubicBezTo>
                      <a:pt x="67" y="377"/>
                      <a:pt x="62" y="372"/>
                      <a:pt x="61" y="371"/>
                    </a:cubicBezTo>
                    <a:cubicBezTo>
                      <a:pt x="60" y="369"/>
                      <a:pt x="54" y="364"/>
                      <a:pt x="52" y="362"/>
                    </a:cubicBezTo>
                    <a:cubicBezTo>
                      <a:pt x="50" y="361"/>
                      <a:pt x="51" y="361"/>
                      <a:pt x="52" y="358"/>
                    </a:cubicBezTo>
                    <a:cubicBezTo>
                      <a:pt x="53" y="356"/>
                      <a:pt x="50" y="355"/>
                      <a:pt x="50" y="355"/>
                    </a:cubicBezTo>
                    <a:cubicBezTo>
                      <a:pt x="50" y="355"/>
                      <a:pt x="54" y="356"/>
                      <a:pt x="54" y="358"/>
                    </a:cubicBezTo>
                    <a:cubicBezTo>
                      <a:pt x="55" y="360"/>
                      <a:pt x="62" y="365"/>
                      <a:pt x="62" y="365"/>
                    </a:cubicBezTo>
                    <a:cubicBezTo>
                      <a:pt x="67" y="367"/>
                      <a:pt x="67" y="367"/>
                      <a:pt x="67" y="367"/>
                    </a:cubicBezTo>
                    <a:cubicBezTo>
                      <a:pt x="70" y="369"/>
                      <a:pt x="70" y="369"/>
                      <a:pt x="70" y="369"/>
                    </a:cubicBezTo>
                    <a:cubicBezTo>
                      <a:pt x="74" y="369"/>
                      <a:pt x="74" y="369"/>
                      <a:pt x="74" y="369"/>
                    </a:cubicBezTo>
                    <a:cubicBezTo>
                      <a:pt x="74" y="369"/>
                      <a:pt x="78" y="372"/>
                      <a:pt x="83" y="374"/>
                    </a:cubicBezTo>
                    <a:cubicBezTo>
                      <a:pt x="88" y="377"/>
                      <a:pt x="92" y="375"/>
                      <a:pt x="103" y="381"/>
                    </a:cubicBezTo>
                    <a:cubicBezTo>
                      <a:pt x="115" y="386"/>
                      <a:pt x="126" y="377"/>
                      <a:pt x="131" y="371"/>
                    </a:cubicBezTo>
                    <a:cubicBezTo>
                      <a:pt x="137" y="365"/>
                      <a:pt x="138" y="357"/>
                      <a:pt x="139" y="354"/>
                    </a:cubicBezTo>
                    <a:cubicBezTo>
                      <a:pt x="139" y="350"/>
                      <a:pt x="136" y="353"/>
                      <a:pt x="137" y="351"/>
                    </a:cubicBezTo>
                    <a:cubicBezTo>
                      <a:pt x="137" y="348"/>
                      <a:pt x="135" y="345"/>
                      <a:pt x="135" y="343"/>
                    </a:cubicBezTo>
                    <a:cubicBezTo>
                      <a:pt x="135" y="341"/>
                      <a:pt x="133" y="340"/>
                      <a:pt x="132" y="339"/>
                    </a:cubicBezTo>
                    <a:cubicBezTo>
                      <a:pt x="131" y="339"/>
                      <a:pt x="127" y="335"/>
                      <a:pt x="126" y="334"/>
                    </a:cubicBezTo>
                    <a:cubicBezTo>
                      <a:pt x="125" y="332"/>
                      <a:pt x="124" y="329"/>
                      <a:pt x="124" y="329"/>
                    </a:cubicBezTo>
                    <a:cubicBezTo>
                      <a:pt x="123" y="332"/>
                      <a:pt x="123" y="332"/>
                      <a:pt x="123" y="332"/>
                    </a:cubicBezTo>
                    <a:cubicBezTo>
                      <a:pt x="116" y="327"/>
                      <a:pt x="116" y="327"/>
                      <a:pt x="116" y="327"/>
                    </a:cubicBezTo>
                    <a:cubicBezTo>
                      <a:pt x="116" y="327"/>
                      <a:pt x="108" y="320"/>
                      <a:pt x="104" y="318"/>
                    </a:cubicBezTo>
                    <a:cubicBezTo>
                      <a:pt x="101" y="315"/>
                      <a:pt x="91" y="305"/>
                      <a:pt x="86" y="302"/>
                    </a:cubicBezTo>
                    <a:cubicBezTo>
                      <a:pt x="82" y="298"/>
                      <a:pt x="79" y="301"/>
                      <a:pt x="79" y="301"/>
                    </a:cubicBezTo>
                    <a:cubicBezTo>
                      <a:pt x="73" y="299"/>
                      <a:pt x="73" y="299"/>
                      <a:pt x="73" y="299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67" y="296"/>
                      <a:pt x="67" y="296"/>
                      <a:pt x="67" y="296"/>
                    </a:cubicBezTo>
                    <a:cubicBezTo>
                      <a:pt x="64" y="298"/>
                      <a:pt x="64" y="298"/>
                      <a:pt x="64" y="298"/>
                    </a:cubicBezTo>
                    <a:cubicBezTo>
                      <a:pt x="61" y="301"/>
                      <a:pt x="61" y="301"/>
                      <a:pt x="61" y="301"/>
                    </a:cubicBezTo>
                    <a:cubicBezTo>
                      <a:pt x="61" y="295"/>
                      <a:pt x="61" y="295"/>
                      <a:pt x="61" y="295"/>
                    </a:cubicBezTo>
                    <a:cubicBezTo>
                      <a:pt x="61" y="295"/>
                      <a:pt x="58" y="294"/>
                      <a:pt x="56" y="294"/>
                    </a:cubicBezTo>
                    <a:cubicBezTo>
                      <a:pt x="54" y="294"/>
                      <a:pt x="47" y="289"/>
                      <a:pt x="47" y="289"/>
                    </a:cubicBezTo>
                    <a:cubicBezTo>
                      <a:pt x="47" y="289"/>
                      <a:pt x="50" y="288"/>
                      <a:pt x="52" y="289"/>
                    </a:cubicBezTo>
                    <a:cubicBezTo>
                      <a:pt x="54" y="290"/>
                      <a:pt x="57" y="289"/>
                      <a:pt x="57" y="287"/>
                    </a:cubicBezTo>
                    <a:cubicBezTo>
                      <a:pt x="58" y="285"/>
                      <a:pt x="54" y="285"/>
                      <a:pt x="54" y="285"/>
                    </a:cubicBezTo>
                    <a:cubicBezTo>
                      <a:pt x="46" y="280"/>
                      <a:pt x="46" y="280"/>
                      <a:pt x="46" y="280"/>
                    </a:cubicBezTo>
                    <a:cubicBezTo>
                      <a:pt x="47" y="285"/>
                      <a:pt x="47" y="285"/>
                      <a:pt x="47" y="285"/>
                    </a:cubicBezTo>
                    <a:cubicBezTo>
                      <a:pt x="44" y="282"/>
                      <a:pt x="44" y="282"/>
                      <a:pt x="44" y="282"/>
                    </a:cubicBezTo>
                    <a:cubicBezTo>
                      <a:pt x="44" y="287"/>
                      <a:pt x="44" y="287"/>
                      <a:pt x="44" y="287"/>
                    </a:cubicBezTo>
                    <a:cubicBezTo>
                      <a:pt x="36" y="284"/>
                      <a:pt x="36" y="284"/>
                      <a:pt x="36" y="284"/>
                    </a:cubicBezTo>
                    <a:cubicBezTo>
                      <a:pt x="36" y="290"/>
                      <a:pt x="36" y="290"/>
                      <a:pt x="36" y="290"/>
                    </a:cubicBezTo>
                    <a:cubicBezTo>
                      <a:pt x="36" y="290"/>
                      <a:pt x="34" y="292"/>
                      <a:pt x="33" y="290"/>
                    </a:cubicBezTo>
                    <a:cubicBezTo>
                      <a:pt x="32" y="289"/>
                      <a:pt x="28" y="288"/>
                      <a:pt x="28" y="288"/>
                    </a:cubicBezTo>
                    <a:cubicBezTo>
                      <a:pt x="28" y="295"/>
                      <a:pt x="28" y="295"/>
                      <a:pt x="28" y="295"/>
                    </a:cubicBezTo>
                    <a:cubicBezTo>
                      <a:pt x="28" y="295"/>
                      <a:pt x="24" y="297"/>
                      <a:pt x="23" y="297"/>
                    </a:cubicBezTo>
                    <a:cubicBezTo>
                      <a:pt x="22" y="297"/>
                      <a:pt x="20" y="300"/>
                      <a:pt x="20" y="300"/>
                    </a:cubicBezTo>
                    <a:cubicBezTo>
                      <a:pt x="20" y="300"/>
                      <a:pt x="20" y="303"/>
                      <a:pt x="18" y="306"/>
                    </a:cubicBezTo>
                    <a:cubicBezTo>
                      <a:pt x="16" y="309"/>
                      <a:pt x="16" y="304"/>
                      <a:pt x="16" y="304"/>
                    </a:cubicBezTo>
                    <a:cubicBezTo>
                      <a:pt x="12" y="308"/>
                      <a:pt x="12" y="308"/>
                      <a:pt x="12" y="308"/>
                    </a:cubicBezTo>
                    <a:cubicBezTo>
                      <a:pt x="15" y="309"/>
                      <a:pt x="15" y="309"/>
                      <a:pt x="15" y="309"/>
                    </a:cubicBezTo>
                    <a:cubicBezTo>
                      <a:pt x="12" y="319"/>
                      <a:pt x="12" y="319"/>
                      <a:pt x="12" y="319"/>
                    </a:cubicBezTo>
                    <a:cubicBezTo>
                      <a:pt x="14" y="327"/>
                      <a:pt x="14" y="327"/>
                      <a:pt x="14" y="327"/>
                    </a:cubicBezTo>
                    <a:cubicBezTo>
                      <a:pt x="20" y="330"/>
                      <a:pt x="20" y="330"/>
                      <a:pt x="20" y="330"/>
                    </a:cubicBezTo>
                    <a:cubicBezTo>
                      <a:pt x="20" y="330"/>
                      <a:pt x="24" y="337"/>
                      <a:pt x="24" y="338"/>
                    </a:cubicBezTo>
                    <a:cubicBezTo>
                      <a:pt x="24" y="339"/>
                      <a:pt x="27" y="341"/>
                      <a:pt x="27" y="343"/>
                    </a:cubicBezTo>
                    <a:cubicBezTo>
                      <a:pt x="27" y="345"/>
                      <a:pt x="20" y="354"/>
                      <a:pt x="20" y="354"/>
                    </a:cubicBezTo>
                    <a:cubicBezTo>
                      <a:pt x="20" y="354"/>
                      <a:pt x="17" y="360"/>
                      <a:pt x="18" y="363"/>
                    </a:cubicBezTo>
                    <a:cubicBezTo>
                      <a:pt x="18" y="366"/>
                      <a:pt x="22" y="371"/>
                      <a:pt x="25" y="377"/>
                    </a:cubicBezTo>
                    <a:cubicBezTo>
                      <a:pt x="28" y="383"/>
                      <a:pt x="30" y="391"/>
                      <a:pt x="28" y="391"/>
                    </a:cubicBezTo>
                    <a:cubicBezTo>
                      <a:pt x="27" y="390"/>
                      <a:pt x="25" y="393"/>
                      <a:pt x="25" y="394"/>
                    </a:cubicBezTo>
                    <a:cubicBezTo>
                      <a:pt x="24" y="396"/>
                      <a:pt x="23" y="401"/>
                      <a:pt x="24" y="401"/>
                    </a:cubicBezTo>
                    <a:cubicBezTo>
                      <a:pt x="25" y="401"/>
                      <a:pt x="25" y="404"/>
                      <a:pt x="25" y="404"/>
                    </a:cubicBezTo>
                    <a:cubicBezTo>
                      <a:pt x="23" y="405"/>
                      <a:pt x="23" y="405"/>
                      <a:pt x="23" y="405"/>
                    </a:cubicBezTo>
                    <a:cubicBezTo>
                      <a:pt x="24" y="411"/>
                      <a:pt x="24" y="411"/>
                      <a:pt x="24" y="411"/>
                    </a:cubicBezTo>
                    <a:cubicBezTo>
                      <a:pt x="27" y="412"/>
                      <a:pt x="27" y="412"/>
                      <a:pt x="27" y="412"/>
                    </a:cubicBezTo>
                    <a:cubicBezTo>
                      <a:pt x="27" y="416"/>
                      <a:pt x="27" y="416"/>
                      <a:pt x="27" y="416"/>
                    </a:cubicBezTo>
                    <a:cubicBezTo>
                      <a:pt x="28" y="421"/>
                      <a:pt x="28" y="421"/>
                      <a:pt x="28" y="421"/>
                    </a:cubicBezTo>
                    <a:cubicBezTo>
                      <a:pt x="28" y="421"/>
                      <a:pt x="32" y="425"/>
                      <a:pt x="32" y="426"/>
                    </a:cubicBezTo>
                    <a:cubicBezTo>
                      <a:pt x="32" y="428"/>
                      <a:pt x="31" y="433"/>
                      <a:pt x="29" y="433"/>
                    </a:cubicBezTo>
                    <a:cubicBezTo>
                      <a:pt x="26" y="434"/>
                      <a:pt x="28" y="436"/>
                      <a:pt x="28" y="437"/>
                    </a:cubicBezTo>
                    <a:cubicBezTo>
                      <a:pt x="29" y="438"/>
                      <a:pt x="32" y="442"/>
                      <a:pt x="34" y="443"/>
                    </a:cubicBezTo>
                    <a:cubicBezTo>
                      <a:pt x="37" y="443"/>
                      <a:pt x="40" y="450"/>
                      <a:pt x="40" y="450"/>
                    </a:cubicBezTo>
                    <a:cubicBezTo>
                      <a:pt x="42" y="454"/>
                      <a:pt x="42" y="454"/>
                      <a:pt x="42" y="454"/>
                    </a:cubicBezTo>
                    <a:cubicBezTo>
                      <a:pt x="42" y="454"/>
                      <a:pt x="40" y="461"/>
                      <a:pt x="39" y="462"/>
                    </a:cubicBezTo>
                    <a:cubicBezTo>
                      <a:pt x="38" y="463"/>
                      <a:pt x="33" y="472"/>
                      <a:pt x="30" y="475"/>
                    </a:cubicBezTo>
                    <a:cubicBezTo>
                      <a:pt x="27" y="477"/>
                      <a:pt x="19" y="488"/>
                      <a:pt x="19" y="488"/>
                    </a:cubicBezTo>
                    <a:cubicBezTo>
                      <a:pt x="13" y="495"/>
                      <a:pt x="13" y="495"/>
                      <a:pt x="13" y="495"/>
                    </a:cubicBezTo>
                    <a:cubicBezTo>
                      <a:pt x="4" y="504"/>
                      <a:pt x="4" y="504"/>
                      <a:pt x="4" y="504"/>
                    </a:cubicBezTo>
                    <a:cubicBezTo>
                      <a:pt x="11" y="502"/>
                      <a:pt x="11" y="502"/>
                      <a:pt x="11" y="502"/>
                    </a:cubicBezTo>
                    <a:cubicBezTo>
                      <a:pt x="11" y="502"/>
                      <a:pt x="14" y="503"/>
                      <a:pt x="14" y="504"/>
                    </a:cubicBezTo>
                    <a:cubicBezTo>
                      <a:pt x="14" y="505"/>
                      <a:pt x="15" y="509"/>
                      <a:pt x="15" y="511"/>
                    </a:cubicBezTo>
                    <a:cubicBezTo>
                      <a:pt x="16" y="512"/>
                      <a:pt x="20" y="511"/>
                      <a:pt x="20" y="511"/>
                    </a:cubicBezTo>
                    <a:cubicBezTo>
                      <a:pt x="27" y="513"/>
                      <a:pt x="27" y="513"/>
                      <a:pt x="27" y="513"/>
                    </a:cubicBezTo>
                    <a:cubicBezTo>
                      <a:pt x="27" y="513"/>
                      <a:pt x="31" y="516"/>
                      <a:pt x="29" y="516"/>
                    </a:cubicBezTo>
                    <a:cubicBezTo>
                      <a:pt x="28" y="515"/>
                      <a:pt x="24" y="515"/>
                      <a:pt x="19" y="513"/>
                    </a:cubicBezTo>
                    <a:cubicBezTo>
                      <a:pt x="14" y="511"/>
                      <a:pt x="18" y="516"/>
                      <a:pt x="18" y="516"/>
                    </a:cubicBezTo>
                    <a:cubicBezTo>
                      <a:pt x="13" y="517"/>
                      <a:pt x="13" y="517"/>
                      <a:pt x="13" y="517"/>
                    </a:cubicBezTo>
                    <a:cubicBezTo>
                      <a:pt x="12" y="519"/>
                      <a:pt x="12" y="519"/>
                      <a:pt x="12" y="519"/>
                    </a:cubicBezTo>
                    <a:cubicBezTo>
                      <a:pt x="8" y="518"/>
                      <a:pt x="8" y="518"/>
                      <a:pt x="8" y="518"/>
                    </a:cubicBezTo>
                    <a:cubicBezTo>
                      <a:pt x="10" y="525"/>
                      <a:pt x="10" y="525"/>
                      <a:pt x="10" y="525"/>
                    </a:cubicBezTo>
                    <a:cubicBezTo>
                      <a:pt x="7" y="528"/>
                      <a:pt x="7" y="528"/>
                      <a:pt x="7" y="528"/>
                    </a:cubicBezTo>
                    <a:cubicBezTo>
                      <a:pt x="4" y="533"/>
                      <a:pt x="4" y="533"/>
                      <a:pt x="4" y="533"/>
                    </a:cubicBezTo>
                    <a:cubicBezTo>
                      <a:pt x="5" y="542"/>
                      <a:pt x="5" y="542"/>
                      <a:pt x="5" y="542"/>
                    </a:cubicBezTo>
                    <a:cubicBezTo>
                      <a:pt x="5" y="542"/>
                      <a:pt x="4" y="545"/>
                      <a:pt x="3" y="546"/>
                    </a:cubicBezTo>
                    <a:cubicBezTo>
                      <a:pt x="2" y="547"/>
                      <a:pt x="5" y="555"/>
                      <a:pt x="5" y="555"/>
                    </a:cubicBezTo>
                    <a:cubicBezTo>
                      <a:pt x="3" y="555"/>
                      <a:pt x="3" y="555"/>
                      <a:pt x="3" y="555"/>
                    </a:cubicBezTo>
                    <a:cubicBezTo>
                      <a:pt x="0" y="560"/>
                      <a:pt x="0" y="560"/>
                      <a:pt x="0" y="560"/>
                    </a:cubicBezTo>
                    <a:cubicBezTo>
                      <a:pt x="3" y="561"/>
                      <a:pt x="3" y="561"/>
                      <a:pt x="3" y="561"/>
                    </a:cubicBezTo>
                    <a:cubicBezTo>
                      <a:pt x="6" y="565"/>
                      <a:pt x="6" y="565"/>
                      <a:pt x="6" y="565"/>
                    </a:cubicBezTo>
                    <a:cubicBezTo>
                      <a:pt x="4" y="570"/>
                      <a:pt x="4" y="570"/>
                      <a:pt x="4" y="570"/>
                    </a:cubicBezTo>
                    <a:cubicBezTo>
                      <a:pt x="6" y="573"/>
                      <a:pt x="6" y="573"/>
                      <a:pt x="6" y="573"/>
                    </a:cubicBezTo>
                    <a:cubicBezTo>
                      <a:pt x="9" y="579"/>
                      <a:pt x="9" y="579"/>
                      <a:pt x="9" y="579"/>
                    </a:cubicBezTo>
                    <a:cubicBezTo>
                      <a:pt x="9" y="584"/>
                      <a:pt x="9" y="584"/>
                      <a:pt x="9" y="584"/>
                    </a:cubicBezTo>
                    <a:cubicBezTo>
                      <a:pt x="11" y="585"/>
                      <a:pt x="11" y="585"/>
                      <a:pt x="11" y="585"/>
                    </a:cubicBezTo>
                    <a:cubicBezTo>
                      <a:pt x="14" y="588"/>
                      <a:pt x="14" y="588"/>
                      <a:pt x="14" y="588"/>
                    </a:cubicBezTo>
                    <a:cubicBezTo>
                      <a:pt x="17" y="587"/>
                      <a:pt x="17" y="587"/>
                      <a:pt x="17" y="587"/>
                    </a:cubicBezTo>
                    <a:cubicBezTo>
                      <a:pt x="17" y="587"/>
                      <a:pt x="22" y="588"/>
                      <a:pt x="21" y="589"/>
                    </a:cubicBezTo>
                    <a:cubicBezTo>
                      <a:pt x="20" y="590"/>
                      <a:pt x="22" y="593"/>
                      <a:pt x="22" y="593"/>
                    </a:cubicBezTo>
                    <a:cubicBezTo>
                      <a:pt x="22" y="593"/>
                      <a:pt x="27" y="591"/>
                      <a:pt x="29" y="591"/>
                    </a:cubicBezTo>
                    <a:cubicBezTo>
                      <a:pt x="30" y="591"/>
                      <a:pt x="34" y="594"/>
                      <a:pt x="34" y="594"/>
                    </a:cubicBezTo>
                    <a:cubicBezTo>
                      <a:pt x="36" y="596"/>
                      <a:pt x="36" y="596"/>
                      <a:pt x="36" y="596"/>
                    </a:cubicBezTo>
                    <a:cubicBezTo>
                      <a:pt x="36" y="596"/>
                      <a:pt x="36" y="602"/>
                      <a:pt x="36" y="603"/>
                    </a:cubicBezTo>
                    <a:cubicBezTo>
                      <a:pt x="36" y="604"/>
                      <a:pt x="34" y="607"/>
                      <a:pt x="34" y="607"/>
                    </a:cubicBezTo>
                    <a:cubicBezTo>
                      <a:pt x="38" y="610"/>
                      <a:pt x="38" y="610"/>
                      <a:pt x="38" y="610"/>
                    </a:cubicBezTo>
                    <a:cubicBezTo>
                      <a:pt x="39" y="617"/>
                      <a:pt x="39" y="617"/>
                      <a:pt x="39" y="617"/>
                    </a:cubicBezTo>
                    <a:cubicBezTo>
                      <a:pt x="45" y="621"/>
                      <a:pt x="45" y="621"/>
                      <a:pt x="45" y="621"/>
                    </a:cubicBezTo>
                    <a:cubicBezTo>
                      <a:pt x="45" y="625"/>
                      <a:pt x="45" y="625"/>
                      <a:pt x="45" y="625"/>
                    </a:cubicBezTo>
                    <a:cubicBezTo>
                      <a:pt x="49" y="625"/>
                      <a:pt x="49" y="625"/>
                      <a:pt x="49" y="625"/>
                    </a:cubicBezTo>
                    <a:cubicBezTo>
                      <a:pt x="51" y="630"/>
                      <a:pt x="51" y="630"/>
                      <a:pt x="51" y="630"/>
                    </a:cubicBezTo>
                    <a:cubicBezTo>
                      <a:pt x="51" y="630"/>
                      <a:pt x="55" y="632"/>
                      <a:pt x="53" y="633"/>
                    </a:cubicBezTo>
                    <a:cubicBezTo>
                      <a:pt x="50" y="635"/>
                      <a:pt x="49" y="637"/>
                      <a:pt x="47" y="638"/>
                    </a:cubicBezTo>
                    <a:cubicBezTo>
                      <a:pt x="45" y="638"/>
                      <a:pt x="44" y="636"/>
                      <a:pt x="43" y="635"/>
                    </a:cubicBezTo>
                    <a:cubicBezTo>
                      <a:pt x="41" y="635"/>
                      <a:pt x="39" y="638"/>
                      <a:pt x="40" y="639"/>
                    </a:cubicBezTo>
                    <a:cubicBezTo>
                      <a:pt x="40" y="640"/>
                      <a:pt x="42" y="642"/>
                      <a:pt x="43" y="645"/>
                    </a:cubicBezTo>
                    <a:cubicBezTo>
                      <a:pt x="43" y="647"/>
                      <a:pt x="44" y="652"/>
                      <a:pt x="44" y="652"/>
                    </a:cubicBezTo>
                    <a:cubicBezTo>
                      <a:pt x="44" y="652"/>
                      <a:pt x="47" y="654"/>
                      <a:pt x="48" y="654"/>
                    </a:cubicBezTo>
                    <a:cubicBezTo>
                      <a:pt x="49" y="654"/>
                      <a:pt x="50" y="653"/>
                      <a:pt x="50" y="650"/>
                    </a:cubicBezTo>
                    <a:cubicBezTo>
                      <a:pt x="51" y="647"/>
                      <a:pt x="54" y="651"/>
                      <a:pt x="56" y="650"/>
                    </a:cubicBezTo>
                    <a:cubicBezTo>
                      <a:pt x="57" y="650"/>
                      <a:pt x="62" y="649"/>
                      <a:pt x="64" y="649"/>
                    </a:cubicBezTo>
                    <a:cubicBezTo>
                      <a:pt x="66" y="650"/>
                      <a:pt x="70" y="659"/>
                      <a:pt x="70" y="659"/>
                    </a:cubicBezTo>
                    <a:cubicBezTo>
                      <a:pt x="70" y="659"/>
                      <a:pt x="68" y="661"/>
                      <a:pt x="69" y="662"/>
                    </a:cubicBezTo>
                    <a:cubicBezTo>
                      <a:pt x="69" y="663"/>
                      <a:pt x="71" y="666"/>
                      <a:pt x="71" y="666"/>
                    </a:cubicBezTo>
                    <a:cubicBezTo>
                      <a:pt x="77" y="668"/>
                      <a:pt x="77" y="668"/>
                      <a:pt x="77" y="668"/>
                    </a:cubicBezTo>
                    <a:cubicBezTo>
                      <a:pt x="77" y="668"/>
                      <a:pt x="80" y="672"/>
                      <a:pt x="80" y="673"/>
                    </a:cubicBezTo>
                    <a:cubicBezTo>
                      <a:pt x="80" y="675"/>
                      <a:pt x="81" y="679"/>
                      <a:pt x="81" y="679"/>
                    </a:cubicBezTo>
                    <a:cubicBezTo>
                      <a:pt x="81" y="679"/>
                      <a:pt x="84" y="680"/>
                      <a:pt x="86" y="679"/>
                    </a:cubicBezTo>
                    <a:cubicBezTo>
                      <a:pt x="88" y="678"/>
                      <a:pt x="92" y="682"/>
                      <a:pt x="92" y="682"/>
                    </a:cubicBezTo>
                    <a:cubicBezTo>
                      <a:pt x="97" y="680"/>
                      <a:pt x="97" y="680"/>
                      <a:pt x="97" y="680"/>
                    </a:cubicBezTo>
                    <a:cubicBezTo>
                      <a:pt x="97" y="680"/>
                      <a:pt x="100" y="679"/>
                      <a:pt x="101" y="681"/>
                    </a:cubicBezTo>
                    <a:cubicBezTo>
                      <a:pt x="101" y="682"/>
                      <a:pt x="104" y="686"/>
                      <a:pt x="104" y="686"/>
                    </a:cubicBezTo>
                    <a:cubicBezTo>
                      <a:pt x="108" y="685"/>
                      <a:pt x="108" y="685"/>
                      <a:pt x="108" y="685"/>
                    </a:cubicBezTo>
                    <a:cubicBezTo>
                      <a:pt x="112" y="687"/>
                      <a:pt x="112" y="687"/>
                      <a:pt x="112" y="687"/>
                    </a:cubicBezTo>
                    <a:cubicBezTo>
                      <a:pt x="112" y="687"/>
                      <a:pt x="115" y="689"/>
                      <a:pt x="117" y="688"/>
                    </a:cubicBezTo>
                    <a:cubicBezTo>
                      <a:pt x="119" y="686"/>
                      <a:pt x="118" y="689"/>
                      <a:pt x="118" y="689"/>
                    </a:cubicBezTo>
                    <a:cubicBezTo>
                      <a:pt x="123" y="692"/>
                      <a:pt x="123" y="692"/>
                      <a:pt x="123" y="692"/>
                    </a:cubicBezTo>
                    <a:cubicBezTo>
                      <a:pt x="126" y="692"/>
                      <a:pt x="126" y="692"/>
                      <a:pt x="126" y="692"/>
                    </a:cubicBezTo>
                    <a:cubicBezTo>
                      <a:pt x="126" y="692"/>
                      <a:pt x="127" y="695"/>
                      <a:pt x="126" y="697"/>
                    </a:cubicBezTo>
                    <a:cubicBezTo>
                      <a:pt x="126" y="699"/>
                      <a:pt x="123" y="701"/>
                      <a:pt x="123" y="701"/>
                    </a:cubicBezTo>
                    <a:cubicBezTo>
                      <a:pt x="122" y="704"/>
                      <a:pt x="122" y="704"/>
                      <a:pt x="122" y="704"/>
                    </a:cubicBezTo>
                    <a:cubicBezTo>
                      <a:pt x="123" y="709"/>
                      <a:pt x="123" y="709"/>
                      <a:pt x="123" y="709"/>
                    </a:cubicBezTo>
                    <a:cubicBezTo>
                      <a:pt x="123" y="709"/>
                      <a:pt x="126" y="712"/>
                      <a:pt x="124" y="713"/>
                    </a:cubicBezTo>
                    <a:cubicBezTo>
                      <a:pt x="122" y="714"/>
                      <a:pt x="123" y="717"/>
                      <a:pt x="122" y="718"/>
                    </a:cubicBezTo>
                    <a:cubicBezTo>
                      <a:pt x="121" y="719"/>
                      <a:pt x="115" y="717"/>
                      <a:pt x="114" y="717"/>
                    </a:cubicBezTo>
                    <a:cubicBezTo>
                      <a:pt x="113" y="718"/>
                      <a:pt x="108" y="723"/>
                      <a:pt x="108" y="723"/>
                    </a:cubicBezTo>
                    <a:cubicBezTo>
                      <a:pt x="107" y="729"/>
                      <a:pt x="107" y="729"/>
                      <a:pt x="107" y="729"/>
                    </a:cubicBezTo>
                    <a:cubicBezTo>
                      <a:pt x="113" y="727"/>
                      <a:pt x="113" y="727"/>
                      <a:pt x="113" y="727"/>
                    </a:cubicBezTo>
                    <a:cubicBezTo>
                      <a:pt x="118" y="729"/>
                      <a:pt x="118" y="729"/>
                      <a:pt x="118" y="729"/>
                    </a:cubicBezTo>
                    <a:cubicBezTo>
                      <a:pt x="118" y="729"/>
                      <a:pt x="118" y="731"/>
                      <a:pt x="114" y="731"/>
                    </a:cubicBezTo>
                    <a:cubicBezTo>
                      <a:pt x="110" y="731"/>
                      <a:pt x="112" y="732"/>
                      <a:pt x="110" y="734"/>
                    </a:cubicBezTo>
                    <a:cubicBezTo>
                      <a:pt x="108" y="736"/>
                      <a:pt x="104" y="735"/>
                      <a:pt x="104" y="735"/>
                    </a:cubicBezTo>
                    <a:cubicBezTo>
                      <a:pt x="104" y="735"/>
                      <a:pt x="104" y="738"/>
                      <a:pt x="106" y="739"/>
                    </a:cubicBezTo>
                    <a:cubicBezTo>
                      <a:pt x="108" y="740"/>
                      <a:pt x="110" y="742"/>
                      <a:pt x="110" y="742"/>
                    </a:cubicBezTo>
                    <a:cubicBezTo>
                      <a:pt x="110" y="742"/>
                      <a:pt x="108" y="744"/>
                      <a:pt x="106" y="744"/>
                    </a:cubicBezTo>
                    <a:cubicBezTo>
                      <a:pt x="105" y="744"/>
                      <a:pt x="104" y="748"/>
                      <a:pt x="103" y="748"/>
                    </a:cubicBezTo>
                    <a:cubicBezTo>
                      <a:pt x="101" y="748"/>
                      <a:pt x="102" y="752"/>
                      <a:pt x="100" y="753"/>
                    </a:cubicBezTo>
                    <a:cubicBezTo>
                      <a:pt x="98" y="754"/>
                      <a:pt x="93" y="754"/>
                      <a:pt x="93" y="754"/>
                    </a:cubicBezTo>
                    <a:cubicBezTo>
                      <a:pt x="93" y="754"/>
                      <a:pt x="94" y="756"/>
                      <a:pt x="96" y="757"/>
                    </a:cubicBezTo>
                    <a:cubicBezTo>
                      <a:pt x="98" y="758"/>
                      <a:pt x="99" y="761"/>
                      <a:pt x="100" y="762"/>
                    </a:cubicBezTo>
                    <a:cubicBezTo>
                      <a:pt x="100" y="763"/>
                      <a:pt x="104" y="765"/>
                      <a:pt x="107" y="766"/>
                    </a:cubicBezTo>
                    <a:cubicBezTo>
                      <a:pt x="110" y="766"/>
                      <a:pt x="113" y="769"/>
                      <a:pt x="115" y="770"/>
                    </a:cubicBezTo>
                    <a:cubicBezTo>
                      <a:pt x="117" y="771"/>
                      <a:pt x="125" y="781"/>
                      <a:pt x="125" y="781"/>
                    </a:cubicBezTo>
                    <a:cubicBezTo>
                      <a:pt x="125" y="781"/>
                      <a:pt x="127" y="778"/>
                      <a:pt x="130" y="779"/>
                    </a:cubicBezTo>
                    <a:cubicBezTo>
                      <a:pt x="132" y="779"/>
                      <a:pt x="138" y="781"/>
                      <a:pt x="139" y="782"/>
                    </a:cubicBezTo>
                    <a:cubicBezTo>
                      <a:pt x="140" y="783"/>
                      <a:pt x="148" y="783"/>
                      <a:pt x="151" y="784"/>
                    </a:cubicBezTo>
                    <a:cubicBezTo>
                      <a:pt x="153" y="785"/>
                      <a:pt x="158" y="787"/>
                      <a:pt x="159" y="788"/>
                    </a:cubicBezTo>
                    <a:cubicBezTo>
                      <a:pt x="160" y="790"/>
                      <a:pt x="163" y="792"/>
                      <a:pt x="164" y="791"/>
                    </a:cubicBezTo>
                    <a:cubicBezTo>
                      <a:pt x="166" y="790"/>
                      <a:pt x="171" y="791"/>
                      <a:pt x="172" y="790"/>
                    </a:cubicBezTo>
                    <a:cubicBezTo>
                      <a:pt x="172" y="788"/>
                      <a:pt x="175" y="790"/>
                      <a:pt x="176" y="791"/>
                    </a:cubicBezTo>
                    <a:cubicBezTo>
                      <a:pt x="177" y="792"/>
                      <a:pt x="181" y="793"/>
                      <a:pt x="181" y="793"/>
                    </a:cubicBezTo>
                    <a:cubicBezTo>
                      <a:pt x="180" y="796"/>
                      <a:pt x="180" y="796"/>
                      <a:pt x="180" y="796"/>
                    </a:cubicBezTo>
                    <a:cubicBezTo>
                      <a:pt x="184" y="799"/>
                      <a:pt x="184" y="799"/>
                      <a:pt x="184" y="799"/>
                    </a:cubicBezTo>
                    <a:cubicBezTo>
                      <a:pt x="184" y="799"/>
                      <a:pt x="189" y="801"/>
                      <a:pt x="191" y="802"/>
                    </a:cubicBezTo>
                    <a:cubicBezTo>
                      <a:pt x="192" y="803"/>
                      <a:pt x="196" y="806"/>
                      <a:pt x="197" y="808"/>
                    </a:cubicBezTo>
                    <a:cubicBezTo>
                      <a:pt x="197" y="811"/>
                      <a:pt x="202" y="809"/>
                      <a:pt x="202" y="809"/>
                    </a:cubicBezTo>
                    <a:cubicBezTo>
                      <a:pt x="202" y="809"/>
                      <a:pt x="205" y="806"/>
                      <a:pt x="206" y="805"/>
                    </a:cubicBezTo>
                    <a:cubicBezTo>
                      <a:pt x="208" y="804"/>
                      <a:pt x="209" y="801"/>
                      <a:pt x="209" y="801"/>
                    </a:cubicBezTo>
                    <a:cubicBezTo>
                      <a:pt x="209" y="801"/>
                      <a:pt x="205" y="796"/>
                      <a:pt x="204" y="795"/>
                    </a:cubicBezTo>
                    <a:cubicBezTo>
                      <a:pt x="204" y="794"/>
                      <a:pt x="200" y="788"/>
                      <a:pt x="199" y="786"/>
                    </a:cubicBezTo>
                    <a:cubicBezTo>
                      <a:pt x="198" y="783"/>
                      <a:pt x="198" y="777"/>
                      <a:pt x="198" y="777"/>
                    </a:cubicBezTo>
                    <a:cubicBezTo>
                      <a:pt x="198" y="777"/>
                      <a:pt x="195" y="767"/>
                      <a:pt x="194" y="767"/>
                    </a:cubicBezTo>
                    <a:cubicBezTo>
                      <a:pt x="193" y="767"/>
                      <a:pt x="191" y="766"/>
                      <a:pt x="191" y="765"/>
                    </a:cubicBezTo>
                    <a:cubicBezTo>
                      <a:pt x="190" y="763"/>
                      <a:pt x="195" y="762"/>
                      <a:pt x="195" y="762"/>
                    </a:cubicBezTo>
                    <a:cubicBezTo>
                      <a:pt x="195" y="762"/>
                      <a:pt x="195" y="759"/>
                      <a:pt x="196" y="758"/>
                    </a:cubicBezTo>
                    <a:cubicBezTo>
                      <a:pt x="197" y="756"/>
                      <a:pt x="199" y="750"/>
                      <a:pt x="199" y="750"/>
                    </a:cubicBezTo>
                    <a:cubicBezTo>
                      <a:pt x="199" y="750"/>
                      <a:pt x="204" y="750"/>
                      <a:pt x="206" y="749"/>
                    </a:cubicBezTo>
                    <a:cubicBezTo>
                      <a:pt x="207" y="749"/>
                      <a:pt x="208" y="749"/>
                      <a:pt x="211" y="745"/>
                    </a:cubicBezTo>
                    <a:cubicBezTo>
                      <a:pt x="214" y="741"/>
                      <a:pt x="215" y="740"/>
                      <a:pt x="215" y="740"/>
                    </a:cubicBezTo>
                    <a:cubicBezTo>
                      <a:pt x="215" y="740"/>
                      <a:pt x="213" y="738"/>
                      <a:pt x="211" y="737"/>
                    </a:cubicBezTo>
                    <a:cubicBezTo>
                      <a:pt x="210" y="736"/>
                      <a:pt x="209" y="733"/>
                      <a:pt x="210" y="734"/>
                    </a:cubicBezTo>
                    <a:cubicBezTo>
                      <a:pt x="211" y="734"/>
                      <a:pt x="213" y="735"/>
                      <a:pt x="213" y="734"/>
                    </a:cubicBezTo>
                    <a:cubicBezTo>
                      <a:pt x="214" y="733"/>
                      <a:pt x="210" y="727"/>
                      <a:pt x="210" y="725"/>
                    </a:cubicBezTo>
                    <a:cubicBezTo>
                      <a:pt x="210" y="723"/>
                      <a:pt x="206" y="722"/>
                      <a:pt x="205" y="720"/>
                    </a:cubicBezTo>
                    <a:cubicBezTo>
                      <a:pt x="205" y="718"/>
                      <a:pt x="199" y="719"/>
                      <a:pt x="197" y="720"/>
                    </a:cubicBezTo>
                    <a:cubicBezTo>
                      <a:pt x="195" y="721"/>
                      <a:pt x="195" y="717"/>
                      <a:pt x="195" y="716"/>
                    </a:cubicBezTo>
                    <a:cubicBezTo>
                      <a:pt x="195" y="715"/>
                      <a:pt x="194" y="712"/>
                      <a:pt x="192" y="711"/>
                    </a:cubicBezTo>
                    <a:cubicBezTo>
                      <a:pt x="191" y="710"/>
                      <a:pt x="189" y="709"/>
                      <a:pt x="189" y="707"/>
                    </a:cubicBezTo>
                    <a:cubicBezTo>
                      <a:pt x="190" y="705"/>
                      <a:pt x="194" y="701"/>
                      <a:pt x="194" y="700"/>
                    </a:cubicBezTo>
                    <a:cubicBezTo>
                      <a:pt x="193" y="699"/>
                      <a:pt x="192" y="696"/>
                      <a:pt x="192" y="695"/>
                    </a:cubicBezTo>
                    <a:cubicBezTo>
                      <a:pt x="193" y="693"/>
                      <a:pt x="193" y="688"/>
                      <a:pt x="194" y="688"/>
                    </a:cubicBezTo>
                    <a:cubicBezTo>
                      <a:pt x="195" y="687"/>
                      <a:pt x="197" y="687"/>
                      <a:pt x="198" y="683"/>
                    </a:cubicBezTo>
                    <a:cubicBezTo>
                      <a:pt x="199" y="680"/>
                      <a:pt x="198" y="679"/>
                      <a:pt x="201" y="680"/>
                    </a:cubicBezTo>
                    <a:cubicBezTo>
                      <a:pt x="204" y="681"/>
                      <a:pt x="207" y="688"/>
                      <a:pt x="207" y="688"/>
                    </a:cubicBezTo>
                    <a:cubicBezTo>
                      <a:pt x="207" y="688"/>
                      <a:pt x="210" y="687"/>
                      <a:pt x="211" y="686"/>
                    </a:cubicBezTo>
                    <a:cubicBezTo>
                      <a:pt x="213" y="685"/>
                      <a:pt x="211" y="684"/>
                      <a:pt x="211" y="683"/>
                    </a:cubicBezTo>
                    <a:cubicBezTo>
                      <a:pt x="210" y="682"/>
                      <a:pt x="210" y="676"/>
                      <a:pt x="211" y="676"/>
                    </a:cubicBezTo>
                    <a:cubicBezTo>
                      <a:pt x="212" y="676"/>
                      <a:pt x="214" y="673"/>
                      <a:pt x="215" y="673"/>
                    </a:cubicBezTo>
                    <a:cubicBezTo>
                      <a:pt x="217" y="673"/>
                      <a:pt x="217" y="672"/>
                      <a:pt x="217" y="670"/>
                    </a:cubicBezTo>
                    <a:cubicBezTo>
                      <a:pt x="217" y="668"/>
                      <a:pt x="220" y="669"/>
                      <a:pt x="221" y="668"/>
                    </a:cubicBezTo>
                    <a:cubicBezTo>
                      <a:pt x="222" y="667"/>
                      <a:pt x="226" y="666"/>
                      <a:pt x="229" y="663"/>
                    </a:cubicBezTo>
                    <a:cubicBezTo>
                      <a:pt x="231" y="661"/>
                      <a:pt x="231" y="659"/>
                      <a:pt x="231" y="659"/>
                    </a:cubicBezTo>
                    <a:cubicBezTo>
                      <a:pt x="231" y="659"/>
                      <a:pt x="237" y="659"/>
                      <a:pt x="236" y="660"/>
                    </a:cubicBezTo>
                    <a:cubicBezTo>
                      <a:pt x="235" y="661"/>
                      <a:pt x="237" y="663"/>
                      <a:pt x="238" y="664"/>
                    </a:cubicBezTo>
                    <a:cubicBezTo>
                      <a:pt x="238" y="666"/>
                      <a:pt x="240" y="661"/>
                      <a:pt x="240" y="661"/>
                    </a:cubicBezTo>
                    <a:cubicBezTo>
                      <a:pt x="245" y="658"/>
                      <a:pt x="245" y="658"/>
                      <a:pt x="245" y="658"/>
                    </a:cubicBezTo>
                    <a:cubicBezTo>
                      <a:pt x="249" y="662"/>
                      <a:pt x="249" y="662"/>
                      <a:pt x="249" y="662"/>
                    </a:cubicBezTo>
                    <a:cubicBezTo>
                      <a:pt x="249" y="662"/>
                      <a:pt x="252" y="663"/>
                      <a:pt x="254" y="663"/>
                    </a:cubicBezTo>
                    <a:cubicBezTo>
                      <a:pt x="256" y="663"/>
                      <a:pt x="260" y="665"/>
                      <a:pt x="259" y="666"/>
                    </a:cubicBezTo>
                    <a:cubicBezTo>
                      <a:pt x="258" y="667"/>
                      <a:pt x="263" y="667"/>
                      <a:pt x="263" y="668"/>
                    </a:cubicBezTo>
                    <a:cubicBezTo>
                      <a:pt x="264" y="669"/>
                      <a:pt x="267" y="673"/>
                      <a:pt x="267" y="673"/>
                    </a:cubicBezTo>
                    <a:cubicBezTo>
                      <a:pt x="267" y="673"/>
                      <a:pt x="267" y="677"/>
                      <a:pt x="268" y="677"/>
                    </a:cubicBezTo>
                    <a:cubicBezTo>
                      <a:pt x="269" y="677"/>
                      <a:pt x="270" y="673"/>
                      <a:pt x="270" y="673"/>
                    </a:cubicBezTo>
                    <a:cubicBezTo>
                      <a:pt x="273" y="673"/>
                      <a:pt x="273" y="673"/>
                      <a:pt x="273" y="673"/>
                    </a:cubicBezTo>
                    <a:cubicBezTo>
                      <a:pt x="279" y="677"/>
                      <a:pt x="279" y="677"/>
                      <a:pt x="279" y="677"/>
                    </a:cubicBezTo>
                    <a:cubicBezTo>
                      <a:pt x="284" y="673"/>
                      <a:pt x="284" y="673"/>
                      <a:pt x="284" y="673"/>
                    </a:cubicBezTo>
                    <a:cubicBezTo>
                      <a:pt x="286" y="670"/>
                      <a:pt x="286" y="670"/>
                      <a:pt x="286" y="670"/>
                    </a:cubicBezTo>
                    <a:cubicBezTo>
                      <a:pt x="289" y="672"/>
                      <a:pt x="289" y="672"/>
                      <a:pt x="289" y="672"/>
                    </a:cubicBezTo>
                    <a:cubicBezTo>
                      <a:pt x="290" y="669"/>
                      <a:pt x="290" y="669"/>
                      <a:pt x="290" y="669"/>
                    </a:cubicBezTo>
                    <a:cubicBezTo>
                      <a:pt x="290" y="669"/>
                      <a:pt x="293" y="669"/>
                      <a:pt x="294" y="670"/>
                    </a:cubicBezTo>
                    <a:cubicBezTo>
                      <a:pt x="294" y="671"/>
                      <a:pt x="297" y="672"/>
                      <a:pt x="299" y="671"/>
                    </a:cubicBezTo>
                    <a:cubicBezTo>
                      <a:pt x="300" y="671"/>
                      <a:pt x="300" y="669"/>
                      <a:pt x="300" y="669"/>
                    </a:cubicBezTo>
                    <a:cubicBezTo>
                      <a:pt x="303" y="668"/>
                      <a:pt x="303" y="668"/>
                      <a:pt x="303" y="668"/>
                    </a:cubicBezTo>
                    <a:cubicBezTo>
                      <a:pt x="303" y="668"/>
                      <a:pt x="307" y="670"/>
                      <a:pt x="308" y="673"/>
                    </a:cubicBezTo>
                    <a:cubicBezTo>
                      <a:pt x="308" y="676"/>
                      <a:pt x="312" y="676"/>
                      <a:pt x="314" y="676"/>
                    </a:cubicBezTo>
                    <a:cubicBezTo>
                      <a:pt x="316" y="676"/>
                      <a:pt x="316" y="677"/>
                      <a:pt x="317" y="679"/>
                    </a:cubicBezTo>
                    <a:cubicBezTo>
                      <a:pt x="318" y="680"/>
                      <a:pt x="320" y="676"/>
                      <a:pt x="320" y="676"/>
                    </a:cubicBezTo>
                    <a:cubicBezTo>
                      <a:pt x="323" y="673"/>
                      <a:pt x="323" y="673"/>
                      <a:pt x="323" y="673"/>
                    </a:cubicBezTo>
                    <a:cubicBezTo>
                      <a:pt x="323" y="673"/>
                      <a:pt x="326" y="676"/>
                      <a:pt x="331" y="676"/>
                    </a:cubicBezTo>
                    <a:cubicBezTo>
                      <a:pt x="336" y="676"/>
                      <a:pt x="336" y="673"/>
                      <a:pt x="336" y="671"/>
                    </a:cubicBezTo>
                    <a:cubicBezTo>
                      <a:pt x="337" y="668"/>
                      <a:pt x="336" y="665"/>
                      <a:pt x="336" y="665"/>
                    </a:cubicBezTo>
                    <a:cubicBezTo>
                      <a:pt x="336" y="665"/>
                      <a:pt x="334" y="663"/>
                      <a:pt x="332" y="663"/>
                    </a:cubicBezTo>
                    <a:cubicBezTo>
                      <a:pt x="331" y="663"/>
                      <a:pt x="329" y="661"/>
                      <a:pt x="327" y="661"/>
                    </a:cubicBezTo>
                    <a:cubicBezTo>
                      <a:pt x="325" y="661"/>
                      <a:pt x="327" y="658"/>
                      <a:pt x="327" y="658"/>
                    </a:cubicBezTo>
                    <a:cubicBezTo>
                      <a:pt x="327" y="658"/>
                      <a:pt x="323" y="656"/>
                      <a:pt x="322" y="655"/>
                    </a:cubicBezTo>
                    <a:cubicBezTo>
                      <a:pt x="321" y="654"/>
                      <a:pt x="332" y="649"/>
                      <a:pt x="332" y="649"/>
                    </a:cubicBezTo>
                    <a:cubicBezTo>
                      <a:pt x="329" y="643"/>
                      <a:pt x="329" y="643"/>
                      <a:pt x="329" y="643"/>
                    </a:cubicBezTo>
                    <a:cubicBezTo>
                      <a:pt x="329" y="643"/>
                      <a:pt x="331" y="641"/>
                      <a:pt x="333" y="639"/>
                    </a:cubicBezTo>
                    <a:cubicBezTo>
                      <a:pt x="335" y="637"/>
                      <a:pt x="338" y="639"/>
                      <a:pt x="339" y="639"/>
                    </a:cubicBezTo>
                    <a:cubicBezTo>
                      <a:pt x="340" y="639"/>
                      <a:pt x="343" y="638"/>
                      <a:pt x="342" y="637"/>
                    </a:cubicBezTo>
                    <a:cubicBezTo>
                      <a:pt x="342" y="636"/>
                      <a:pt x="337" y="635"/>
                      <a:pt x="336" y="635"/>
                    </a:cubicBezTo>
                    <a:cubicBezTo>
                      <a:pt x="335" y="635"/>
                      <a:pt x="333" y="631"/>
                      <a:pt x="333" y="631"/>
                    </a:cubicBezTo>
                    <a:cubicBezTo>
                      <a:pt x="337" y="629"/>
                      <a:pt x="337" y="629"/>
                      <a:pt x="337" y="629"/>
                    </a:cubicBezTo>
                    <a:cubicBezTo>
                      <a:pt x="337" y="629"/>
                      <a:pt x="334" y="628"/>
                      <a:pt x="331" y="628"/>
                    </a:cubicBezTo>
                    <a:cubicBezTo>
                      <a:pt x="328" y="628"/>
                      <a:pt x="333" y="625"/>
                      <a:pt x="333" y="625"/>
                    </a:cubicBezTo>
                    <a:cubicBezTo>
                      <a:pt x="331" y="623"/>
                      <a:pt x="331" y="623"/>
                      <a:pt x="331" y="623"/>
                    </a:cubicBezTo>
                    <a:cubicBezTo>
                      <a:pt x="335" y="621"/>
                      <a:pt x="335" y="621"/>
                      <a:pt x="335" y="621"/>
                    </a:cubicBezTo>
                    <a:cubicBezTo>
                      <a:pt x="340" y="622"/>
                      <a:pt x="340" y="622"/>
                      <a:pt x="340" y="622"/>
                    </a:cubicBezTo>
                    <a:cubicBezTo>
                      <a:pt x="340" y="622"/>
                      <a:pt x="345" y="622"/>
                      <a:pt x="346" y="623"/>
                    </a:cubicBezTo>
                    <a:cubicBezTo>
                      <a:pt x="347" y="624"/>
                      <a:pt x="349" y="621"/>
                      <a:pt x="351" y="620"/>
                    </a:cubicBezTo>
                    <a:cubicBezTo>
                      <a:pt x="352" y="619"/>
                      <a:pt x="359" y="617"/>
                      <a:pt x="361" y="616"/>
                    </a:cubicBezTo>
                    <a:cubicBezTo>
                      <a:pt x="364" y="616"/>
                      <a:pt x="371" y="615"/>
                      <a:pt x="371" y="616"/>
                    </a:cubicBezTo>
                    <a:cubicBezTo>
                      <a:pt x="372" y="617"/>
                      <a:pt x="373" y="616"/>
                      <a:pt x="373" y="614"/>
                    </a:cubicBezTo>
                    <a:cubicBezTo>
                      <a:pt x="372" y="612"/>
                      <a:pt x="375" y="611"/>
                      <a:pt x="378" y="611"/>
                    </a:cubicBezTo>
                    <a:cubicBezTo>
                      <a:pt x="380" y="611"/>
                      <a:pt x="384" y="611"/>
                      <a:pt x="386" y="610"/>
                    </a:cubicBezTo>
                    <a:cubicBezTo>
                      <a:pt x="388" y="610"/>
                      <a:pt x="396" y="607"/>
                      <a:pt x="397" y="607"/>
                    </a:cubicBezTo>
                    <a:cubicBezTo>
                      <a:pt x="398" y="606"/>
                      <a:pt x="401" y="605"/>
                      <a:pt x="403" y="603"/>
                    </a:cubicBezTo>
                    <a:cubicBezTo>
                      <a:pt x="404" y="601"/>
                      <a:pt x="406" y="603"/>
                      <a:pt x="408" y="601"/>
                    </a:cubicBezTo>
                    <a:cubicBezTo>
                      <a:pt x="409" y="600"/>
                      <a:pt x="411" y="599"/>
                      <a:pt x="413" y="600"/>
                    </a:cubicBezTo>
                    <a:cubicBezTo>
                      <a:pt x="415" y="600"/>
                      <a:pt x="418" y="600"/>
                      <a:pt x="420" y="602"/>
                    </a:cubicBezTo>
                    <a:cubicBezTo>
                      <a:pt x="422" y="604"/>
                      <a:pt x="423" y="603"/>
                      <a:pt x="425" y="601"/>
                    </a:cubicBezTo>
                    <a:cubicBezTo>
                      <a:pt x="426" y="600"/>
                      <a:pt x="428" y="601"/>
                      <a:pt x="429" y="603"/>
                    </a:cubicBezTo>
                    <a:cubicBezTo>
                      <a:pt x="430" y="605"/>
                      <a:pt x="430" y="610"/>
                      <a:pt x="431" y="611"/>
                    </a:cubicBezTo>
                    <a:cubicBezTo>
                      <a:pt x="433" y="612"/>
                      <a:pt x="432" y="615"/>
                      <a:pt x="431" y="617"/>
                    </a:cubicBezTo>
                    <a:cubicBezTo>
                      <a:pt x="429" y="618"/>
                      <a:pt x="430" y="619"/>
                      <a:pt x="432" y="620"/>
                    </a:cubicBezTo>
                    <a:cubicBezTo>
                      <a:pt x="433" y="621"/>
                      <a:pt x="437" y="618"/>
                      <a:pt x="437" y="618"/>
                    </a:cubicBezTo>
                    <a:cubicBezTo>
                      <a:pt x="437" y="618"/>
                      <a:pt x="439" y="617"/>
                      <a:pt x="440" y="616"/>
                    </a:cubicBezTo>
                    <a:cubicBezTo>
                      <a:pt x="440" y="615"/>
                      <a:pt x="442" y="619"/>
                      <a:pt x="442" y="620"/>
                    </a:cubicBezTo>
                    <a:cubicBezTo>
                      <a:pt x="443" y="621"/>
                      <a:pt x="446" y="623"/>
                      <a:pt x="446" y="623"/>
                    </a:cubicBezTo>
                    <a:cubicBezTo>
                      <a:pt x="446" y="623"/>
                      <a:pt x="446" y="623"/>
                      <a:pt x="445" y="620"/>
                    </a:cubicBezTo>
                    <a:cubicBezTo>
                      <a:pt x="444" y="618"/>
                      <a:pt x="450" y="621"/>
                      <a:pt x="451" y="622"/>
                    </a:cubicBezTo>
                    <a:cubicBezTo>
                      <a:pt x="453" y="623"/>
                      <a:pt x="454" y="622"/>
                      <a:pt x="455" y="621"/>
                    </a:cubicBezTo>
                    <a:cubicBezTo>
                      <a:pt x="457" y="619"/>
                      <a:pt x="456" y="624"/>
                      <a:pt x="456" y="624"/>
                    </a:cubicBezTo>
                    <a:cubicBezTo>
                      <a:pt x="456" y="624"/>
                      <a:pt x="453" y="626"/>
                      <a:pt x="452" y="627"/>
                    </a:cubicBezTo>
                    <a:cubicBezTo>
                      <a:pt x="451" y="629"/>
                      <a:pt x="454" y="632"/>
                      <a:pt x="454" y="630"/>
                    </a:cubicBezTo>
                    <a:cubicBezTo>
                      <a:pt x="454" y="629"/>
                      <a:pt x="459" y="629"/>
                      <a:pt x="459" y="629"/>
                    </a:cubicBezTo>
                    <a:cubicBezTo>
                      <a:pt x="463" y="631"/>
                      <a:pt x="463" y="631"/>
                      <a:pt x="463" y="631"/>
                    </a:cubicBezTo>
                    <a:cubicBezTo>
                      <a:pt x="463" y="631"/>
                      <a:pt x="465" y="627"/>
                      <a:pt x="466" y="626"/>
                    </a:cubicBezTo>
                    <a:cubicBezTo>
                      <a:pt x="467" y="624"/>
                      <a:pt x="472" y="623"/>
                      <a:pt x="472" y="623"/>
                    </a:cubicBezTo>
                    <a:cubicBezTo>
                      <a:pt x="472" y="623"/>
                      <a:pt x="474" y="620"/>
                      <a:pt x="475" y="620"/>
                    </a:cubicBezTo>
                    <a:cubicBezTo>
                      <a:pt x="477" y="620"/>
                      <a:pt x="482" y="616"/>
                      <a:pt x="482" y="616"/>
                    </a:cubicBezTo>
                    <a:cubicBezTo>
                      <a:pt x="487" y="615"/>
                      <a:pt x="487" y="615"/>
                      <a:pt x="487" y="615"/>
                    </a:cubicBezTo>
                    <a:cubicBezTo>
                      <a:pt x="486" y="619"/>
                      <a:pt x="486" y="619"/>
                      <a:pt x="486" y="619"/>
                    </a:cubicBezTo>
                    <a:cubicBezTo>
                      <a:pt x="484" y="621"/>
                      <a:pt x="484" y="621"/>
                      <a:pt x="484" y="621"/>
                    </a:cubicBezTo>
                    <a:cubicBezTo>
                      <a:pt x="484" y="621"/>
                      <a:pt x="495" y="632"/>
                      <a:pt x="497" y="634"/>
                    </a:cubicBezTo>
                    <a:cubicBezTo>
                      <a:pt x="498" y="635"/>
                      <a:pt x="508" y="651"/>
                      <a:pt x="508" y="653"/>
                    </a:cubicBezTo>
                    <a:cubicBezTo>
                      <a:pt x="508" y="655"/>
                      <a:pt x="518" y="674"/>
                      <a:pt x="518" y="674"/>
                    </a:cubicBezTo>
                    <a:cubicBezTo>
                      <a:pt x="518" y="674"/>
                      <a:pt x="522" y="671"/>
                      <a:pt x="523" y="670"/>
                    </a:cubicBezTo>
                    <a:cubicBezTo>
                      <a:pt x="524" y="669"/>
                      <a:pt x="522" y="666"/>
                      <a:pt x="522" y="666"/>
                    </a:cubicBezTo>
                    <a:cubicBezTo>
                      <a:pt x="522" y="666"/>
                      <a:pt x="524" y="665"/>
                      <a:pt x="527" y="665"/>
                    </a:cubicBezTo>
                    <a:cubicBezTo>
                      <a:pt x="530" y="665"/>
                      <a:pt x="528" y="670"/>
                      <a:pt x="528" y="670"/>
                    </a:cubicBezTo>
                    <a:cubicBezTo>
                      <a:pt x="528" y="670"/>
                      <a:pt x="530" y="671"/>
                      <a:pt x="531" y="670"/>
                    </a:cubicBezTo>
                    <a:cubicBezTo>
                      <a:pt x="532" y="670"/>
                      <a:pt x="532" y="673"/>
                      <a:pt x="532" y="673"/>
                    </a:cubicBezTo>
                    <a:cubicBezTo>
                      <a:pt x="532" y="673"/>
                      <a:pt x="535" y="673"/>
                      <a:pt x="536" y="673"/>
                    </a:cubicBezTo>
                    <a:cubicBezTo>
                      <a:pt x="537" y="674"/>
                      <a:pt x="542" y="675"/>
                      <a:pt x="543" y="673"/>
                    </a:cubicBezTo>
                    <a:cubicBezTo>
                      <a:pt x="545" y="672"/>
                      <a:pt x="549" y="670"/>
                      <a:pt x="550" y="670"/>
                    </a:cubicBezTo>
                    <a:cubicBezTo>
                      <a:pt x="551" y="670"/>
                      <a:pt x="556" y="673"/>
                      <a:pt x="556" y="673"/>
                    </a:cubicBezTo>
                    <a:cubicBezTo>
                      <a:pt x="559" y="681"/>
                      <a:pt x="559" y="681"/>
                      <a:pt x="559" y="681"/>
                    </a:cubicBezTo>
                    <a:cubicBezTo>
                      <a:pt x="559" y="681"/>
                      <a:pt x="566" y="684"/>
                      <a:pt x="567" y="685"/>
                    </a:cubicBezTo>
                    <a:cubicBezTo>
                      <a:pt x="569" y="686"/>
                      <a:pt x="568" y="691"/>
                      <a:pt x="569" y="692"/>
                    </a:cubicBezTo>
                    <a:cubicBezTo>
                      <a:pt x="570" y="693"/>
                      <a:pt x="578" y="693"/>
                      <a:pt x="579" y="693"/>
                    </a:cubicBezTo>
                    <a:cubicBezTo>
                      <a:pt x="580" y="693"/>
                      <a:pt x="583" y="690"/>
                      <a:pt x="584" y="689"/>
                    </a:cubicBezTo>
                    <a:cubicBezTo>
                      <a:pt x="586" y="688"/>
                      <a:pt x="584" y="692"/>
                      <a:pt x="584" y="692"/>
                    </a:cubicBezTo>
                    <a:cubicBezTo>
                      <a:pt x="584" y="692"/>
                      <a:pt x="585" y="696"/>
                      <a:pt x="588" y="697"/>
                    </a:cubicBezTo>
                    <a:cubicBezTo>
                      <a:pt x="591" y="699"/>
                      <a:pt x="592" y="700"/>
                      <a:pt x="593" y="699"/>
                    </a:cubicBezTo>
                    <a:cubicBezTo>
                      <a:pt x="594" y="699"/>
                      <a:pt x="595" y="698"/>
                      <a:pt x="596" y="698"/>
                    </a:cubicBezTo>
                    <a:cubicBezTo>
                      <a:pt x="597" y="698"/>
                      <a:pt x="599" y="695"/>
                      <a:pt x="599" y="694"/>
                    </a:cubicBezTo>
                    <a:cubicBezTo>
                      <a:pt x="599" y="693"/>
                      <a:pt x="603" y="694"/>
                      <a:pt x="604" y="694"/>
                    </a:cubicBezTo>
                    <a:cubicBezTo>
                      <a:pt x="605" y="694"/>
                      <a:pt x="608" y="693"/>
                      <a:pt x="609" y="692"/>
                    </a:cubicBezTo>
                    <a:cubicBezTo>
                      <a:pt x="611" y="690"/>
                      <a:pt x="613" y="690"/>
                      <a:pt x="613" y="689"/>
                    </a:cubicBezTo>
                    <a:cubicBezTo>
                      <a:pt x="612" y="687"/>
                      <a:pt x="614" y="686"/>
                      <a:pt x="615" y="686"/>
                    </a:cubicBezTo>
                    <a:cubicBezTo>
                      <a:pt x="616" y="685"/>
                      <a:pt x="619" y="683"/>
                      <a:pt x="621" y="683"/>
                    </a:cubicBezTo>
                    <a:cubicBezTo>
                      <a:pt x="624" y="683"/>
                      <a:pt x="623" y="681"/>
                      <a:pt x="623" y="680"/>
                    </a:cubicBezTo>
                    <a:cubicBezTo>
                      <a:pt x="622" y="679"/>
                      <a:pt x="627" y="679"/>
                      <a:pt x="627" y="679"/>
                    </a:cubicBezTo>
                    <a:cubicBezTo>
                      <a:pt x="627" y="679"/>
                      <a:pt x="631" y="678"/>
                      <a:pt x="632" y="677"/>
                    </a:cubicBezTo>
                    <a:cubicBezTo>
                      <a:pt x="633" y="676"/>
                      <a:pt x="636" y="675"/>
                      <a:pt x="637" y="676"/>
                    </a:cubicBezTo>
                    <a:cubicBezTo>
                      <a:pt x="638" y="677"/>
                      <a:pt x="639" y="672"/>
                      <a:pt x="639" y="672"/>
                    </a:cubicBezTo>
                    <a:cubicBezTo>
                      <a:pt x="639" y="672"/>
                      <a:pt x="642" y="674"/>
                      <a:pt x="643" y="674"/>
                    </a:cubicBezTo>
                    <a:cubicBezTo>
                      <a:pt x="644" y="673"/>
                      <a:pt x="646" y="676"/>
                      <a:pt x="646" y="676"/>
                    </a:cubicBezTo>
                    <a:cubicBezTo>
                      <a:pt x="658" y="678"/>
                      <a:pt x="658" y="678"/>
                      <a:pt x="658" y="678"/>
                    </a:cubicBezTo>
                    <a:cubicBezTo>
                      <a:pt x="658" y="678"/>
                      <a:pt x="659" y="682"/>
                      <a:pt x="661" y="684"/>
                    </a:cubicBezTo>
                    <a:cubicBezTo>
                      <a:pt x="663" y="685"/>
                      <a:pt x="667" y="687"/>
                      <a:pt x="668" y="687"/>
                    </a:cubicBezTo>
                    <a:cubicBezTo>
                      <a:pt x="669" y="686"/>
                      <a:pt x="677" y="687"/>
                      <a:pt x="677" y="687"/>
                    </a:cubicBezTo>
                    <a:cubicBezTo>
                      <a:pt x="677" y="687"/>
                      <a:pt x="680" y="686"/>
                      <a:pt x="681" y="687"/>
                    </a:cubicBezTo>
                    <a:cubicBezTo>
                      <a:pt x="683" y="687"/>
                      <a:pt x="688" y="690"/>
                      <a:pt x="689" y="690"/>
                    </a:cubicBezTo>
                    <a:cubicBezTo>
                      <a:pt x="690" y="689"/>
                      <a:pt x="695" y="688"/>
                      <a:pt x="695" y="686"/>
                    </a:cubicBezTo>
                    <a:cubicBezTo>
                      <a:pt x="696" y="683"/>
                      <a:pt x="697" y="680"/>
                      <a:pt x="697" y="678"/>
                    </a:cubicBezTo>
                    <a:cubicBezTo>
                      <a:pt x="698" y="676"/>
                      <a:pt x="694" y="674"/>
                      <a:pt x="693" y="671"/>
                    </a:cubicBezTo>
                    <a:cubicBezTo>
                      <a:pt x="692" y="668"/>
                      <a:pt x="697" y="665"/>
                      <a:pt x="697" y="663"/>
                    </a:cubicBezTo>
                    <a:cubicBezTo>
                      <a:pt x="697" y="660"/>
                      <a:pt x="701" y="658"/>
                      <a:pt x="702" y="657"/>
                    </a:cubicBezTo>
                    <a:cubicBezTo>
                      <a:pt x="702" y="655"/>
                      <a:pt x="704" y="653"/>
                      <a:pt x="704" y="653"/>
                    </a:cubicBezTo>
                    <a:cubicBezTo>
                      <a:pt x="713" y="658"/>
                      <a:pt x="713" y="658"/>
                      <a:pt x="713" y="658"/>
                    </a:cubicBezTo>
                    <a:cubicBezTo>
                      <a:pt x="713" y="658"/>
                      <a:pt x="722" y="659"/>
                      <a:pt x="724" y="660"/>
                    </a:cubicBezTo>
                    <a:cubicBezTo>
                      <a:pt x="726" y="661"/>
                      <a:pt x="733" y="663"/>
                      <a:pt x="735" y="665"/>
                    </a:cubicBezTo>
                    <a:cubicBezTo>
                      <a:pt x="736" y="667"/>
                      <a:pt x="736" y="671"/>
                      <a:pt x="736" y="674"/>
                    </a:cubicBezTo>
                    <a:cubicBezTo>
                      <a:pt x="737" y="677"/>
                      <a:pt x="736" y="676"/>
                      <a:pt x="742" y="680"/>
                    </a:cubicBezTo>
                    <a:cubicBezTo>
                      <a:pt x="747" y="684"/>
                      <a:pt x="751" y="683"/>
                      <a:pt x="753" y="683"/>
                    </a:cubicBezTo>
                    <a:cubicBezTo>
                      <a:pt x="755" y="682"/>
                      <a:pt x="765" y="680"/>
                      <a:pt x="766" y="680"/>
                    </a:cubicBezTo>
                    <a:cubicBezTo>
                      <a:pt x="768" y="680"/>
                      <a:pt x="776" y="681"/>
                      <a:pt x="779" y="681"/>
                    </a:cubicBezTo>
                    <a:cubicBezTo>
                      <a:pt x="781" y="681"/>
                      <a:pt x="779" y="681"/>
                      <a:pt x="785" y="685"/>
                    </a:cubicBezTo>
                    <a:cubicBezTo>
                      <a:pt x="791" y="690"/>
                      <a:pt x="792" y="687"/>
                      <a:pt x="792" y="687"/>
                    </a:cubicBezTo>
                    <a:cubicBezTo>
                      <a:pt x="792" y="687"/>
                      <a:pt x="794" y="692"/>
                      <a:pt x="796" y="693"/>
                    </a:cubicBezTo>
                    <a:cubicBezTo>
                      <a:pt x="797" y="695"/>
                      <a:pt x="801" y="696"/>
                      <a:pt x="805" y="695"/>
                    </a:cubicBezTo>
                    <a:cubicBezTo>
                      <a:pt x="808" y="694"/>
                      <a:pt x="813" y="699"/>
                      <a:pt x="815" y="698"/>
                    </a:cubicBezTo>
                    <a:cubicBezTo>
                      <a:pt x="817" y="697"/>
                      <a:pt x="820" y="700"/>
                      <a:pt x="823" y="697"/>
                    </a:cubicBezTo>
                    <a:cubicBezTo>
                      <a:pt x="826" y="695"/>
                      <a:pt x="833" y="694"/>
                      <a:pt x="837" y="693"/>
                    </a:cubicBezTo>
                    <a:cubicBezTo>
                      <a:pt x="840" y="692"/>
                      <a:pt x="843" y="691"/>
                      <a:pt x="845" y="687"/>
                    </a:cubicBezTo>
                    <a:cubicBezTo>
                      <a:pt x="848" y="684"/>
                      <a:pt x="856" y="683"/>
                      <a:pt x="859" y="683"/>
                    </a:cubicBezTo>
                    <a:cubicBezTo>
                      <a:pt x="861" y="683"/>
                      <a:pt x="866" y="688"/>
                      <a:pt x="869" y="687"/>
                    </a:cubicBezTo>
                    <a:cubicBezTo>
                      <a:pt x="871" y="687"/>
                      <a:pt x="874" y="685"/>
                      <a:pt x="877" y="687"/>
                    </a:cubicBezTo>
                    <a:cubicBezTo>
                      <a:pt x="879" y="689"/>
                      <a:pt x="885" y="692"/>
                      <a:pt x="886" y="692"/>
                    </a:cubicBezTo>
                    <a:cubicBezTo>
                      <a:pt x="888" y="692"/>
                      <a:pt x="893" y="691"/>
                      <a:pt x="894" y="690"/>
                    </a:cubicBezTo>
                    <a:cubicBezTo>
                      <a:pt x="894" y="688"/>
                      <a:pt x="901" y="687"/>
                      <a:pt x="903" y="685"/>
                    </a:cubicBezTo>
                    <a:cubicBezTo>
                      <a:pt x="904" y="683"/>
                      <a:pt x="905" y="681"/>
                      <a:pt x="904" y="681"/>
                    </a:cubicBezTo>
                    <a:cubicBezTo>
                      <a:pt x="903" y="680"/>
                      <a:pt x="903" y="678"/>
                      <a:pt x="904" y="676"/>
                    </a:cubicBezTo>
                    <a:cubicBezTo>
                      <a:pt x="905" y="674"/>
                      <a:pt x="909" y="669"/>
                      <a:pt x="910" y="665"/>
                    </a:cubicBezTo>
                    <a:cubicBezTo>
                      <a:pt x="911" y="661"/>
                      <a:pt x="916" y="658"/>
                      <a:pt x="917" y="656"/>
                    </a:cubicBezTo>
                    <a:cubicBezTo>
                      <a:pt x="919" y="654"/>
                      <a:pt x="918" y="651"/>
                      <a:pt x="918" y="651"/>
                    </a:cubicBezTo>
                    <a:cubicBezTo>
                      <a:pt x="918" y="651"/>
                      <a:pt x="917" y="647"/>
                      <a:pt x="917" y="646"/>
                    </a:cubicBezTo>
                    <a:cubicBezTo>
                      <a:pt x="916" y="644"/>
                      <a:pt x="913" y="645"/>
                      <a:pt x="912" y="645"/>
                    </a:cubicBezTo>
                    <a:cubicBezTo>
                      <a:pt x="910" y="645"/>
                      <a:pt x="914" y="638"/>
                      <a:pt x="915" y="638"/>
                    </a:cubicBezTo>
                    <a:cubicBezTo>
                      <a:pt x="916" y="638"/>
                      <a:pt x="920" y="634"/>
                      <a:pt x="921" y="634"/>
                    </a:cubicBezTo>
                    <a:cubicBezTo>
                      <a:pt x="922" y="633"/>
                      <a:pt x="934" y="631"/>
                      <a:pt x="935" y="631"/>
                    </a:cubicBezTo>
                    <a:cubicBezTo>
                      <a:pt x="936" y="631"/>
                      <a:pt x="941" y="631"/>
                      <a:pt x="944" y="630"/>
                    </a:cubicBezTo>
                    <a:cubicBezTo>
                      <a:pt x="947" y="629"/>
                      <a:pt x="956" y="635"/>
                      <a:pt x="956" y="635"/>
                    </a:cubicBezTo>
                    <a:cubicBezTo>
                      <a:pt x="956" y="635"/>
                      <a:pt x="960" y="636"/>
                      <a:pt x="962" y="636"/>
                    </a:cubicBezTo>
                    <a:cubicBezTo>
                      <a:pt x="964" y="637"/>
                      <a:pt x="969" y="641"/>
                      <a:pt x="970" y="644"/>
                    </a:cubicBezTo>
                    <a:cubicBezTo>
                      <a:pt x="971" y="646"/>
                      <a:pt x="974" y="649"/>
                      <a:pt x="974" y="653"/>
                    </a:cubicBezTo>
                    <a:cubicBezTo>
                      <a:pt x="975" y="657"/>
                      <a:pt x="978" y="661"/>
                      <a:pt x="978" y="665"/>
                    </a:cubicBezTo>
                    <a:cubicBezTo>
                      <a:pt x="979" y="670"/>
                      <a:pt x="983" y="676"/>
                      <a:pt x="983" y="676"/>
                    </a:cubicBezTo>
                    <a:cubicBezTo>
                      <a:pt x="983" y="676"/>
                      <a:pt x="985" y="683"/>
                      <a:pt x="985" y="686"/>
                    </a:cubicBezTo>
                    <a:cubicBezTo>
                      <a:pt x="985" y="689"/>
                      <a:pt x="991" y="693"/>
                      <a:pt x="991" y="693"/>
                    </a:cubicBezTo>
                    <a:cubicBezTo>
                      <a:pt x="991" y="693"/>
                      <a:pt x="999" y="694"/>
                      <a:pt x="1000" y="695"/>
                    </a:cubicBezTo>
                    <a:cubicBezTo>
                      <a:pt x="1002" y="695"/>
                      <a:pt x="1005" y="696"/>
                      <a:pt x="1007" y="698"/>
                    </a:cubicBezTo>
                    <a:cubicBezTo>
                      <a:pt x="1009" y="701"/>
                      <a:pt x="1011" y="703"/>
                      <a:pt x="1013" y="703"/>
                    </a:cubicBezTo>
                    <a:cubicBezTo>
                      <a:pt x="1015" y="702"/>
                      <a:pt x="1015" y="705"/>
                      <a:pt x="1015" y="706"/>
                    </a:cubicBezTo>
                    <a:cubicBezTo>
                      <a:pt x="1014" y="707"/>
                      <a:pt x="1016" y="710"/>
                      <a:pt x="1017" y="711"/>
                    </a:cubicBezTo>
                    <a:cubicBezTo>
                      <a:pt x="1017" y="712"/>
                      <a:pt x="1015" y="714"/>
                      <a:pt x="1015" y="714"/>
                    </a:cubicBezTo>
                    <a:cubicBezTo>
                      <a:pt x="1015" y="714"/>
                      <a:pt x="1016" y="718"/>
                      <a:pt x="1019" y="720"/>
                    </a:cubicBezTo>
                    <a:cubicBezTo>
                      <a:pt x="1022" y="723"/>
                      <a:pt x="1029" y="719"/>
                      <a:pt x="1031" y="720"/>
                    </a:cubicBezTo>
                    <a:cubicBezTo>
                      <a:pt x="1033" y="720"/>
                      <a:pt x="1036" y="716"/>
                      <a:pt x="1036" y="716"/>
                    </a:cubicBezTo>
                    <a:cubicBezTo>
                      <a:pt x="1036" y="716"/>
                      <a:pt x="1044" y="715"/>
                      <a:pt x="1045" y="713"/>
                    </a:cubicBezTo>
                    <a:cubicBezTo>
                      <a:pt x="1047" y="712"/>
                      <a:pt x="1050" y="711"/>
                      <a:pt x="1053" y="712"/>
                    </a:cubicBezTo>
                    <a:cubicBezTo>
                      <a:pt x="1055" y="713"/>
                      <a:pt x="1055" y="715"/>
                      <a:pt x="1054" y="718"/>
                    </a:cubicBezTo>
                    <a:cubicBezTo>
                      <a:pt x="1053" y="721"/>
                      <a:pt x="1057" y="721"/>
                      <a:pt x="1055" y="723"/>
                    </a:cubicBezTo>
                    <a:cubicBezTo>
                      <a:pt x="1053" y="725"/>
                      <a:pt x="1051" y="725"/>
                      <a:pt x="1050" y="726"/>
                    </a:cubicBezTo>
                    <a:cubicBezTo>
                      <a:pt x="1049" y="727"/>
                      <a:pt x="1050" y="733"/>
                      <a:pt x="1049" y="735"/>
                    </a:cubicBezTo>
                    <a:cubicBezTo>
                      <a:pt x="1048" y="737"/>
                      <a:pt x="1048" y="735"/>
                      <a:pt x="1046" y="741"/>
                    </a:cubicBezTo>
                    <a:cubicBezTo>
                      <a:pt x="1045" y="746"/>
                      <a:pt x="1045" y="744"/>
                      <a:pt x="1043" y="745"/>
                    </a:cubicBezTo>
                    <a:cubicBezTo>
                      <a:pt x="1042" y="747"/>
                      <a:pt x="1042" y="750"/>
                      <a:pt x="1041" y="750"/>
                    </a:cubicBezTo>
                    <a:cubicBezTo>
                      <a:pt x="1039" y="751"/>
                      <a:pt x="1041" y="756"/>
                      <a:pt x="1039" y="757"/>
                    </a:cubicBezTo>
                    <a:cubicBezTo>
                      <a:pt x="1038" y="757"/>
                      <a:pt x="1036" y="757"/>
                      <a:pt x="1036" y="757"/>
                    </a:cubicBezTo>
                    <a:cubicBezTo>
                      <a:pt x="1036" y="757"/>
                      <a:pt x="1034" y="762"/>
                      <a:pt x="1032" y="764"/>
                    </a:cubicBezTo>
                    <a:cubicBezTo>
                      <a:pt x="1031" y="765"/>
                      <a:pt x="1029" y="762"/>
                      <a:pt x="1029" y="760"/>
                    </a:cubicBezTo>
                    <a:cubicBezTo>
                      <a:pt x="1030" y="758"/>
                      <a:pt x="1028" y="755"/>
                      <a:pt x="1028" y="755"/>
                    </a:cubicBezTo>
                    <a:cubicBezTo>
                      <a:pt x="1028" y="755"/>
                      <a:pt x="1026" y="756"/>
                      <a:pt x="1024" y="757"/>
                    </a:cubicBezTo>
                    <a:cubicBezTo>
                      <a:pt x="1023" y="758"/>
                      <a:pt x="1019" y="760"/>
                      <a:pt x="1019" y="760"/>
                    </a:cubicBezTo>
                    <a:cubicBezTo>
                      <a:pt x="1019" y="760"/>
                      <a:pt x="1021" y="768"/>
                      <a:pt x="1021" y="774"/>
                    </a:cubicBezTo>
                    <a:cubicBezTo>
                      <a:pt x="1021" y="780"/>
                      <a:pt x="1020" y="785"/>
                      <a:pt x="1018" y="787"/>
                    </a:cubicBezTo>
                    <a:cubicBezTo>
                      <a:pt x="1016" y="789"/>
                      <a:pt x="1014" y="789"/>
                      <a:pt x="1014" y="789"/>
                    </a:cubicBezTo>
                    <a:cubicBezTo>
                      <a:pt x="1016" y="790"/>
                      <a:pt x="1016" y="790"/>
                      <a:pt x="1016" y="790"/>
                    </a:cubicBezTo>
                    <a:cubicBezTo>
                      <a:pt x="1015" y="795"/>
                      <a:pt x="1015" y="795"/>
                      <a:pt x="1015" y="795"/>
                    </a:cubicBezTo>
                    <a:cubicBezTo>
                      <a:pt x="1017" y="792"/>
                      <a:pt x="1017" y="792"/>
                      <a:pt x="1017" y="792"/>
                    </a:cubicBezTo>
                    <a:cubicBezTo>
                      <a:pt x="1017" y="792"/>
                      <a:pt x="1021" y="792"/>
                      <a:pt x="1021" y="791"/>
                    </a:cubicBezTo>
                    <a:cubicBezTo>
                      <a:pt x="1020" y="789"/>
                      <a:pt x="1026" y="784"/>
                      <a:pt x="1026" y="784"/>
                    </a:cubicBezTo>
                    <a:cubicBezTo>
                      <a:pt x="1027" y="786"/>
                      <a:pt x="1027" y="786"/>
                      <a:pt x="1027" y="786"/>
                    </a:cubicBezTo>
                    <a:cubicBezTo>
                      <a:pt x="1031" y="782"/>
                      <a:pt x="1031" y="782"/>
                      <a:pt x="1031" y="782"/>
                    </a:cubicBezTo>
                    <a:cubicBezTo>
                      <a:pt x="1031" y="782"/>
                      <a:pt x="1032" y="786"/>
                      <a:pt x="1033" y="789"/>
                    </a:cubicBezTo>
                    <a:cubicBezTo>
                      <a:pt x="1033" y="791"/>
                      <a:pt x="1038" y="790"/>
                      <a:pt x="1042" y="788"/>
                    </a:cubicBezTo>
                    <a:cubicBezTo>
                      <a:pt x="1046" y="787"/>
                      <a:pt x="1059" y="780"/>
                      <a:pt x="1061" y="777"/>
                    </a:cubicBezTo>
                    <a:cubicBezTo>
                      <a:pt x="1064" y="775"/>
                      <a:pt x="1071" y="762"/>
                      <a:pt x="1074" y="759"/>
                    </a:cubicBezTo>
                    <a:cubicBezTo>
                      <a:pt x="1076" y="756"/>
                      <a:pt x="1086" y="745"/>
                      <a:pt x="1088" y="742"/>
                    </a:cubicBezTo>
                    <a:cubicBezTo>
                      <a:pt x="1091" y="739"/>
                      <a:pt x="1095" y="730"/>
                      <a:pt x="1098" y="725"/>
                    </a:cubicBezTo>
                    <a:cubicBezTo>
                      <a:pt x="1100" y="720"/>
                      <a:pt x="1109" y="709"/>
                      <a:pt x="1110" y="707"/>
                    </a:cubicBezTo>
                    <a:cubicBezTo>
                      <a:pt x="1111" y="705"/>
                      <a:pt x="1112" y="694"/>
                      <a:pt x="1113" y="689"/>
                    </a:cubicBezTo>
                    <a:cubicBezTo>
                      <a:pt x="1114" y="684"/>
                      <a:pt x="1112" y="682"/>
                      <a:pt x="1113" y="677"/>
                    </a:cubicBezTo>
                    <a:cubicBezTo>
                      <a:pt x="1113" y="672"/>
                      <a:pt x="1116" y="662"/>
                      <a:pt x="1117" y="661"/>
                    </a:cubicBezTo>
                    <a:cubicBezTo>
                      <a:pt x="1118" y="660"/>
                      <a:pt x="1120" y="656"/>
                      <a:pt x="1121" y="654"/>
                    </a:cubicBezTo>
                    <a:cubicBezTo>
                      <a:pt x="1122" y="651"/>
                      <a:pt x="1120" y="652"/>
                      <a:pt x="1118" y="649"/>
                    </a:cubicBezTo>
                    <a:cubicBezTo>
                      <a:pt x="1116" y="646"/>
                      <a:pt x="1119" y="644"/>
                      <a:pt x="1119" y="642"/>
                    </a:cubicBezTo>
                    <a:cubicBezTo>
                      <a:pt x="1120" y="640"/>
                      <a:pt x="1115" y="638"/>
                      <a:pt x="1117" y="638"/>
                    </a:cubicBezTo>
                    <a:cubicBezTo>
                      <a:pt x="1119" y="639"/>
                      <a:pt x="1120" y="637"/>
                      <a:pt x="1121" y="636"/>
                    </a:cubicBezTo>
                    <a:cubicBezTo>
                      <a:pt x="1122" y="635"/>
                      <a:pt x="1121" y="636"/>
                      <a:pt x="1115" y="631"/>
                    </a:cubicBezTo>
                    <a:cubicBezTo>
                      <a:pt x="1108" y="626"/>
                      <a:pt x="1110" y="625"/>
                      <a:pt x="1110" y="623"/>
                    </a:cubicBezTo>
                    <a:cubicBezTo>
                      <a:pt x="1110" y="621"/>
                      <a:pt x="1105" y="618"/>
                      <a:pt x="1101" y="619"/>
                    </a:cubicBezTo>
                    <a:cubicBezTo>
                      <a:pt x="1098" y="620"/>
                      <a:pt x="1096" y="618"/>
                      <a:pt x="1095" y="618"/>
                    </a:cubicBezTo>
                    <a:cubicBezTo>
                      <a:pt x="1094" y="618"/>
                      <a:pt x="1096" y="622"/>
                      <a:pt x="1095" y="625"/>
                    </a:cubicBezTo>
                    <a:cubicBezTo>
                      <a:pt x="1093" y="627"/>
                      <a:pt x="1092" y="628"/>
                      <a:pt x="1091" y="628"/>
                    </a:cubicBezTo>
                    <a:cubicBezTo>
                      <a:pt x="1090" y="629"/>
                      <a:pt x="1093" y="622"/>
                      <a:pt x="1092" y="622"/>
                    </a:cubicBezTo>
                    <a:cubicBezTo>
                      <a:pt x="1091" y="622"/>
                      <a:pt x="1089" y="626"/>
                      <a:pt x="1088" y="627"/>
                    </a:cubicBezTo>
                    <a:cubicBezTo>
                      <a:pt x="1087" y="628"/>
                      <a:pt x="1083" y="630"/>
                      <a:pt x="1081" y="630"/>
                    </a:cubicBezTo>
                    <a:cubicBezTo>
                      <a:pt x="1079" y="629"/>
                      <a:pt x="1085" y="625"/>
                      <a:pt x="1086" y="625"/>
                    </a:cubicBezTo>
                    <a:cubicBezTo>
                      <a:pt x="1088" y="624"/>
                      <a:pt x="1084" y="621"/>
                      <a:pt x="1082" y="621"/>
                    </a:cubicBezTo>
                    <a:cubicBezTo>
                      <a:pt x="1081" y="621"/>
                      <a:pt x="1083" y="619"/>
                      <a:pt x="1085" y="617"/>
                    </a:cubicBezTo>
                    <a:cubicBezTo>
                      <a:pt x="1087" y="615"/>
                      <a:pt x="1081" y="618"/>
                      <a:pt x="1079" y="618"/>
                    </a:cubicBezTo>
                    <a:cubicBezTo>
                      <a:pt x="1077" y="619"/>
                      <a:pt x="1079" y="623"/>
                      <a:pt x="1079" y="625"/>
                    </a:cubicBezTo>
                    <a:cubicBezTo>
                      <a:pt x="1078" y="627"/>
                      <a:pt x="1075" y="625"/>
                      <a:pt x="1076" y="622"/>
                    </a:cubicBezTo>
                    <a:cubicBezTo>
                      <a:pt x="1076" y="619"/>
                      <a:pt x="1075" y="611"/>
                      <a:pt x="1075" y="610"/>
                    </a:cubicBezTo>
                    <a:cubicBezTo>
                      <a:pt x="1075" y="609"/>
                      <a:pt x="1067" y="613"/>
                      <a:pt x="1065" y="612"/>
                    </a:cubicBezTo>
                    <a:cubicBezTo>
                      <a:pt x="1063" y="611"/>
                      <a:pt x="1060" y="607"/>
                      <a:pt x="1062" y="606"/>
                    </a:cubicBezTo>
                    <a:cubicBezTo>
                      <a:pt x="1063" y="604"/>
                      <a:pt x="1067" y="601"/>
                      <a:pt x="1070" y="599"/>
                    </a:cubicBezTo>
                    <a:cubicBezTo>
                      <a:pt x="1074" y="597"/>
                      <a:pt x="1077" y="592"/>
                      <a:pt x="1080" y="590"/>
                    </a:cubicBezTo>
                    <a:cubicBezTo>
                      <a:pt x="1082" y="588"/>
                      <a:pt x="1087" y="582"/>
                      <a:pt x="1089" y="578"/>
                    </a:cubicBezTo>
                    <a:cubicBezTo>
                      <a:pt x="1092" y="574"/>
                      <a:pt x="1099" y="567"/>
                      <a:pt x="1102" y="564"/>
                    </a:cubicBezTo>
                    <a:cubicBezTo>
                      <a:pt x="1105" y="561"/>
                      <a:pt x="1108" y="558"/>
                      <a:pt x="1109" y="556"/>
                    </a:cubicBezTo>
                    <a:cubicBezTo>
                      <a:pt x="1110" y="555"/>
                      <a:pt x="1111" y="556"/>
                      <a:pt x="1113" y="550"/>
                    </a:cubicBezTo>
                    <a:cubicBezTo>
                      <a:pt x="1116" y="545"/>
                      <a:pt x="1118" y="544"/>
                      <a:pt x="1121" y="542"/>
                    </a:cubicBezTo>
                    <a:cubicBezTo>
                      <a:pt x="1124" y="539"/>
                      <a:pt x="1128" y="532"/>
                      <a:pt x="1128" y="532"/>
                    </a:cubicBezTo>
                    <a:cubicBezTo>
                      <a:pt x="1145" y="525"/>
                      <a:pt x="1145" y="525"/>
                      <a:pt x="1145" y="525"/>
                    </a:cubicBezTo>
                    <a:cubicBezTo>
                      <a:pt x="1145" y="525"/>
                      <a:pt x="1161" y="525"/>
                      <a:pt x="1163" y="525"/>
                    </a:cubicBezTo>
                    <a:cubicBezTo>
                      <a:pt x="1165" y="524"/>
                      <a:pt x="1165" y="529"/>
                      <a:pt x="1167" y="530"/>
                    </a:cubicBezTo>
                    <a:cubicBezTo>
                      <a:pt x="1169" y="530"/>
                      <a:pt x="1170" y="529"/>
                      <a:pt x="1170" y="527"/>
                    </a:cubicBezTo>
                    <a:cubicBezTo>
                      <a:pt x="1170" y="525"/>
                      <a:pt x="1171" y="525"/>
                      <a:pt x="1172" y="525"/>
                    </a:cubicBezTo>
                    <a:cubicBezTo>
                      <a:pt x="1174" y="526"/>
                      <a:pt x="1180" y="527"/>
                      <a:pt x="1182" y="528"/>
                    </a:cubicBezTo>
                    <a:cubicBezTo>
                      <a:pt x="1183" y="529"/>
                      <a:pt x="1184" y="526"/>
                      <a:pt x="1186" y="525"/>
                    </a:cubicBezTo>
                    <a:cubicBezTo>
                      <a:pt x="1187" y="524"/>
                      <a:pt x="1189" y="528"/>
                      <a:pt x="1189" y="528"/>
                    </a:cubicBezTo>
                    <a:cubicBezTo>
                      <a:pt x="1189" y="528"/>
                      <a:pt x="1194" y="528"/>
                      <a:pt x="1196" y="527"/>
                    </a:cubicBezTo>
                    <a:cubicBezTo>
                      <a:pt x="1197" y="526"/>
                      <a:pt x="1193" y="525"/>
                      <a:pt x="1193" y="525"/>
                    </a:cubicBezTo>
                    <a:cubicBezTo>
                      <a:pt x="1198" y="523"/>
                      <a:pt x="1198" y="523"/>
                      <a:pt x="1198" y="523"/>
                    </a:cubicBezTo>
                    <a:cubicBezTo>
                      <a:pt x="1198" y="523"/>
                      <a:pt x="1197" y="522"/>
                      <a:pt x="1199" y="520"/>
                    </a:cubicBezTo>
                    <a:cubicBezTo>
                      <a:pt x="1201" y="517"/>
                      <a:pt x="1208" y="520"/>
                      <a:pt x="1210" y="521"/>
                    </a:cubicBezTo>
                    <a:cubicBezTo>
                      <a:pt x="1211" y="522"/>
                      <a:pt x="1214" y="524"/>
                      <a:pt x="1215" y="522"/>
                    </a:cubicBezTo>
                    <a:cubicBezTo>
                      <a:pt x="1215" y="520"/>
                      <a:pt x="1222" y="523"/>
                      <a:pt x="1222" y="525"/>
                    </a:cubicBezTo>
                    <a:cubicBezTo>
                      <a:pt x="1223" y="527"/>
                      <a:pt x="1228" y="529"/>
                      <a:pt x="1228" y="529"/>
                    </a:cubicBezTo>
                    <a:cubicBezTo>
                      <a:pt x="1218" y="531"/>
                      <a:pt x="1218" y="531"/>
                      <a:pt x="1218" y="531"/>
                    </a:cubicBezTo>
                    <a:cubicBezTo>
                      <a:pt x="1217" y="536"/>
                      <a:pt x="1217" y="536"/>
                      <a:pt x="1217" y="536"/>
                    </a:cubicBezTo>
                    <a:cubicBezTo>
                      <a:pt x="1217" y="536"/>
                      <a:pt x="1226" y="535"/>
                      <a:pt x="1227" y="534"/>
                    </a:cubicBezTo>
                    <a:cubicBezTo>
                      <a:pt x="1228" y="533"/>
                      <a:pt x="1230" y="535"/>
                      <a:pt x="1232" y="535"/>
                    </a:cubicBezTo>
                    <a:cubicBezTo>
                      <a:pt x="1235" y="536"/>
                      <a:pt x="1236" y="533"/>
                      <a:pt x="1237" y="532"/>
                    </a:cubicBezTo>
                    <a:cubicBezTo>
                      <a:pt x="1239" y="531"/>
                      <a:pt x="1239" y="530"/>
                      <a:pt x="1239" y="530"/>
                    </a:cubicBezTo>
                    <a:cubicBezTo>
                      <a:pt x="1239" y="530"/>
                      <a:pt x="1242" y="530"/>
                      <a:pt x="1244" y="532"/>
                    </a:cubicBezTo>
                    <a:cubicBezTo>
                      <a:pt x="1246" y="533"/>
                      <a:pt x="1246" y="532"/>
                      <a:pt x="1247" y="531"/>
                    </a:cubicBezTo>
                    <a:cubicBezTo>
                      <a:pt x="1249" y="530"/>
                      <a:pt x="1251" y="529"/>
                      <a:pt x="1252" y="529"/>
                    </a:cubicBezTo>
                    <a:cubicBezTo>
                      <a:pt x="1254" y="529"/>
                      <a:pt x="1257" y="528"/>
                      <a:pt x="1257" y="527"/>
                    </a:cubicBezTo>
                    <a:cubicBezTo>
                      <a:pt x="1257" y="526"/>
                      <a:pt x="1255" y="524"/>
                      <a:pt x="1253" y="523"/>
                    </a:cubicBezTo>
                    <a:cubicBezTo>
                      <a:pt x="1250" y="522"/>
                      <a:pt x="1247" y="525"/>
                      <a:pt x="1247" y="522"/>
                    </a:cubicBezTo>
                    <a:cubicBezTo>
                      <a:pt x="1247" y="519"/>
                      <a:pt x="1249" y="516"/>
                      <a:pt x="1250" y="515"/>
                    </a:cubicBezTo>
                    <a:cubicBezTo>
                      <a:pt x="1250" y="514"/>
                      <a:pt x="1248" y="514"/>
                      <a:pt x="1251" y="510"/>
                    </a:cubicBezTo>
                    <a:cubicBezTo>
                      <a:pt x="1254" y="507"/>
                      <a:pt x="1263" y="501"/>
                      <a:pt x="1263" y="499"/>
                    </a:cubicBezTo>
                    <a:cubicBezTo>
                      <a:pt x="1263" y="498"/>
                      <a:pt x="1266" y="493"/>
                      <a:pt x="1269" y="491"/>
                    </a:cubicBezTo>
                    <a:cubicBezTo>
                      <a:pt x="1271" y="488"/>
                      <a:pt x="1271" y="488"/>
                      <a:pt x="1271" y="485"/>
                    </a:cubicBezTo>
                    <a:cubicBezTo>
                      <a:pt x="1271" y="482"/>
                      <a:pt x="1276" y="480"/>
                      <a:pt x="1277" y="479"/>
                    </a:cubicBezTo>
                    <a:cubicBezTo>
                      <a:pt x="1279" y="478"/>
                      <a:pt x="1280" y="481"/>
                      <a:pt x="1284" y="478"/>
                    </a:cubicBezTo>
                    <a:cubicBezTo>
                      <a:pt x="1288" y="476"/>
                      <a:pt x="1292" y="476"/>
                      <a:pt x="1293" y="475"/>
                    </a:cubicBezTo>
                    <a:cubicBezTo>
                      <a:pt x="1294" y="474"/>
                      <a:pt x="1299" y="478"/>
                      <a:pt x="1300" y="479"/>
                    </a:cubicBezTo>
                    <a:cubicBezTo>
                      <a:pt x="1301" y="480"/>
                      <a:pt x="1303" y="479"/>
                      <a:pt x="1304" y="476"/>
                    </a:cubicBezTo>
                    <a:cubicBezTo>
                      <a:pt x="1305" y="473"/>
                      <a:pt x="1307" y="475"/>
                      <a:pt x="1307" y="478"/>
                    </a:cubicBezTo>
                    <a:cubicBezTo>
                      <a:pt x="1307" y="481"/>
                      <a:pt x="1302" y="488"/>
                      <a:pt x="1302" y="488"/>
                    </a:cubicBezTo>
                    <a:cubicBezTo>
                      <a:pt x="1303" y="495"/>
                      <a:pt x="1303" y="495"/>
                      <a:pt x="1303" y="495"/>
                    </a:cubicBezTo>
                    <a:cubicBezTo>
                      <a:pt x="1307" y="494"/>
                      <a:pt x="1307" y="494"/>
                      <a:pt x="1307" y="494"/>
                    </a:cubicBezTo>
                    <a:cubicBezTo>
                      <a:pt x="1305" y="501"/>
                      <a:pt x="1305" y="501"/>
                      <a:pt x="1305" y="501"/>
                    </a:cubicBezTo>
                    <a:cubicBezTo>
                      <a:pt x="1305" y="501"/>
                      <a:pt x="1306" y="501"/>
                      <a:pt x="1308" y="500"/>
                    </a:cubicBezTo>
                    <a:cubicBezTo>
                      <a:pt x="1309" y="499"/>
                      <a:pt x="1312" y="500"/>
                      <a:pt x="1312" y="497"/>
                    </a:cubicBezTo>
                    <a:cubicBezTo>
                      <a:pt x="1313" y="494"/>
                      <a:pt x="1319" y="490"/>
                      <a:pt x="1321" y="488"/>
                    </a:cubicBezTo>
                    <a:cubicBezTo>
                      <a:pt x="1322" y="486"/>
                      <a:pt x="1329" y="481"/>
                      <a:pt x="1331" y="481"/>
                    </a:cubicBezTo>
                    <a:cubicBezTo>
                      <a:pt x="1333" y="480"/>
                      <a:pt x="1333" y="483"/>
                      <a:pt x="1335" y="482"/>
                    </a:cubicBezTo>
                    <a:cubicBezTo>
                      <a:pt x="1337" y="481"/>
                      <a:pt x="1337" y="478"/>
                      <a:pt x="1335" y="478"/>
                    </a:cubicBezTo>
                    <a:cubicBezTo>
                      <a:pt x="1333" y="478"/>
                      <a:pt x="1333" y="477"/>
                      <a:pt x="1334" y="473"/>
                    </a:cubicBezTo>
                    <a:cubicBezTo>
                      <a:pt x="1335" y="469"/>
                      <a:pt x="1337" y="461"/>
                      <a:pt x="1337" y="461"/>
                    </a:cubicBezTo>
                    <a:cubicBezTo>
                      <a:pt x="1337" y="461"/>
                      <a:pt x="1346" y="459"/>
                      <a:pt x="1349" y="460"/>
                    </a:cubicBezTo>
                    <a:cubicBezTo>
                      <a:pt x="1352" y="460"/>
                      <a:pt x="1354" y="464"/>
                      <a:pt x="1352" y="463"/>
                    </a:cubicBezTo>
                    <a:cubicBezTo>
                      <a:pt x="1351" y="463"/>
                      <a:pt x="1347" y="465"/>
                      <a:pt x="1345" y="466"/>
                    </a:cubicBezTo>
                    <a:cubicBezTo>
                      <a:pt x="1343" y="467"/>
                      <a:pt x="1345" y="473"/>
                      <a:pt x="1344" y="475"/>
                    </a:cubicBezTo>
                    <a:cubicBezTo>
                      <a:pt x="1342" y="477"/>
                      <a:pt x="1342" y="482"/>
                      <a:pt x="1342" y="482"/>
                    </a:cubicBezTo>
                    <a:cubicBezTo>
                      <a:pt x="1342" y="482"/>
                      <a:pt x="1342" y="485"/>
                      <a:pt x="1342" y="486"/>
                    </a:cubicBezTo>
                    <a:cubicBezTo>
                      <a:pt x="1342" y="488"/>
                      <a:pt x="1342" y="490"/>
                      <a:pt x="1340" y="491"/>
                    </a:cubicBezTo>
                    <a:cubicBezTo>
                      <a:pt x="1337" y="492"/>
                      <a:pt x="1341" y="496"/>
                      <a:pt x="1340" y="496"/>
                    </a:cubicBezTo>
                    <a:cubicBezTo>
                      <a:pt x="1338" y="496"/>
                      <a:pt x="1332" y="500"/>
                      <a:pt x="1329" y="501"/>
                    </a:cubicBezTo>
                    <a:cubicBezTo>
                      <a:pt x="1327" y="502"/>
                      <a:pt x="1323" y="508"/>
                      <a:pt x="1323" y="508"/>
                    </a:cubicBezTo>
                    <a:cubicBezTo>
                      <a:pt x="1323" y="508"/>
                      <a:pt x="1321" y="511"/>
                      <a:pt x="1319" y="513"/>
                    </a:cubicBezTo>
                    <a:cubicBezTo>
                      <a:pt x="1317" y="516"/>
                      <a:pt x="1314" y="519"/>
                      <a:pt x="1311" y="521"/>
                    </a:cubicBezTo>
                    <a:cubicBezTo>
                      <a:pt x="1307" y="522"/>
                      <a:pt x="1306" y="525"/>
                      <a:pt x="1305" y="527"/>
                    </a:cubicBezTo>
                    <a:cubicBezTo>
                      <a:pt x="1304" y="529"/>
                      <a:pt x="1302" y="534"/>
                      <a:pt x="1300" y="536"/>
                    </a:cubicBezTo>
                    <a:cubicBezTo>
                      <a:pt x="1297" y="538"/>
                      <a:pt x="1292" y="549"/>
                      <a:pt x="1287" y="551"/>
                    </a:cubicBezTo>
                    <a:cubicBezTo>
                      <a:pt x="1283" y="553"/>
                      <a:pt x="1280" y="552"/>
                      <a:pt x="1280" y="552"/>
                    </a:cubicBezTo>
                    <a:cubicBezTo>
                      <a:pt x="1280" y="552"/>
                      <a:pt x="1280" y="555"/>
                      <a:pt x="1278" y="555"/>
                    </a:cubicBezTo>
                    <a:cubicBezTo>
                      <a:pt x="1276" y="555"/>
                      <a:pt x="1273" y="557"/>
                      <a:pt x="1273" y="557"/>
                    </a:cubicBezTo>
                    <a:cubicBezTo>
                      <a:pt x="1273" y="557"/>
                      <a:pt x="1274" y="561"/>
                      <a:pt x="1274" y="563"/>
                    </a:cubicBezTo>
                    <a:cubicBezTo>
                      <a:pt x="1274" y="565"/>
                      <a:pt x="1268" y="573"/>
                      <a:pt x="1266" y="574"/>
                    </a:cubicBezTo>
                    <a:cubicBezTo>
                      <a:pt x="1264" y="575"/>
                      <a:pt x="1262" y="588"/>
                      <a:pt x="1260" y="593"/>
                    </a:cubicBezTo>
                    <a:cubicBezTo>
                      <a:pt x="1258" y="598"/>
                      <a:pt x="1263" y="623"/>
                      <a:pt x="1264" y="628"/>
                    </a:cubicBezTo>
                    <a:cubicBezTo>
                      <a:pt x="1264" y="633"/>
                      <a:pt x="1267" y="646"/>
                      <a:pt x="1267" y="650"/>
                    </a:cubicBezTo>
                    <a:cubicBezTo>
                      <a:pt x="1268" y="655"/>
                      <a:pt x="1270" y="664"/>
                      <a:pt x="1270" y="664"/>
                    </a:cubicBezTo>
                    <a:cubicBezTo>
                      <a:pt x="1271" y="672"/>
                      <a:pt x="1271" y="672"/>
                      <a:pt x="1271" y="672"/>
                    </a:cubicBezTo>
                    <a:cubicBezTo>
                      <a:pt x="1271" y="672"/>
                      <a:pt x="1269" y="677"/>
                      <a:pt x="1277" y="666"/>
                    </a:cubicBezTo>
                    <a:cubicBezTo>
                      <a:pt x="1285" y="655"/>
                      <a:pt x="1287" y="656"/>
                      <a:pt x="1288" y="652"/>
                    </a:cubicBezTo>
                    <a:cubicBezTo>
                      <a:pt x="1289" y="648"/>
                      <a:pt x="1290" y="645"/>
                      <a:pt x="1290" y="642"/>
                    </a:cubicBezTo>
                    <a:cubicBezTo>
                      <a:pt x="1290" y="639"/>
                      <a:pt x="1291" y="639"/>
                      <a:pt x="1292" y="638"/>
                    </a:cubicBezTo>
                    <a:cubicBezTo>
                      <a:pt x="1293" y="637"/>
                      <a:pt x="1298" y="635"/>
                      <a:pt x="1301" y="635"/>
                    </a:cubicBezTo>
                    <a:cubicBezTo>
                      <a:pt x="1303" y="635"/>
                      <a:pt x="1304" y="639"/>
                      <a:pt x="1304" y="637"/>
                    </a:cubicBezTo>
                    <a:cubicBezTo>
                      <a:pt x="1304" y="635"/>
                      <a:pt x="1303" y="631"/>
                      <a:pt x="1302" y="627"/>
                    </a:cubicBezTo>
                    <a:cubicBezTo>
                      <a:pt x="1302" y="623"/>
                      <a:pt x="1308" y="615"/>
                      <a:pt x="1308" y="615"/>
                    </a:cubicBezTo>
                    <a:cubicBezTo>
                      <a:pt x="1315" y="612"/>
                      <a:pt x="1315" y="612"/>
                      <a:pt x="1315" y="612"/>
                    </a:cubicBezTo>
                    <a:cubicBezTo>
                      <a:pt x="1315" y="612"/>
                      <a:pt x="1319" y="614"/>
                      <a:pt x="1320" y="614"/>
                    </a:cubicBezTo>
                    <a:cubicBezTo>
                      <a:pt x="1321" y="614"/>
                      <a:pt x="1324" y="610"/>
                      <a:pt x="1324" y="609"/>
                    </a:cubicBezTo>
                    <a:cubicBezTo>
                      <a:pt x="1324" y="607"/>
                      <a:pt x="1322" y="602"/>
                      <a:pt x="1321" y="600"/>
                    </a:cubicBezTo>
                    <a:cubicBezTo>
                      <a:pt x="1320" y="598"/>
                      <a:pt x="1322" y="591"/>
                      <a:pt x="1324" y="587"/>
                    </a:cubicBezTo>
                    <a:cubicBezTo>
                      <a:pt x="1326" y="583"/>
                      <a:pt x="1328" y="584"/>
                      <a:pt x="1328" y="584"/>
                    </a:cubicBezTo>
                    <a:cubicBezTo>
                      <a:pt x="1328" y="584"/>
                      <a:pt x="1329" y="580"/>
                      <a:pt x="1330" y="579"/>
                    </a:cubicBezTo>
                    <a:cubicBezTo>
                      <a:pt x="1331" y="578"/>
                      <a:pt x="1332" y="580"/>
                      <a:pt x="1331" y="581"/>
                    </a:cubicBezTo>
                    <a:cubicBezTo>
                      <a:pt x="1329" y="583"/>
                      <a:pt x="1332" y="586"/>
                      <a:pt x="1334" y="586"/>
                    </a:cubicBezTo>
                    <a:cubicBezTo>
                      <a:pt x="1336" y="586"/>
                      <a:pt x="1337" y="584"/>
                      <a:pt x="1337" y="581"/>
                    </a:cubicBezTo>
                    <a:cubicBezTo>
                      <a:pt x="1337" y="578"/>
                      <a:pt x="1336" y="575"/>
                      <a:pt x="1334" y="575"/>
                    </a:cubicBezTo>
                    <a:cubicBezTo>
                      <a:pt x="1332" y="575"/>
                      <a:pt x="1331" y="573"/>
                      <a:pt x="1331" y="573"/>
                    </a:cubicBezTo>
                    <a:cubicBezTo>
                      <a:pt x="1331" y="573"/>
                      <a:pt x="1331" y="565"/>
                      <a:pt x="1333" y="563"/>
                    </a:cubicBezTo>
                    <a:cubicBezTo>
                      <a:pt x="1334" y="560"/>
                      <a:pt x="1336" y="560"/>
                      <a:pt x="1337" y="558"/>
                    </a:cubicBezTo>
                    <a:cubicBezTo>
                      <a:pt x="1338" y="555"/>
                      <a:pt x="1336" y="555"/>
                      <a:pt x="1331" y="554"/>
                    </a:cubicBezTo>
                    <a:cubicBezTo>
                      <a:pt x="1326" y="552"/>
                      <a:pt x="1328" y="555"/>
                      <a:pt x="1327" y="555"/>
                    </a:cubicBezTo>
                    <a:cubicBezTo>
                      <a:pt x="1325" y="556"/>
                      <a:pt x="1324" y="551"/>
                      <a:pt x="1324" y="547"/>
                    </a:cubicBezTo>
                    <a:cubicBezTo>
                      <a:pt x="1324" y="544"/>
                      <a:pt x="1328" y="538"/>
                      <a:pt x="1328" y="538"/>
                    </a:cubicBezTo>
                    <a:cubicBezTo>
                      <a:pt x="1328" y="538"/>
                      <a:pt x="1331" y="534"/>
                      <a:pt x="1334" y="532"/>
                    </a:cubicBezTo>
                    <a:cubicBezTo>
                      <a:pt x="1336" y="529"/>
                      <a:pt x="1337" y="526"/>
                      <a:pt x="1337" y="524"/>
                    </a:cubicBezTo>
                    <a:cubicBezTo>
                      <a:pt x="1337" y="523"/>
                      <a:pt x="1337" y="519"/>
                      <a:pt x="1338" y="517"/>
                    </a:cubicBezTo>
                    <a:cubicBezTo>
                      <a:pt x="1340" y="515"/>
                      <a:pt x="1340" y="514"/>
                      <a:pt x="1344" y="514"/>
                    </a:cubicBezTo>
                    <a:cubicBezTo>
                      <a:pt x="1348" y="514"/>
                      <a:pt x="1347" y="515"/>
                      <a:pt x="1347" y="512"/>
                    </a:cubicBezTo>
                    <a:cubicBezTo>
                      <a:pt x="1346" y="509"/>
                      <a:pt x="1351" y="514"/>
                      <a:pt x="1351" y="516"/>
                    </a:cubicBezTo>
                    <a:cubicBezTo>
                      <a:pt x="1351" y="518"/>
                      <a:pt x="1353" y="518"/>
                      <a:pt x="1355" y="516"/>
                    </a:cubicBezTo>
                    <a:cubicBezTo>
                      <a:pt x="1356" y="513"/>
                      <a:pt x="1359" y="510"/>
                      <a:pt x="1361" y="507"/>
                    </a:cubicBezTo>
                    <a:cubicBezTo>
                      <a:pt x="1362" y="504"/>
                      <a:pt x="1364" y="507"/>
                      <a:pt x="1364" y="509"/>
                    </a:cubicBezTo>
                    <a:cubicBezTo>
                      <a:pt x="1364" y="511"/>
                      <a:pt x="1364" y="513"/>
                      <a:pt x="1363" y="518"/>
                    </a:cubicBezTo>
                    <a:cubicBezTo>
                      <a:pt x="1362" y="523"/>
                      <a:pt x="1366" y="516"/>
                      <a:pt x="1367" y="514"/>
                    </a:cubicBezTo>
                    <a:cubicBezTo>
                      <a:pt x="1368" y="513"/>
                      <a:pt x="1373" y="508"/>
                      <a:pt x="1378" y="505"/>
                    </a:cubicBezTo>
                    <a:cubicBezTo>
                      <a:pt x="1382" y="501"/>
                      <a:pt x="1389" y="503"/>
                      <a:pt x="1392" y="502"/>
                    </a:cubicBezTo>
                    <a:cubicBezTo>
                      <a:pt x="1395" y="501"/>
                      <a:pt x="1399" y="507"/>
                      <a:pt x="1400" y="509"/>
                    </a:cubicBezTo>
                    <a:cubicBezTo>
                      <a:pt x="1400" y="512"/>
                      <a:pt x="1403" y="513"/>
                      <a:pt x="1406" y="515"/>
                    </a:cubicBezTo>
                    <a:cubicBezTo>
                      <a:pt x="1408" y="517"/>
                      <a:pt x="1406" y="512"/>
                      <a:pt x="1407" y="509"/>
                    </a:cubicBezTo>
                    <a:cubicBezTo>
                      <a:pt x="1408" y="506"/>
                      <a:pt x="1412" y="504"/>
                      <a:pt x="1414" y="502"/>
                    </a:cubicBezTo>
                    <a:cubicBezTo>
                      <a:pt x="1415" y="501"/>
                      <a:pt x="1416" y="499"/>
                      <a:pt x="1418" y="498"/>
                    </a:cubicBezTo>
                    <a:cubicBezTo>
                      <a:pt x="1419" y="498"/>
                      <a:pt x="1421" y="498"/>
                      <a:pt x="1422" y="496"/>
                    </a:cubicBezTo>
                    <a:cubicBezTo>
                      <a:pt x="1422" y="494"/>
                      <a:pt x="1425" y="494"/>
                      <a:pt x="1425" y="493"/>
                    </a:cubicBezTo>
                    <a:cubicBezTo>
                      <a:pt x="1425" y="491"/>
                      <a:pt x="1428" y="490"/>
                      <a:pt x="1428" y="490"/>
                    </a:cubicBezTo>
                    <a:cubicBezTo>
                      <a:pt x="1428" y="490"/>
                      <a:pt x="1430" y="488"/>
                      <a:pt x="1429" y="487"/>
                    </a:cubicBezTo>
                    <a:cubicBezTo>
                      <a:pt x="1428" y="485"/>
                      <a:pt x="1432" y="486"/>
                      <a:pt x="1432" y="486"/>
                    </a:cubicBezTo>
                    <a:cubicBezTo>
                      <a:pt x="1432" y="486"/>
                      <a:pt x="1436" y="482"/>
                      <a:pt x="1436" y="481"/>
                    </a:cubicBezTo>
                    <a:cubicBezTo>
                      <a:pt x="1436" y="479"/>
                      <a:pt x="1438" y="480"/>
                      <a:pt x="1440" y="480"/>
                    </a:cubicBezTo>
                    <a:cubicBezTo>
                      <a:pt x="1442" y="480"/>
                      <a:pt x="1438" y="478"/>
                      <a:pt x="1444" y="477"/>
                    </a:cubicBezTo>
                    <a:cubicBezTo>
                      <a:pt x="1450" y="475"/>
                      <a:pt x="1451" y="475"/>
                      <a:pt x="1454" y="472"/>
                    </a:cubicBezTo>
                    <a:cubicBezTo>
                      <a:pt x="1457" y="469"/>
                      <a:pt x="1464" y="469"/>
                      <a:pt x="1465" y="466"/>
                    </a:cubicBezTo>
                    <a:cubicBezTo>
                      <a:pt x="1467" y="462"/>
                      <a:pt x="1471" y="461"/>
                      <a:pt x="1471" y="460"/>
                    </a:cubicBezTo>
                    <a:cubicBezTo>
                      <a:pt x="1471" y="460"/>
                      <a:pt x="1470" y="458"/>
                      <a:pt x="1472" y="457"/>
                    </a:cubicBezTo>
                    <a:cubicBezTo>
                      <a:pt x="1473" y="456"/>
                      <a:pt x="1474" y="462"/>
                      <a:pt x="1474" y="462"/>
                    </a:cubicBezTo>
                    <a:cubicBezTo>
                      <a:pt x="1474" y="462"/>
                      <a:pt x="1479" y="463"/>
                      <a:pt x="1481" y="463"/>
                    </a:cubicBezTo>
                    <a:cubicBezTo>
                      <a:pt x="1484" y="463"/>
                      <a:pt x="1491" y="468"/>
                      <a:pt x="1492" y="468"/>
                    </a:cubicBezTo>
                    <a:cubicBezTo>
                      <a:pt x="1493" y="468"/>
                      <a:pt x="1491" y="465"/>
                      <a:pt x="1490" y="463"/>
                    </a:cubicBezTo>
                    <a:cubicBezTo>
                      <a:pt x="1489" y="462"/>
                      <a:pt x="1492" y="463"/>
                      <a:pt x="1494" y="464"/>
                    </a:cubicBezTo>
                    <a:cubicBezTo>
                      <a:pt x="1495" y="464"/>
                      <a:pt x="1496" y="460"/>
                      <a:pt x="1496" y="460"/>
                    </a:cubicBezTo>
                    <a:cubicBezTo>
                      <a:pt x="1496" y="460"/>
                      <a:pt x="1495" y="457"/>
                      <a:pt x="1494" y="456"/>
                    </a:cubicBezTo>
                    <a:cubicBezTo>
                      <a:pt x="1494" y="455"/>
                      <a:pt x="1493" y="453"/>
                      <a:pt x="1494" y="452"/>
                    </a:cubicBezTo>
                    <a:cubicBezTo>
                      <a:pt x="1496" y="451"/>
                      <a:pt x="1492" y="446"/>
                      <a:pt x="1490" y="444"/>
                    </a:cubicBezTo>
                    <a:cubicBezTo>
                      <a:pt x="1487" y="443"/>
                      <a:pt x="1486" y="440"/>
                      <a:pt x="1487" y="440"/>
                    </a:cubicBezTo>
                    <a:cubicBezTo>
                      <a:pt x="1488" y="439"/>
                      <a:pt x="1488" y="437"/>
                      <a:pt x="1488" y="435"/>
                    </a:cubicBezTo>
                    <a:cubicBezTo>
                      <a:pt x="1488" y="434"/>
                      <a:pt x="1485" y="430"/>
                      <a:pt x="1487" y="429"/>
                    </a:cubicBezTo>
                    <a:cubicBezTo>
                      <a:pt x="1488" y="428"/>
                      <a:pt x="1485" y="429"/>
                      <a:pt x="1484" y="424"/>
                    </a:cubicBezTo>
                    <a:cubicBezTo>
                      <a:pt x="1483" y="419"/>
                      <a:pt x="1483" y="424"/>
                      <a:pt x="1481" y="425"/>
                    </a:cubicBezTo>
                    <a:cubicBezTo>
                      <a:pt x="1479" y="427"/>
                      <a:pt x="1474" y="420"/>
                      <a:pt x="1475" y="418"/>
                    </a:cubicBezTo>
                    <a:cubicBezTo>
                      <a:pt x="1475" y="415"/>
                      <a:pt x="1475" y="413"/>
                      <a:pt x="1473" y="414"/>
                    </a:cubicBezTo>
                    <a:cubicBezTo>
                      <a:pt x="1471" y="414"/>
                      <a:pt x="1470" y="416"/>
                      <a:pt x="1468" y="416"/>
                    </a:cubicBezTo>
                    <a:cubicBezTo>
                      <a:pt x="1467" y="417"/>
                      <a:pt x="1464" y="411"/>
                      <a:pt x="1464" y="411"/>
                    </a:cubicBezTo>
                    <a:cubicBezTo>
                      <a:pt x="1464" y="411"/>
                      <a:pt x="1469" y="411"/>
                      <a:pt x="1471" y="412"/>
                    </a:cubicBezTo>
                    <a:cubicBezTo>
                      <a:pt x="1472" y="412"/>
                      <a:pt x="1474" y="409"/>
                      <a:pt x="1474" y="409"/>
                    </a:cubicBezTo>
                    <a:cubicBezTo>
                      <a:pt x="1477" y="415"/>
                      <a:pt x="1477" y="415"/>
                      <a:pt x="1477" y="415"/>
                    </a:cubicBezTo>
                    <a:cubicBezTo>
                      <a:pt x="1488" y="415"/>
                      <a:pt x="1488" y="415"/>
                      <a:pt x="1488" y="415"/>
                    </a:cubicBezTo>
                    <a:cubicBezTo>
                      <a:pt x="1488" y="415"/>
                      <a:pt x="1496" y="413"/>
                      <a:pt x="1497" y="410"/>
                    </a:cubicBezTo>
                    <a:cubicBezTo>
                      <a:pt x="1499" y="408"/>
                      <a:pt x="1505" y="400"/>
                      <a:pt x="1506" y="398"/>
                    </a:cubicBezTo>
                    <a:cubicBezTo>
                      <a:pt x="1508" y="396"/>
                      <a:pt x="1505" y="394"/>
                      <a:pt x="1504" y="391"/>
                    </a:cubicBezTo>
                    <a:cubicBezTo>
                      <a:pt x="1502" y="388"/>
                      <a:pt x="1503" y="382"/>
                      <a:pt x="1503" y="382"/>
                    </a:cubicBezTo>
                    <a:cubicBezTo>
                      <a:pt x="1503" y="382"/>
                      <a:pt x="1506" y="382"/>
                      <a:pt x="1507" y="379"/>
                    </a:cubicBezTo>
                    <a:cubicBezTo>
                      <a:pt x="1507" y="378"/>
                      <a:pt x="1507" y="378"/>
                      <a:pt x="1507" y="377"/>
                    </a:cubicBezTo>
                    <a:cubicBezTo>
                      <a:pt x="1511" y="379"/>
                      <a:pt x="1511" y="379"/>
                      <a:pt x="1511" y="379"/>
                    </a:cubicBezTo>
                    <a:cubicBezTo>
                      <a:pt x="1515" y="376"/>
                      <a:pt x="1515" y="376"/>
                      <a:pt x="1515" y="376"/>
                    </a:cubicBezTo>
                    <a:cubicBezTo>
                      <a:pt x="1515" y="376"/>
                      <a:pt x="1514" y="382"/>
                      <a:pt x="1512" y="384"/>
                    </a:cubicBezTo>
                    <a:cubicBezTo>
                      <a:pt x="1510" y="387"/>
                      <a:pt x="1513" y="389"/>
                      <a:pt x="1514" y="390"/>
                    </a:cubicBezTo>
                    <a:cubicBezTo>
                      <a:pt x="1516" y="392"/>
                      <a:pt x="1515" y="394"/>
                      <a:pt x="1514" y="395"/>
                    </a:cubicBezTo>
                    <a:cubicBezTo>
                      <a:pt x="1514" y="397"/>
                      <a:pt x="1518" y="398"/>
                      <a:pt x="1520" y="398"/>
                    </a:cubicBezTo>
                    <a:cubicBezTo>
                      <a:pt x="1523" y="397"/>
                      <a:pt x="1526" y="395"/>
                      <a:pt x="1528" y="394"/>
                    </a:cubicBezTo>
                    <a:cubicBezTo>
                      <a:pt x="1529" y="393"/>
                      <a:pt x="1534" y="393"/>
                      <a:pt x="1536" y="395"/>
                    </a:cubicBezTo>
                    <a:cubicBezTo>
                      <a:pt x="1538" y="397"/>
                      <a:pt x="1540" y="398"/>
                      <a:pt x="1540" y="400"/>
                    </a:cubicBezTo>
                    <a:cubicBezTo>
                      <a:pt x="1540" y="401"/>
                      <a:pt x="1541" y="406"/>
                      <a:pt x="1540" y="408"/>
                    </a:cubicBezTo>
                    <a:cubicBezTo>
                      <a:pt x="1539" y="410"/>
                      <a:pt x="1546" y="412"/>
                      <a:pt x="1547" y="412"/>
                    </a:cubicBezTo>
                    <a:cubicBezTo>
                      <a:pt x="1549" y="412"/>
                      <a:pt x="1552" y="410"/>
                      <a:pt x="1552" y="410"/>
                    </a:cubicBezTo>
                    <a:cubicBezTo>
                      <a:pt x="1552" y="410"/>
                      <a:pt x="1554" y="414"/>
                      <a:pt x="1556" y="417"/>
                    </a:cubicBezTo>
                    <a:cubicBezTo>
                      <a:pt x="1558" y="419"/>
                      <a:pt x="1561" y="420"/>
                      <a:pt x="1562" y="421"/>
                    </a:cubicBezTo>
                    <a:cubicBezTo>
                      <a:pt x="1563" y="422"/>
                      <a:pt x="1567" y="419"/>
                      <a:pt x="1567" y="419"/>
                    </a:cubicBezTo>
                    <a:cubicBezTo>
                      <a:pt x="1567" y="419"/>
                      <a:pt x="1564" y="423"/>
                      <a:pt x="1566" y="424"/>
                    </a:cubicBezTo>
                    <a:cubicBezTo>
                      <a:pt x="1567" y="425"/>
                      <a:pt x="1569" y="423"/>
                      <a:pt x="1569" y="423"/>
                    </a:cubicBezTo>
                    <a:cubicBezTo>
                      <a:pt x="1569" y="423"/>
                      <a:pt x="1569" y="420"/>
                      <a:pt x="1571" y="421"/>
                    </a:cubicBezTo>
                    <a:cubicBezTo>
                      <a:pt x="1573" y="423"/>
                      <a:pt x="1574" y="421"/>
                      <a:pt x="1575" y="419"/>
                    </a:cubicBezTo>
                    <a:cubicBezTo>
                      <a:pt x="1577" y="418"/>
                      <a:pt x="1573" y="417"/>
                      <a:pt x="1571" y="416"/>
                    </a:cubicBezTo>
                    <a:cubicBezTo>
                      <a:pt x="1569" y="415"/>
                      <a:pt x="1571" y="412"/>
                      <a:pt x="1571" y="412"/>
                    </a:cubicBezTo>
                    <a:cubicBezTo>
                      <a:pt x="1577" y="408"/>
                      <a:pt x="1577" y="408"/>
                      <a:pt x="1577" y="408"/>
                    </a:cubicBezTo>
                    <a:cubicBezTo>
                      <a:pt x="1577" y="408"/>
                      <a:pt x="1577" y="406"/>
                      <a:pt x="1577" y="402"/>
                    </a:cubicBezTo>
                    <a:cubicBezTo>
                      <a:pt x="1578" y="399"/>
                      <a:pt x="1576" y="402"/>
                      <a:pt x="1572" y="401"/>
                    </a:cubicBezTo>
                    <a:cubicBezTo>
                      <a:pt x="1569" y="400"/>
                      <a:pt x="1575" y="401"/>
                      <a:pt x="1577" y="399"/>
                    </a:cubicBezTo>
                    <a:cubicBezTo>
                      <a:pt x="1578" y="397"/>
                      <a:pt x="1575" y="397"/>
                      <a:pt x="1572" y="394"/>
                    </a:cubicBezTo>
                    <a:cubicBezTo>
                      <a:pt x="1570" y="391"/>
                      <a:pt x="1570" y="391"/>
                      <a:pt x="1573" y="391"/>
                    </a:cubicBezTo>
                    <a:cubicBezTo>
                      <a:pt x="1575" y="391"/>
                      <a:pt x="1581" y="393"/>
                      <a:pt x="1583" y="394"/>
                    </a:cubicBezTo>
                    <a:cubicBezTo>
                      <a:pt x="1585" y="394"/>
                      <a:pt x="1587" y="395"/>
                      <a:pt x="1587" y="395"/>
                    </a:cubicBezTo>
                    <a:cubicBezTo>
                      <a:pt x="1585" y="389"/>
                      <a:pt x="1585" y="389"/>
                      <a:pt x="1585" y="389"/>
                    </a:cubicBezTo>
                    <a:cubicBezTo>
                      <a:pt x="1585" y="389"/>
                      <a:pt x="1593" y="393"/>
                      <a:pt x="1593" y="392"/>
                    </a:cubicBezTo>
                    <a:cubicBezTo>
                      <a:pt x="1593" y="391"/>
                      <a:pt x="1593" y="390"/>
                      <a:pt x="1596" y="386"/>
                    </a:cubicBezTo>
                    <a:cubicBezTo>
                      <a:pt x="1598" y="381"/>
                      <a:pt x="1599" y="383"/>
                      <a:pt x="1601" y="384"/>
                    </a:cubicBezTo>
                    <a:cubicBezTo>
                      <a:pt x="1603" y="384"/>
                      <a:pt x="1601" y="381"/>
                      <a:pt x="1600" y="380"/>
                    </a:cubicBezTo>
                    <a:close/>
                    <a:moveTo>
                      <a:pt x="784" y="127"/>
                    </a:moveTo>
                    <a:cubicBezTo>
                      <a:pt x="784" y="126"/>
                      <a:pt x="787" y="129"/>
                      <a:pt x="787" y="129"/>
                    </a:cubicBezTo>
                    <a:cubicBezTo>
                      <a:pt x="787" y="129"/>
                      <a:pt x="789" y="134"/>
                      <a:pt x="787" y="133"/>
                    </a:cubicBezTo>
                    <a:cubicBezTo>
                      <a:pt x="784" y="132"/>
                      <a:pt x="780" y="130"/>
                      <a:pt x="784" y="127"/>
                    </a:cubicBezTo>
                    <a:close/>
                    <a:moveTo>
                      <a:pt x="781" y="144"/>
                    </a:moveTo>
                    <a:cubicBezTo>
                      <a:pt x="782" y="143"/>
                      <a:pt x="786" y="143"/>
                      <a:pt x="786" y="143"/>
                    </a:cubicBezTo>
                    <a:cubicBezTo>
                      <a:pt x="786" y="143"/>
                      <a:pt x="788" y="148"/>
                      <a:pt x="787" y="149"/>
                    </a:cubicBezTo>
                    <a:cubicBezTo>
                      <a:pt x="785" y="151"/>
                      <a:pt x="779" y="148"/>
                      <a:pt x="781" y="144"/>
                    </a:cubicBezTo>
                    <a:close/>
                    <a:moveTo>
                      <a:pt x="495" y="310"/>
                    </a:moveTo>
                    <a:cubicBezTo>
                      <a:pt x="495" y="310"/>
                      <a:pt x="495" y="310"/>
                      <a:pt x="496" y="310"/>
                    </a:cubicBezTo>
                    <a:cubicBezTo>
                      <a:pt x="495" y="310"/>
                      <a:pt x="495" y="310"/>
                      <a:pt x="495" y="310"/>
                    </a:cubicBezTo>
                    <a:close/>
                    <a:moveTo>
                      <a:pt x="53" y="503"/>
                    </a:moveTo>
                    <a:cubicBezTo>
                      <a:pt x="52" y="507"/>
                      <a:pt x="53" y="504"/>
                      <a:pt x="53" y="508"/>
                    </a:cubicBezTo>
                    <a:cubicBezTo>
                      <a:pt x="52" y="512"/>
                      <a:pt x="49" y="512"/>
                      <a:pt x="46" y="511"/>
                    </a:cubicBezTo>
                    <a:cubicBezTo>
                      <a:pt x="44" y="510"/>
                      <a:pt x="43" y="511"/>
                      <a:pt x="42" y="514"/>
                    </a:cubicBezTo>
                    <a:cubicBezTo>
                      <a:pt x="41" y="517"/>
                      <a:pt x="39" y="515"/>
                      <a:pt x="38" y="514"/>
                    </a:cubicBezTo>
                    <a:cubicBezTo>
                      <a:pt x="38" y="513"/>
                      <a:pt x="36" y="507"/>
                      <a:pt x="35" y="505"/>
                    </a:cubicBezTo>
                    <a:cubicBezTo>
                      <a:pt x="34" y="502"/>
                      <a:pt x="32" y="499"/>
                      <a:pt x="32" y="498"/>
                    </a:cubicBezTo>
                    <a:cubicBezTo>
                      <a:pt x="32" y="496"/>
                      <a:pt x="28" y="493"/>
                      <a:pt x="28" y="490"/>
                    </a:cubicBezTo>
                    <a:cubicBezTo>
                      <a:pt x="28" y="489"/>
                      <a:pt x="30" y="487"/>
                      <a:pt x="32" y="484"/>
                    </a:cubicBezTo>
                    <a:cubicBezTo>
                      <a:pt x="34" y="481"/>
                      <a:pt x="34" y="482"/>
                      <a:pt x="40" y="481"/>
                    </a:cubicBezTo>
                    <a:cubicBezTo>
                      <a:pt x="47" y="480"/>
                      <a:pt x="41" y="485"/>
                      <a:pt x="44" y="487"/>
                    </a:cubicBezTo>
                    <a:cubicBezTo>
                      <a:pt x="48" y="489"/>
                      <a:pt x="52" y="492"/>
                      <a:pt x="54" y="497"/>
                    </a:cubicBezTo>
                    <a:cubicBezTo>
                      <a:pt x="57" y="502"/>
                      <a:pt x="54" y="498"/>
                      <a:pt x="53" y="503"/>
                    </a:cubicBezTo>
                    <a:close/>
                    <a:moveTo>
                      <a:pt x="89" y="489"/>
                    </a:moveTo>
                    <a:cubicBezTo>
                      <a:pt x="88" y="492"/>
                      <a:pt x="86" y="495"/>
                      <a:pt x="84" y="496"/>
                    </a:cubicBezTo>
                    <a:cubicBezTo>
                      <a:pt x="81" y="496"/>
                      <a:pt x="81" y="496"/>
                      <a:pt x="82" y="492"/>
                    </a:cubicBezTo>
                    <a:cubicBezTo>
                      <a:pt x="83" y="489"/>
                      <a:pt x="81" y="489"/>
                      <a:pt x="79" y="485"/>
                    </a:cubicBezTo>
                    <a:cubicBezTo>
                      <a:pt x="76" y="480"/>
                      <a:pt x="73" y="482"/>
                      <a:pt x="71" y="481"/>
                    </a:cubicBezTo>
                    <a:cubicBezTo>
                      <a:pt x="71" y="481"/>
                      <a:pt x="71" y="478"/>
                      <a:pt x="72" y="476"/>
                    </a:cubicBezTo>
                    <a:cubicBezTo>
                      <a:pt x="73" y="474"/>
                      <a:pt x="70" y="471"/>
                      <a:pt x="70" y="471"/>
                    </a:cubicBezTo>
                    <a:cubicBezTo>
                      <a:pt x="70" y="471"/>
                      <a:pt x="70" y="471"/>
                      <a:pt x="73" y="472"/>
                    </a:cubicBezTo>
                    <a:cubicBezTo>
                      <a:pt x="76" y="473"/>
                      <a:pt x="73" y="467"/>
                      <a:pt x="73" y="467"/>
                    </a:cubicBezTo>
                    <a:cubicBezTo>
                      <a:pt x="78" y="473"/>
                      <a:pt x="78" y="473"/>
                      <a:pt x="78" y="473"/>
                    </a:cubicBezTo>
                    <a:cubicBezTo>
                      <a:pt x="78" y="473"/>
                      <a:pt x="77" y="469"/>
                      <a:pt x="79" y="471"/>
                    </a:cubicBezTo>
                    <a:cubicBezTo>
                      <a:pt x="80" y="472"/>
                      <a:pt x="81" y="470"/>
                      <a:pt x="81" y="465"/>
                    </a:cubicBezTo>
                    <a:cubicBezTo>
                      <a:pt x="81" y="461"/>
                      <a:pt x="76" y="460"/>
                      <a:pt x="74" y="459"/>
                    </a:cubicBezTo>
                    <a:cubicBezTo>
                      <a:pt x="73" y="458"/>
                      <a:pt x="74" y="455"/>
                      <a:pt x="74" y="455"/>
                    </a:cubicBezTo>
                    <a:cubicBezTo>
                      <a:pt x="74" y="455"/>
                      <a:pt x="83" y="460"/>
                      <a:pt x="84" y="463"/>
                    </a:cubicBezTo>
                    <a:cubicBezTo>
                      <a:pt x="85" y="465"/>
                      <a:pt x="84" y="471"/>
                      <a:pt x="84" y="473"/>
                    </a:cubicBezTo>
                    <a:cubicBezTo>
                      <a:pt x="83" y="475"/>
                      <a:pt x="85" y="479"/>
                      <a:pt x="87" y="481"/>
                    </a:cubicBezTo>
                    <a:cubicBezTo>
                      <a:pt x="89" y="483"/>
                      <a:pt x="90" y="486"/>
                      <a:pt x="89" y="489"/>
                    </a:cubicBezTo>
                    <a:close/>
                    <a:moveTo>
                      <a:pt x="97" y="508"/>
                    </a:moveTo>
                    <a:cubicBezTo>
                      <a:pt x="97" y="508"/>
                      <a:pt x="103" y="507"/>
                      <a:pt x="105" y="508"/>
                    </a:cubicBezTo>
                    <a:cubicBezTo>
                      <a:pt x="107" y="509"/>
                      <a:pt x="104" y="513"/>
                      <a:pt x="102" y="513"/>
                    </a:cubicBezTo>
                    <a:cubicBezTo>
                      <a:pt x="99" y="513"/>
                      <a:pt x="97" y="508"/>
                      <a:pt x="97" y="508"/>
                    </a:cubicBezTo>
                    <a:close/>
                    <a:moveTo>
                      <a:pt x="116" y="544"/>
                    </a:moveTo>
                    <a:cubicBezTo>
                      <a:pt x="115" y="546"/>
                      <a:pt x="112" y="549"/>
                      <a:pt x="112" y="549"/>
                    </a:cubicBezTo>
                    <a:cubicBezTo>
                      <a:pt x="112" y="549"/>
                      <a:pt x="108" y="548"/>
                      <a:pt x="107" y="547"/>
                    </a:cubicBezTo>
                    <a:cubicBezTo>
                      <a:pt x="106" y="546"/>
                      <a:pt x="103" y="544"/>
                      <a:pt x="103" y="544"/>
                    </a:cubicBezTo>
                    <a:cubicBezTo>
                      <a:pt x="103" y="543"/>
                      <a:pt x="101" y="539"/>
                      <a:pt x="103" y="541"/>
                    </a:cubicBezTo>
                    <a:cubicBezTo>
                      <a:pt x="105" y="542"/>
                      <a:pt x="106" y="543"/>
                      <a:pt x="107" y="542"/>
                    </a:cubicBezTo>
                    <a:cubicBezTo>
                      <a:pt x="108" y="541"/>
                      <a:pt x="102" y="529"/>
                      <a:pt x="102" y="529"/>
                    </a:cubicBezTo>
                    <a:cubicBezTo>
                      <a:pt x="102" y="529"/>
                      <a:pt x="110" y="539"/>
                      <a:pt x="112" y="541"/>
                    </a:cubicBezTo>
                    <a:cubicBezTo>
                      <a:pt x="114" y="542"/>
                      <a:pt x="117" y="543"/>
                      <a:pt x="116" y="544"/>
                    </a:cubicBezTo>
                    <a:close/>
                    <a:moveTo>
                      <a:pt x="607" y="328"/>
                    </a:moveTo>
                    <a:cubicBezTo>
                      <a:pt x="607" y="328"/>
                      <a:pt x="608" y="328"/>
                      <a:pt x="608" y="328"/>
                    </a:cubicBezTo>
                    <a:cubicBezTo>
                      <a:pt x="608" y="328"/>
                      <a:pt x="607" y="328"/>
                      <a:pt x="607" y="328"/>
                    </a:cubicBezTo>
                    <a:cubicBezTo>
                      <a:pt x="606" y="327"/>
                      <a:pt x="601" y="326"/>
                      <a:pt x="600" y="328"/>
                    </a:cubicBezTo>
                    <a:cubicBezTo>
                      <a:pt x="599" y="329"/>
                      <a:pt x="595" y="337"/>
                      <a:pt x="595" y="337"/>
                    </a:cubicBezTo>
                    <a:cubicBezTo>
                      <a:pt x="601" y="333"/>
                      <a:pt x="601" y="333"/>
                      <a:pt x="601" y="333"/>
                    </a:cubicBezTo>
                    <a:cubicBezTo>
                      <a:pt x="596" y="340"/>
                      <a:pt x="596" y="340"/>
                      <a:pt x="596" y="340"/>
                    </a:cubicBezTo>
                    <a:cubicBezTo>
                      <a:pt x="596" y="340"/>
                      <a:pt x="593" y="340"/>
                      <a:pt x="592" y="341"/>
                    </a:cubicBezTo>
                    <a:cubicBezTo>
                      <a:pt x="591" y="342"/>
                      <a:pt x="591" y="347"/>
                      <a:pt x="591" y="347"/>
                    </a:cubicBezTo>
                    <a:cubicBezTo>
                      <a:pt x="589" y="345"/>
                      <a:pt x="589" y="345"/>
                      <a:pt x="589" y="345"/>
                    </a:cubicBezTo>
                    <a:cubicBezTo>
                      <a:pt x="589" y="345"/>
                      <a:pt x="590" y="341"/>
                      <a:pt x="590" y="339"/>
                    </a:cubicBezTo>
                    <a:cubicBezTo>
                      <a:pt x="591" y="337"/>
                      <a:pt x="592" y="337"/>
                      <a:pt x="593" y="334"/>
                    </a:cubicBezTo>
                    <a:cubicBezTo>
                      <a:pt x="595" y="331"/>
                      <a:pt x="597" y="328"/>
                      <a:pt x="593" y="327"/>
                    </a:cubicBezTo>
                    <a:cubicBezTo>
                      <a:pt x="590" y="326"/>
                      <a:pt x="594" y="325"/>
                      <a:pt x="597" y="325"/>
                    </a:cubicBezTo>
                    <a:cubicBezTo>
                      <a:pt x="600" y="325"/>
                      <a:pt x="608" y="319"/>
                      <a:pt x="608" y="319"/>
                    </a:cubicBezTo>
                    <a:cubicBezTo>
                      <a:pt x="608" y="319"/>
                      <a:pt x="603" y="324"/>
                      <a:pt x="602" y="325"/>
                    </a:cubicBezTo>
                    <a:cubicBezTo>
                      <a:pt x="602" y="326"/>
                      <a:pt x="606" y="327"/>
                      <a:pt x="607" y="328"/>
                    </a:cubicBezTo>
                    <a:close/>
                    <a:moveTo>
                      <a:pt x="627" y="325"/>
                    </a:moveTo>
                    <a:cubicBezTo>
                      <a:pt x="625" y="327"/>
                      <a:pt x="622" y="327"/>
                      <a:pt x="620" y="327"/>
                    </a:cubicBezTo>
                    <a:cubicBezTo>
                      <a:pt x="618" y="328"/>
                      <a:pt x="613" y="326"/>
                      <a:pt x="616" y="324"/>
                    </a:cubicBezTo>
                    <a:cubicBezTo>
                      <a:pt x="617" y="324"/>
                      <a:pt x="620" y="324"/>
                      <a:pt x="622" y="324"/>
                    </a:cubicBezTo>
                    <a:cubicBezTo>
                      <a:pt x="624" y="324"/>
                      <a:pt x="631" y="322"/>
                      <a:pt x="633" y="322"/>
                    </a:cubicBezTo>
                    <a:cubicBezTo>
                      <a:pt x="635" y="322"/>
                      <a:pt x="636" y="324"/>
                      <a:pt x="637" y="324"/>
                    </a:cubicBezTo>
                    <a:cubicBezTo>
                      <a:pt x="636" y="324"/>
                      <a:pt x="628" y="324"/>
                      <a:pt x="627" y="325"/>
                    </a:cubicBezTo>
                    <a:close/>
                    <a:moveTo>
                      <a:pt x="711" y="211"/>
                    </a:moveTo>
                    <a:cubicBezTo>
                      <a:pt x="707" y="212"/>
                      <a:pt x="705" y="211"/>
                      <a:pt x="706" y="209"/>
                    </a:cubicBezTo>
                    <a:cubicBezTo>
                      <a:pt x="707" y="207"/>
                      <a:pt x="708" y="207"/>
                      <a:pt x="708" y="207"/>
                    </a:cubicBezTo>
                    <a:cubicBezTo>
                      <a:pt x="712" y="207"/>
                      <a:pt x="715" y="205"/>
                      <a:pt x="715" y="208"/>
                    </a:cubicBezTo>
                    <a:cubicBezTo>
                      <a:pt x="715" y="210"/>
                      <a:pt x="716" y="210"/>
                      <a:pt x="711" y="211"/>
                    </a:cubicBezTo>
                    <a:close/>
                    <a:moveTo>
                      <a:pt x="747" y="130"/>
                    </a:moveTo>
                    <a:cubicBezTo>
                      <a:pt x="745" y="130"/>
                      <a:pt x="742" y="134"/>
                      <a:pt x="742" y="134"/>
                    </a:cubicBezTo>
                    <a:cubicBezTo>
                      <a:pt x="742" y="134"/>
                      <a:pt x="740" y="133"/>
                      <a:pt x="738" y="132"/>
                    </a:cubicBezTo>
                    <a:cubicBezTo>
                      <a:pt x="737" y="131"/>
                      <a:pt x="732" y="134"/>
                      <a:pt x="732" y="134"/>
                    </a:cubicBezTo>
                    <a:cubicBezTo>
                      <a:pt x="732" y="134"/>
                      <a:pt x="736" y="143"/>
                      <a:pt x="734" y="143"/>
                    </a:cubicBezTo>
                    <a:cubicBezTo>
                      <a:pt x="733" y="143"/>
                      <a:pt x="729" y="138"/>
                      <a:pt x="729" y="138"/>
                    </a:cubicBezTo>
                    <a:cubicBezTo>
                      <a:pt x="729" y="138"/>
                      <a:pt x="728" y="134"/>
                      <a:pt x="727" y="134"/>
                    </a:cubicBezTo>
                    <a:cubicBezTo>
                      <a:pt x="726" y="133"/>
                      <a:pt x="721" y="137"/>
                      <a:pt x="721" y="137"/>
                    </a:cubicBezTo>
                    <a:cubicBezTo>
                      <a:pt x="725" y="138"/>
                      <a:pt x="725" y="138"/>
                      <a:pt x="725" y="138"/>
                    </a:cubicBezTo>
                    <a:cubicBezTo>
                      <a:pt x="725" y="138"/>
                      <a:pt x="728" y="146"/>
                      <a:pt x="729" y="148"/>
                    </a:cubicBezTo>
                    <a:cubicBezTo>
                      <a:pt x="729" y="149"/>
                      <a:pt x="730" y="156"/>
                      <a:pt x="730" y="158"/>
                    </a:cubicBezTo>
                    <a:cubicBezTo>
                      <a:pt x="730" y="160"/>
                      <a:pt x="728" y="157"/>
                      <a:pt x="724" y="156"/>
                    </a:cubicBezTo>
                    <a:cubicBezTo>
                      <a:pt x="720" y="155"/>
                      <a:pt x="726" y="151"/>
                      <a:pt x="726" y="151"/>
                    </a:cubicBezTo>
                    <a:cubicBezTo>
                      <a:pt x="726" y="151"/>
                      <a:pt x="723" y="141"/>
                      <a:pt x="722" y="140"/>
                    </a:cubicBezTo>
                    <a:cubicBezTo>
                      <a:pt x="721" y="139"/>
                      <a:pt x="718" y="139"/>
                      <a:pt x="717" y="139"/>
                    </a:cubicBezTo>
                    <a:cubicBezTo>
                      <a:pt x="715" y="139"/>
                      <a:pt x="716" y="137"/>
                      <a:pt x="717" y="135"/>
                    </a:cubicBezTo>
                    <a:cubicBezTo>
                      <a:pt x="719" y="133"/>
                      <a:pt x="720" y="130"/>
                      <a:pt x="720" y="129"/>
                    </a:cubicBezTo>
                    <a:cubicBezTo>
                      <a:pt x="719" y="127"/>
                      <a:pt x="715" y="121"/>
                      <a:pt x="718" y="120"/>
                    </a:cubicBezTo>
                    <a:cubicBezTo>
                      <a:pt x="719" y="119"/>
                      <a:pt x="726" y="128"/>
                      <a:pt x="728" y="129"/>
                    </a:cubicBezTo>
                    <a:cubicBezTo>
                      <a:pt x="730" y="129"/>
                      <a:pt x="732" y="130"/>
                      <a:pt x="735" y="129"/>
                    </a:cubicBezTo>
                    <a:cubicBezTo>
                      <a:pt x="738" y="128"/>
                      <a:pt x="745" y="128"/>
                      <a:pt x="748" y="127"/>
                    </a:cubicBezTo>
                    <a:cubicBezTo>
                      <a:pt x="751" y="126"/>
                      <a:pt x="752" y="123"/>
                      <a:pt x="755" y="122"/>
                    </a:cubicBezTo>
                    <a:cubicBezTo>
                      <a:pt x="757" y="121"/>
                      <a:pt x="758" y="120"/>
                      <a:pt x="758" y="120"/>
                    </a:cubicBezTo>
                    <a:cubicBezTo>
                      <a:pt x="754" y="120"/>
                      <a:pt x="754" y="120"/>
                      <a:pt x="754" y="120"/>
                    </a:cubicBezTo>
                    <a:cubicBezTo>
                      <a:pt x="754" y="120"/>
                      <a:pt x="752" y="118"/>
                      <a:pt x="753" y="116"/>
                    </a:cubicBezTo>
                    <a:cubicBezTo>
                      <a:pt x="754" y="114"/>
                      <a:pt x="756" y="110"/>
                      <a:pt x="756" y="110"/>
                    </a:cubicBezTo>
                    <a:cubicBezTo>
                      <a:pt x="756" y="110"/>
                      <a:pt x="760" y="114"/>
                      <a:pt x="761" y="116"/>
                    </a:cubicBezTo>
                    <a:cubicBezTo>
                      <a:pt x="762" y="118"/>
                      <a:pt x="768" y="121"/>
                      <a:pt x="768" y="121"/>
                    </a:cubicBezTo>
                    <a:cubicBezTo>
                      <a:pt x="768" y="121"/>
                      <a:pt x="763" y="122"/>
                      <a:pt x="762" y="122"/>
                    </a:cubicBezTo>
                    <a:cubicBezTo>
                      <a:pt x="761" y="121"/>
                      <a:pt x="757" y="124"/>
                      <a:pt x="756" y="125"/>
                    </a:cubicBezTo>
                    <a:cubicBezTo>
                      <a:pt x="754" y="126"/>
                      <a:pt x="753" y="128"/>
                      <a:pt x="753" y="128"/>
                    </a:cubicBezTo>
                    <a:cubicBezTo>
                      <a:pt x="753" y="128"/>
                      <a:pt x="750" y="130"/>
                      <a:pt x="747" y="130"/>
                    </a:cubicBezTo>
                    <a:close/>
                    <a:moveTo>
                      <a:pt x="812" y="594"/>
                    </a:moveTo>
                    <a:cubicBezTo>
                      <a:pt x="810" y="599"/>
                      <a:pt x="810" y="603"/>
                      <a:pt x="808" y="610"/>
                    </a:cubicBezTo>
                    <a:cubicBezTo>
                      <a:pt x="807" y="617"/>
                      <a:pt x="808" y="622"/>
                      <a:pt x="808" y="622"/>
                    </a:cubicBezTo>
                    <a:cubicBezTo>
                      <a:pt x="804" y="628"/>
                      <a:pt x="804" y="628"/>
                      <a:pt x="804" y="628"/>
                    </a:cubicBezTo>
                    <a:cubicBezTo>
                      <a:pt x="804" y="628"/>
                      <a:pt x="803" y="624"/>
                      <a:pt x="801" y="626"/>
                    </a:cubicBezTo>
                    <a:cubicBezTo>
                      <a:pt x="798" y="627"/>
                      <a:pt x="799" y="630"/>
                      <a:pt x="799" y="630"/>
                    </a:cubicBezTo>
                    <a:cubicBezTo>
                      <a:pt x="799" y="630"/>
                      <a:pt x="803" y="627"/>
                      <a:pt x="803" y="630"/>
                    </a:cubicBezTo>
                    <a:cubicBezTo>
                      <a:pt x="803" y="633"/>
                      <a:pt x="798" y="635"/>
                      <a:pt x="796" y="637"/>
                    </a:cubicBezTo>
                    <a:cubicBezTo>
                      <a:pt x="794" y="639"/>
                      <a:pt x="786" y="645"/>
                      <a:pt x="783" y="647"/>
                    </a:cubicBezTo>
                    <a:cubicBezTo>
                      <a:pt x="781" y="648"/>
                      <a:pt x="779" y="650"/>
                      <a:pt x="777" y="650"/>
                    </a:cubicBezTo>
                    <a:cubicBezTo>
                      <a:pt x="776" y="649"/>
                      <a:pt x="774" y="655"/>
                      <a:pt x="773" y="657"/>
                    </a:cubicBezTo>
                    <a:cubicBezTo>
                      <a:pt x="773" y="659"/>
                      <a:pt x="759" y="664"/>
                      <a:pt x="759" y="664"/>
                    </a:cubicBezTo>
                    <a:cubicBezTo>
                      <a:pt x="756" y="663"/>
                      <a:pt x="749" y="660"/>
                      <a:pt x="751" y="660"/>
                    </a:cubicBezTo>
                    <a:cubicBezTo>
                      <a:pt x="752" y="659"/>
                      <a:pt x="757" y="659"/>
                      <a:pt x="760" y="658"/>
                    </a:cubicBezTo>
                    <a:cubicBezTo>
                      <a:pt x="763" y="656"/>
                      <a:pt x="769" y="653"/>
                      <a:pt x="771" y="649"/>
                    </a:cubicBezTo>
                    <a:cubicBezTo>
                      <a:pt x="774" y="646"/>
                      <a:pt x="778" y="643"/>
                      <a:pt x="780" y="642"/>
                    </a:cubicBezTo>
                    <a:cubicBezTo>
                      <a:pt x="782" y="642"/>
                      <a:pt x="783" y="638"/>
                      <a:pt x="788" y="636"/>
                    </a:cubicBezTo>
                    <a:cubicBezTo>
                      <a:pt x="792" y="635"/>
                      <a:pt x="795" y="629"/>
                      <a:pt x="791" y="632"/>
                    </a:cubicBezTo>
                    <a:cubicBezTo>
                      <a:pt x="787" y="635"/>
                      <a:pt x="783" y="636"/>
                      <a:pt x="783" y="636"/>
                    </a:cubicBezTo>
                    <a:cubicBezTo>
                      <a:pt x="783" y="636"/>
                      <a:pt x="783" y="632"/>
                      <a:pt x="790" y="627"/>
                    </a:cubicBezTo>
                    <a:cubicBezTo>
                      <a:pt x="797" y="622"/>
                      <a:pt x="794" y="623"/>
                      <a:pt x="798" y="617"/>
                    </a:cubicBezTo>
                    <a:cubicBezTo>
                      <a:pt x="801" y="611"/>
                      <a:pt x="804" y="604"/>
                      <a:pt x="805" y="601"/>
                    </a:cubicBezTo>
                    <a:cubicBezTo>
                      <a:pt x="805" y="598"/>
                      <a:pt x="804" y="594"/>
                      <a:pt x="807" y="593"/>
                    </a:cubicBezTo>
                    <a:cubicBezTo>
                      <a:pt x="810" y="592"/>
                      <a:pt x="814" y="589"/>
                      <a:pt x="812" y="594"/>
                    </a:cubicBezTo>
                    <a:close/>
                    <a:moveTo>
                      <a:pt x="837" y="133"/>
                    </a:moveTo>
                    <a:cubicBezTo>
                      <a:pt x="834" y="132"/>
                      <a:pt x="833" y="134"/>
                      <a:pt x="833" y="137"/>
                    </a:cubicBezTo>
                    <a:cubicBezTo>
                      <a:pt x="833" y="140"/>
                      <a:pt x="829" y="138"/>
                      <a:pt x="828" y="141"/>
                    </a:cubicBezTo>
                    <a:cubicBezTo>
                      <a:pt x="826" y="143"/>
                      <a:pt x="834" y="147"/>
                      <a:pt x="836" y="147"/>
                    </a:cubicBezTo>
                    <a:cubicBezTo>
                      <a:pt x="841" y="149"/>
                      <a:pt x="841" y="149"/>
                      <a:pt x="841" y="149"/>
                    </a:cubicBezTo>
                    <a:cubicBezTo>
                      <a:pt x="841" y="149"/>
                      <a:pt x="843" y="143"/>
                      <a:pt x="846" y="138"/>
                    </a:cubicBezTo>
                    <a:cubicBezTo>
                      <a:pt x="849" y="133"/>
                      <a:pt x="841" y="134"/>
                      <a:pt x="837" y="133"/>
                    </a:cubicBezTo>
                    <a:close/>
                    <a:moveTo>
                      <a:pt x="1080" y="607"/>
                    </a:moveTo>
                    <a:cubicBezTo>
                      <a:pt x="1080" y="607"/>
                      <a:pt x="1084" y="611"/>
                      <a:pt x="1085" y="613"/>
                    </a:cubicBezTo>
                    <a:cubicBezTo>
                      <a:pt x="1087" y="615"/>
                      <a:pt x="1088" y="608"/>
                      <a:pt x="1088" y="606"/>
                    </a:cubicBezTo>
                    <a:cubicBezTo>
                      <a:pt x="1089" y="604"/>
                      <a:pt x="1087" y="605"/>
                      <a:pt x="1085" y="603"/>
                    </a:cubicBezTo>
                    <a:cubicBezTo>
                      <a:pt x="1083" y="601"/>
                      <a:pt x="1082" y="605"/>
                      <a:pt x="1080" y="607"/>
                    </a:cubicBezTo>
                    <a:close/>
                  </a:path>
                </a:pathLst>
              </a:custGeom>
              <a:solidFill>
                <a:schemeClr val="accent4">
                  <a:lumMod val="25000"/>
                  <a:lumOff val="75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1" name="Freeform 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803001" y="4133850"/>
                <a:ext cx="153915" cy="134938"/>
              </a:xfrm>
              <a:custGeom>
                <a:avLst/>
                <a:gdLst>
                  <a:gd name="T0" fmla="*/ 2147483647 w 38"/>
                  <a:gd name="T1" fmla="*/ 2147483647 h 35"/>
                  <a:gd name="T2" fmla="*/ 2147483647 w 38"/>
                  <a:gd name="T3" fmla="*/ 2147483647 h 35"/>
                  <a:gd name="T4" fmla="*/ 2147483647 w 38"/>
                  <a:gd name="T5" fmla="*/ 2147483647 h 35"/>
                  <a:gd name="T6" fmla="*/ 2147483647 w 38"/>
                  <a:gd name="T7" fmla="*/ 2147483647 h 35"/>
                  <a:gd name="T8" fmla="*/ 2147483647 w 38"/>
                  <a:gd name="T9" fmla="*/ 2147483647 h 35"/>
                  <a:gd name="T10" fmla="*/ 2147483647 w 38"/>
                  <a:gd name="T11" fmla="*/ 2147483647 h 35"/>
                  <a:gd name="T12" fmla="*/ 2147483647 w 38"/>
                  <a:gd name="T13" fmla="*/ 2147483647 h 35"/>
                  <a:gd name="T14" fmla="*/ 2147483647 w 38"/>
                  <a:gd name="T15" fmla="*/ 2147483647 h 35"/>
                  <a:gd name="T16" fmla="*/ 2147483647 w 38"/>
                  <a:gd name="T17" fmla="*/ 2147483647 h 35"/>
                  <a:gd name="T18" fmla="*/ 2147483647 w 38"/>
                  <a:gd name="T19" fmla="*/ 2147483647 h 35"/>
                  <a:gd name="T20" fmla="*/ 2147483647 w 38"/>
                  <a:gd name="T21" fmla="*/ 2147483647 h 35"/>
                  <a:gd name="T22" fmla="*/ 2147483647 w 38"/>
                  <a:gd name="T23" fmla="*/ 2147483647 h 35"/>
                  <a:gd name="T24" fmla="*/ 2147483647 w 38"/>
                  <a:gd name="T25" fmla="*/ 2147483647 h 35"/>
                  <a:gd name="T26" fmla="*/ 2147483647 w 38"/>
                  <a:gd name="T27" fmla="*/ 2147483647 h 35"/>
                  <a:gd name="T28" fmla="*/ 2147483647 w 38"/>
                  <a:gd name="T29" fmla="*/ 2147483647 h 35"/>
                  <a:gd name="T30" fmla="*/ 2147483647 w 38"/>
                  <a:gd name="T31" fmla="*/ 2147483647 h 35"/>
                  <a:gd name="T32" fmla="*/ 2147483647 w 38"/>
                  <a:gd name="T33" fmla="*/ 2147483647 h 35"/>
                  <a:gd name="T34" fmla="*/ 2147483647 w 38"/>
                  <a:gd name="T35" fmla="*/ 2147483647 h 35"/>
                  <a:gd name="T36" fmla="*/ 2147483647 w 38"/>
                  <a:gd name="T37" fmla="*/ 2147483647 h 35"/>
                  <a:gd name="T38" fmla="*/ 2147483647 w 38"/>
                  <a:gd name="T39" fmla="*/ 2147483647 h 35"/>
                  <a:gd name="T40" fmla="*/ 2147483647 w 38"/>
                  <a:gd name="T41" fmla="*/ 2147483647 h 35"/>
                  <a:gd name="T42" fmla="*/ 2147483647 w 38"/>
                  <a:gd name="T43" fmla="*/ 2147483647 h 35"/>
                  <a:gd name="T44" fmla="*/ 2147483647 w 38"/>
                  <a:gd name="T45" fmla="*/ 2147483647 h 35"/>
                  <a:gd name="T46" fmla="*/ 2147483647 w 38"/>
                  <a:gd name="T47" fmla="*/ 2147483647 h 35"/>
                  <a:gd name="T48" fmla="*/ 2147483647 w 38"/>
                  <a:gd name="T49" fmla="*/ 2147483647 h 3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"/>
                  <a:gd name="T76" fmla="*/ 0 h 35"/>
                  <a:gd name="T77" fmla="*/ 38 w 38"/>
                  <a:gd name="T78" fmla="*/ 35 h 3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" h="35">
                    <a:moveTo>
                      <a:pt x="37" y="22"/>
                    </a:moveTo>
                    <a:cubicBezTo>
                      <a:pt x="35" y="18"/>
                      <a:pt x="35" y="18"/>
                      <a:pt x="35" y="18"/>
                    </a:cubicBezTo>
                    <a:cubicBezTo>
                      <a:pt x="38" y="18"/>
                      <a:pt x="38" y="18"/>
                      <a:pt x="38" y="18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27" y="7"/>
                      <a:pt x="29" y="4"/>
                      <a:pt x="28" y="3"/>
                    </a:cubicBezTo>
                    <a:cubicBezTo>
                      <a:pt x="27" y="2"/>
                      <a:pt x="24" y="3"/>
                      <a:pt x="22" y="3"/>
                    </a:cubicBezTo>
                    <a:cubicBezTo>
                      <a:pt x="20" y="3"/>
                      <a:pt x="16" y="2"/>
                      <a:pt x="15" y="1"/>
                    </a:cubicBezTo>
                    <a:cubicBezTo>
                      <a:pt x="13" y="0"/>
                      <a:pt x="9" y="1"/>
                      <a:pt x="9" y="1"/>
                    </a:cubicBezTo>
                    <a:cubicBezTo>
                      <a:pt x="9" y="1"/>
                      <a:pt x="9" y="1"/>
                      <a:pt x="6" y="4"/>
                    </a:cubicBezTo>
                    <a:cubicBezTo>
                      <a:pt x="3" y="6"/>
                      <a:pt x="2" y="2"/>
                      <a:pt x="1" y="2"/>
                    </a:cubicBezTo>
                    <a:cubicBezTo>
                      <a:pt x="0" y="2"/>
                      <a:pt x="1" y="6"/>
                      <a:pt x="1" y="6"/>
                    </a:cubicBezTo>
                    <a:cubicBezTo>
                      <a:pt x="1" y="6"/>
                      <a:pt x="5" y="13"/>
                      <a:pt x="5" y="15"/>
                    </a:cubicBezTo>
                    <a:cubicBezTo>
                      <a:pt x="6" y="16"/>
                      <a:pt x="11" y="22"/>
                      <a:pt x="12" y="22"/>
                    </a:cubicBezTo>
                    <a:cubicBezTo>
                      <a:pt x="13" y="22"/>
                      <a:pt x="19" y="31"/>
                      <a:pt x="19" y="31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3" y="34"/>
                      <a:pt x="25" y="35"/>
                      <a:pt x="26" y="35"/>
                    </a:cubicBezTo>
                    <a:cubicBezTo>
                      <a:pt x="28" y="34"/>
                      <a:pt x="27" y="30"/>
                      <a:pt x="28" y="29"/>
                    </a:cubicBezTo>
                    <a:cubicBezTo>
                      <a:pt x="29" y="28"/>
                      <a:pt x="32" y="27"/>
                      <a:pt x="32" y="27"/>
                    </a:cubicBezTo>
                    <a:cubicBezTo>
                      <a:pt x="33" y="24"/>
                      <a:pt x="33" y="24"/>
                      <a:pt x="33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4" y="23"/>
                      <a:pt x="34" y="23"/>
                      <a:pt x="34" y="23"/>
                    </a:cubicBezTo>
                    <a:lnTo>
                      <a:pt x="37" y="22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2" name="Freeform 3"/>
              <p:cNvSpPr>
                <a:spLocks noEditPoint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881295" y="1136650"/>
                <a:ext cx="605398" cy="446088"/>
              </a:xfrm>
              <a:custGeom>
                <a:avLst/>
                <a:gdLst>
                  <a:gd name="T0" fmla="*/ 2147483647 w 153"/>
                  <a:gd name="T1" fmla="*/ 2147483647 h 114"/>
                  <a:gd name="T2" fmla="*/ 2147483647 w 153"/>
                  <a:gd name="T3" fmla="*/ 2147483647 h 114"/>
                  <a:gd name="T4" fmla="*/ 2147483647 w 153"/>
                  <a:gd name="T5" fmla="*/ 2147483647 h 114"/>
                  <a:gd name="T6" fmla="*/ 2147483647 w 153"/>
                  <a:gd name="T7" fmla="*/ 2147483647 h 114"/>
                  <a:gd name="T8" fmla="*/ 2147483647 w 153"/>
                  <a:gd name="T9" fmla="*/ 2147483647 h 114"/>
                  <a:gd name="T10" fmla="*/ 2147483647 w 153"/>
                  <a:gd name="T11" fmla="*/ 2147483647 h 114"/>
                  <a:gd name="T12" fmla="*/ 2147483647 w 153"/>
                  <a:gd name="T13" fmla="*/ 2147483647 h 114"/>
                  <a:gd name="T14" fmla="*/ 2147483647 w 153"/>
                  <a:gd name="T15" fmla="*/ 2147483647 h 114"/>
                  <a:gd name="T16" fmla="*/ 2147483647 w 153"/>
                  <a:gd name="T17" fmla="*/ 2147483647 h 114"/>
                  <a:gd name="T18" fmla="*/ 2147483647 w 153"/>
                  <a:gd name="T19" fmla="*/ 2147483647 h 114"/>
                  <a:gd name="T20" fmla="*/ 2147483647 w 153"/>
                  <a:gd name="T21" fmla="*/ 2147483647 h 114"/>
                  <a:gd name="T22" fmla="*/ 2147483647 w 153"/>
                  <a:gd name="T23" fmla="*/ 2147483647 h 114"/>
                  <a:gd name="T24" fmla="*/ 2147483647 w 153"/>
                  <a:gd name="T25" fmla="*/ 2147483647 h 114"/>
                  <a:gd name="T26" fmla="*/ 2147483647 w 153"/>
                  <a:gd name="T27" fmla="*/ 2147483647 h 114"/>
                  <a:gd name="T28" fmla="*/ 2147483647 w 153"/>
                  <a:gd name="T29" fmla="*/ 2147483647 h 114"/>
                  <a:gd name="T30" fmla="*/ 2147483647 w 153"/>
                  <a:gd name="T31" fmla="*/ 2147483647 h 114"/>
                  <a:gd name="T32" fmla="*/ 2147483647 w 153"/>
                  <a:gd name="T33" fmla="*/ 2147483647 h 114"/>
                  <a:gd name="T34" fmla="*/ 2147483647 w 153"/>
                  <a:gd name="T35" fmla="*/ 2147483647 h 114"/>
                  <a:gd name="T36" fmla="*/ 2147483647 w 153"/>
                  <a:gd name="T37" fmla="*/ 2147483647 h 114"/>
                  <a:gd name="T38" fmla="*/ 2147483647 w 153"/>
                  <a:gd name="T39" fmla="*/ 2147483647 h 114"/>
                  <a:gd name="T40" fmla="*/ 2147483647 w 153"/>
                  <a:gd name="T41" fmla="*/ 2147483647 h 114"/>
                  <a:gd name="T42" fmla="*/ 2147483647 w 153"/>
                  <a:gd name="T43" fmla="*/ 2147483647 h 114"/>
                  <a:gd name="T44" fmla="*/ 2147483647 w 153"/>
                  <a:gd name="T45" fmla="*/ 2147483647 h 114"/>
                  <a:gd name="T46" fmla="*/ 2147483647 w 153"/>
                  <a:gd name="T47" fmla="*/ 2147483647 h 114"/>
                  <a:gd name="T48" fmla="*/ 2147483647 w 153"/>
                  <a:gd name="T49" fmla="*/ 2147483647 h 114"/>
                  <a:gd name="T50" fmla="*/ 2147483647 w 153"/>
                  <a:gd name="T51" fmla="*/ 2147483647 h 114"/>
                  <a:gd name="T52" fmla="*/ 2147483647 w 153"/>
                  <a:gd name="T53" fmla="*/ 2147483647 h 114"/>
                  <a:gd name="T54" fmla="*/ 2147483647 w 153"/>
                  <a:gd name="T55" fmla="*/ 2147483647 h 114"/>
                  <a:gd name="T56" fmla="*/ 2147483647 w 153"/>
                  <a:gd name="T57" fmla="*/ 2147483647 h 114"/>
                  <a:gd name="T58" fmla="*/ 2147483647 w 153"/>
                  <a:gd name="T59" fmla="*/ 2147483647 h 114"/>
                  <a:gd name="T60" fmla="*/ 2147483647 w 153"/>
                  <a:gd name="T61" fmla="*/ 2147483647 h 114"/>
                  <a:gd name="T62" fmla="*/ 2147483647 w 153"/>
                  <a:gd name="T63" fmla="*/ 2147483647 h 114"/>
                  <a:gd name="T64" fmla="*/ 2147483647 w 153"/>
                  <a:gd name="T65" fmla="*/ 2147483647 h 11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3"/>
                  <a:gd name="T100" fmla="*/ 0 h 114"/>
                  <a:gd name="T101" fmla="*/ 153 w 153"/>
                  <a:gd name="T102" fmla="*/ 114 h 11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3" h="114">
                    <a:moveTo>
                      <a:pt x="2" y="77"/>
                    </a:moveTo>
                    <a:cubicBezTo>
                      <a:pt x="0" y="76"/>
                      <a:pt x="6" y="86"/>
                      <a:pt x="8" y="88"/>
                    </a:cubicBezTo>
                    <a:cubicBezTo>
                      <a:pt x="10" y="92"/>
                      <a:pt x="10" y="86"/>
                      <a:pt x="9" y="84"/>
                    </a:cubicBezTo>
                    <a:cubicBezTo>
                      <a:pt x="9" y="82"/>
                      <a:pt x="4" y="78"/>
                      <a:pt x="2" y="77"/>
                    </a:cubicBezTo>
                    <a:close/>
                    <a:moveTo>
                      <a:pt x="6" y="32"/>
                    </a:moveTo>
                    <a:cubicBezTo>
                      <a:pt x="8" y="31"/>
                      <a:pt x="9" y="26"/>
                      <a:pt x="8" y="24"/>
                    </a:cubicBezTo>
                    <a:cubicBezTo>
                      <a:pt x="7" y="23"/>
                      <a:pt x="3" y="15"/>
                      <a:pt x="3" y="15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0" y="35"/>
                      <a:pt x="5" y="34"/>
                      <a:pt x="6" y="32"/>
                    </a:cubicBezTo>
                    <a:close/>
                    <a:moveTo>
                      <a:pt x="92" y="24"/>
                    </a:moveTo>
                    <a:cubicBezTo>
                      <a:pt x="88" y="20"/>
                      <a:pt x="88" y="17"/>
                      <a:pt x="82" y="16"/>
                    </a:cubicBezTo>
                    <a:cubicBezTo>
                      <a:pt x="76" y="16"/>
                      <a:pt x="73" y="15"/>
                      <a:pt x="73" y="15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61" y="9"/>
                      <a:pt x="58" y="8"/>
                      <a:pt x="56" y="8"/>
                    </a:cubicBezTo>
                    <a:cubicBezTo>
                      <a:pt x="54" y="9"/>
                      <a:pt x="56" y="21"/>
                      <a:pt x="57" y="23"/>
                    </a:cubicBezTo>
                    <a:cubicBezTo>
                      <a:pt x="58" y="26"/>
                      <a:pt x="53" y="26"/>
                      <a:pt x="52" y="23"/>
                    </a:cubicBezTo>
                    <a:cubicBezTo>
                      <a:pt x="51" y="21"/>
                      <a:pt x="47" y="15"/>
                      <a:pt x="45" y="12"/>
                    </a:cubicBezTo>
                    <a:cubicBezTo>
                      <a:pt x="44" y="10"/>
                      <a:pt x="38" y="4"/>
                      <a:pt x="35" y="2"/>
                    </a:cubicBezTo>
                    <a:cubicBezTo>
                      <a:pt x="33" y="0"/>
                      <a:pt x="30" y="3"/>
                      <a:pt x="29" y="6"/>
                    </a:cubicBezTo>
                    <a:cubicBezTo>
                      <a:pt x="28" y="8"/>
                      <a:pt x="26" y="10"/>
                      <a:pt x="23" y="11"/>
                    </a:cubicBezTo>
                    <a:cubicBezTo>
                      <a:pt x="19" y="12"/>
                      <a:pt x="23" y="19"/>
                      <a:pt x="23" y="19"/>
                    </a:cubicBezTo>
                    <a:cubicBezTo>
                      <a:pt x="23" y="19"/>
                      <a:pt x="19" y="20"/>
                      <a:pt x="19" y="24"/>
                    </a:cubicBezTo>
                    <a:cubicBezTo>
                      <a:pt x="18" y="27"/>
                      <a:pt x="23" y="35"/>
                      <a:pt x="20" y="35"/>
                    </a:cubicBezTo>
                    <a:cubicBezTo>
                      <a:pt x="18" y="36"/>
                      <a:pt x="17" y="37"/>
                      <a:pt x="17" y="41"/>
                    </a:cubicBezTo>
                    <a:cubicBezTo>
                      <a:pt x="18" y="44"/>
                      <a:pt x="20" y="46"/>
                      <a:pt x="26" y="54"/>
                    </a:cubicBezTo>
                    <a:cubicBezTo>
                      <a:pt x="32" y="60"/>
                      <a:pt x="41" y="67"/>
                      <a:pt x="42" y="54"/>
                    </a:cubicBezTo>
                    <a:cubicBezTo>
                      <a:pt x="42" y="46"/>
                      <a:pt x="47" y="56"/>
                      <a:pt x="47" y="56"/>
                    </a:cubicBezTo>
                    <a:cubicBezTo>
                      <a:pt x="47" y="56"/>
                      <a:pt x="54" y="53"/>
                      <a:pt x="60" y="51"/>
                    </a:cubicBezTo>
                    <a:cubicBezTo>
                      <a:pt x="65" y="48"/>
                      <a:pt x="68" y="50"/>
                      <a:pt x="66" y="53"/>
                    </a:cubicBezTo>
                    <a:cubicBezTo>
                      <a:pt x="64" y="56"/>
                      <a:pt x="71" y="60"/>
                      <a:pt x="73" y="57"/>
                    </a:cubicBezTo>
                    <a:cubicBezTo>
                      <a:pt x="75" y="55"/>
                      <a:pt x="81" y="53"/>
                      <a:pt x="82" y="52"/>
                    </a:cubicBezTo>
                    <a:cubicBezTo>
                      <a:pt x="84" y="50"/>
                      <a:pt x="77" y="48"/>
                      <a:pt x="72" y="45"/>
                    </a:cubicBezTo>
                    <a:cubicBezTo>
                      <a:pt x="68" y="42"/>
                      <a:pt x="67" y="32"/>
                      <a:pt x="68" y="27"/>
                    </a:cubicBezTo>
                    <a:cubicBezTo>
                      <a:pt x="68" y="22"/>
                      <a:pt x="75" y="20"/>
                      <a:pt x="76" y="24"/>
                    </a:cubicBezTo>
                    <a:cubicBezTo>
                      <a:pt x="76" y="29"/>
                      <a:pt x="74" y="30"/>
                      <a:pt x="71" y="34"/>
                    </a:cubicBezTo>
                    <a:cubicBezTo>
                      <a:pt x="68" y="38"/>
                      <a:pt x="75" y="42"/>
                      <a:pt x="80" y="46"/>
                    </a:cubicBezTo>
                    <a:cubicBezTo>
                      <a:pt x="85" y="50"/>
                      <a:pt x="93" y="45"/>
                      <a:pt x="93" y="41"/>
                    </a:cubicBezTo>
                    <a:cubicBezTo>
                      <a:pt x="93" y="36"/>
                      <a:pt x="98" y="30"/>
                      <a:pt x="98" y="30"/>
                    </a:cubicBezTo>
                    <a:cubicBezTo>
                      <a:pt x="98" y="30"/>
                      <a:pt x="96" y="27"/>
                      <a:pt x="92" y="24"/>
                    </a:cubicBezTo>
                    <a:close/>
                    <a:moveTo>
                      <a:pt x="57" y="86"/>
                    </a:moveTo>
                    <a:cubicBezTo>
                      <a:pt x="58" y="85"/>
                      <a:pt x="57" y="81"/>
                      <a:pt x="56" y="77"/>
                    </a:cubicBezTo>
                    <a:cubicBezTo>
                      <a:pt x="55" y="72"/>
                      <a:pt x="48" y="78"/>
                      <a:pt x="48" y="80"/>
                    </a:cubicBezTo>
                    <a:cubicBezTo>
                      <a:pt x="48" y="90"/>
                      <a:pt x="56" y="88"/>
                      <a:pt x="57" y="86"/>
                    </a:cubicBezTo>
                    <a:close/>
                    <a:moveTo>
                      <a:pt x="81" y="104"/>
                    </a:moveTo>
                    <a:cubicBezTo>
                      <a:pt x="81" y="99"/>
                      <a:pt x="76" y="97"/>
                      <a:pt x="70" y="93"/>
                    </a:cubicBezTo>
                    <a:cubicBezTo>
                      <a:pt x="64" y="89"/>
                      <a:pt x="62" y="91"/>
                      <a:pt x="60" y="91"/>
                    </a:cubicBezTo>
                    <a:cubicBezTo>
                      <a:pt x="59" y="91"/>
                      <a:pt x="56" y="90"/>
                      <a:pt x="53" y="97"/>
                    </a:cubicBezTo>
                    <a:cubicBezTo>
                      <a:pt x="51" y="103"/>
                      <a:pt x="44" y="106"/>
                      <a:pt x="44" y="106"/>
                    </a:cubicBezTo>
                    <a:cubicBezTo>
                      <a:pt x="43" y="110"/>
                      <a:pt x="49" y="109"/>
                      <a:pt x="52" y="106"/>
                    </a:cubicBezTo>
                    <a:cubicBezTo>
                      <a:pt x="55" y="104"/>
                      <a:pt x="61" y="110"/>
                      <a:pt x="67" y="112"/>
                    </a:cubicBezTo>
                    <a:cubicBezTo>
                      <a:pt x="74" y="114"/>
                      <a:pt x="81" y="113"/>
                      <a:pt x="81" y="113"/>
                    </a:cubicBezTo>
                    <a:cubicBezTo>
                      <a:pt x="81" y="113"/>
                      <a:pt x="80" y="108"/>
                      <a:pt x="81" y="104"/>
                    </a:cubicBezTo>
                    <a:close/>
                    <a:moveTo>
                      <a:pt x="151" y="45"/>
                    </a:moveTo>
                    <a:cubicBezTo>
                      <a:pt x="149" y="46"/>
                      <a:pt x="151" y="45"/>
                      <a:pt x="148" y="42"/>
                    </a:cubicBezTo>
                    <a:cubicBezTo>
                      <a:pt x="145" y="39"/>
                      <a:pt x="141" y="39"/>
                      <a:pt x="135" y="41"/>
                    </a:cubicBezTo>
                    <a:cubicBezTo>
                      <a:pt x="129" y="43"/>
                      <a:pt x="131" y="39"/>
                      <a:pt x="131" y="36"/>
                    </a:cubicBezTo>
                    <a:cubicBezTo>
                      <a:pt x="131" y="33"/>
                      <a:pt x="129" y="35"/>
                      <a:pt x="125" y="34"/>
                    </a:cubicBezTo>
                    <a:cubicBezTo>
                      <a:pt x="121" y="34"/>
                      <a:pt x="119" y="34"/>
                      <a:pt x="117" y="35"/>
                    </a:cubicBezTo>
                    <a:cubicBezTo>
                      <a:pt x="114" y="37"/>
                      <a:pt x="112" y="33"/>
                      <a:pt x="112" y="30"/>
                    </a:cubicBezTo>
                    <a:cubicBezTo>
                      <a:pt x="112" y="27"/>
                      <a:pt x="110" y="25"/>
                      <a:pt x="109" y="28"/>
                    </a:cubicBezTo>
                    <a:cubicBezTo>
                      <a:pt x="108" y="30"/>
                      <a:pt x="108" y="36"/>
                      <a:pt x="107" y="38"/>
                    </a:cubicBezTo>
                    <a:cubicBezTo>
                      <a:pt x="106" y="43"/>
                      <a:pt x="112" y="45"/>
                      <a:pt x="112" y="45"/>
                    </a:cubicBezTo>
                    <a:cubicBezTo>
                      <a:pt x="112" y="45"/>
                      <a:pt x="120" y="48"/>
                      <a:pt x="123" y="55"/>
                    </a:cubicBezTo>
                    <a:cubicBezTo>
                      <a:pt x="127" y="61"/>
                      <a:pt x="133" y="59"/>
                      <a:pt x="137" y="59"/>
                    </a:cubicBezTo>
                    <a:cubicBezTo>
                      <a:pt x="141" y="58"/>
                      <a:pt x="150" y="56"/>
                      <a:pt x="151" y="54"/>
                    </a:cubicBezTo>
                    <a:cubicBezTo>
                      <a:pt x="153" y="52"/>
                      <a:pt x="153" y="45"/>
                      <a:pt x="151" y="45"/>
                    </a:cubicBezTo>
                    <a:close/>
                  </a:path>
                </a:pathLst>
              </a:custGeom>
              <a:solidFill>
                <a:schemeClr val="accent4">
                  <a:lumMod val="25000"/>
                  <a:lumOff val="7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4" name="Freeform 6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1994623" y="2257425"/>
                <a:ext cx="433893" cy="947738"/>
              </a:xfrm>
              <a:custGeom>
                <a:avLst/>
                <a:gdLst>
                  <a:gd name="T0" fmla="*/ 2147483647 w 109"/>
                  <a:gd name="T1" fmla="*/ 2147483647 h 242"/>
                  <a:gd name="T2" fmla="*/ 2147483647 w 109"/>
                  <a:gd name="T3" fmla="*/ 2147483647 h 242"/>
                  <a:gd name="T4" fmla="*/ 2147483647 w 109"/>
                  <a:gd name="T5" fmla="*/ 2147483647 h 242"/>
                  <a:gd name="T6" fmla="*/ 2147483647 w 109"/>
                  <a:gd name="T7" fmla="*/ 2147483647 h 242"/>
                  <a:gd name="T8" fmla="*/ 2147483647 w 109"/>
                  <a:gd name="T9" fmla="*/ 2147483647 h 242"/>
                  <a:gd name="T10" fmla="*/ 2147483647 w 109"/>
                  <a:gd name="T11" fmla="*/ 2147483647 h 242"/>
                  <a:gd name="T12" fmla="*/ 2147483647 w 109"/>
                  <a:gd name="T13" fmla="*/ 2147483647 h 242"/>
                  <a:gd name="T14" fmla="*/ 2147483647 w 109"/>
                  <a:gd name="T15" fmla="*/ 2147483647 h 242"/>
                  <a:gd name="T16" fmla="*/ 2147483647 w 109"/>
                  <a:gd name="T17" fmla="*/ 2147483647 h 242"/>
                  <a:gd name="T18" fmla="*/ 2147483647 w 109"/>
                  <a:gd name="T19" fmla="*/ 2147483647 h 242"/>
                  <a:gd name="T20" fmla="*/ 2147483647 w 109"/>
                  <a:gd name="T21" fmla="*/ 2147483647 h 242"/>
                  <a:gd name="T22" fmla="*/ 2147483647 w 109"/>
                  <a:gd name="T23" fmla="*/ 2147483647 h 242"/>
                  <a:gd name="T24" fmla="*/ 2147483647 w 109"/>
                  <a:gd name="T25" fmla="*/ 2147483647 h 242"/>
                  <a:gd name="T26" fmla="*/ 2147483647 w 109"/>
                  <a:gd name="T27" fmla="*/ 2147483647 h 242"/>
                  <a:gd name="T28" fmla="*/ 2147483647 w 109"/>
                  <a:gd name="T29" fmla="*/ 2147483647 h 242"/>
                  <a:gd name="T30" fmla="*/ 2147483647 w 109"/>
                  <a:gd name="T31" fmla="*/ 2147483647 h 242"/>
                  <a:gd name="T32" fmla="*/ 2147483647 w 109"/>
                  <a:gd name="T33" fmla="*/ 2147483647 h 242"/>
                  <a:gd name="T34" fmla="*/ 2147483647 w 109"/>
                  <a:gd name="T35" fmla="*/ 2147483647 h 242"/>
                  <a:gd name="T36" fmla="*/ 2147483647 w 109"/>
                  <a:gd name="T37" fmla="*/ 2147483647 h 242"/>
                  <a:gd name="T38" fmla="*/ 2147483647 w 109"/>
                  <a:gd name="T39" fmla="*/ 2147483647 h 242"/>
                  <a:gd name="T40" fmla="*/ 2147483647 w 109"/>
                  <a:gd name="T41" fmla="*/ 2147483647 h 242"/>
                  <a:gd name="T42" fmla="*/ 2147483647 w 109"/>
                  <a:gd name="T43" fmla="*/ 2147483647 h 242"/>
                  <a:gd name="T44" fmla="*/ 2147483647 w 109"/>
                  <a:gd name="T45" fmla="*/ 2147483647 h 242"/>
                  <a:gd name="T46" fmla="*/ 2147483647 w 109"/>
                  <a:gd name="T47" fmla="*/ 2147483647 h 242"/>
                  <a:gd name="T48" fmla="*/ 2147483647 w 109"/>
                  <a:gd name="T49" fmla="*/ 2147483647 h 242"/>
                  <a:gd name="T50" fmla="*/ 2147483647 w 109"/>
                  <a:gd name="T51" fmla="*/ 2147483647 h 242"/>
                  <a:gd name="T52" fmla="*/ 2147483647 w 109"/>
                  <a:gd name="T53" fmla="*/ 2147483647 h 242"/>
                  <a:gd name="T54" fmla="*/ 2147483647 w 109"/>
                  <a:gd name="T55" fmla="*/ 2147483647 h 242"/>
                  <a:gd name="T56" fmla="*/ 2147483647 w 109"/>
                  <a:gd name="T57" fmla="*/ 2147483647 h 242"/>
                  <a:gd name="T58" fmla="*/ 2147483647 w 109"/>
                  <a:gd name="T59" fmla="*/ 2147483647 h 242"/>
                  <a:gd name="T60" fmla="*/ 2147483647 w 109"/>
                  <a:gd name="T61" fmla="*/ 2147483647 h 242"/>
                  <a:gd name="T62" fmla="*/ 2147483647 w 109"/>
                  <a:gd name="T63" fmla="*/ 2147483647 h 242"/>
                  <a:gd name="T64" fmla="*/ 2147483647 w 109"/>
                  <a:gd name="T65" fmla="*/ 2147483647 h 242"/>
                  <a:gd name="T66" fmla="*/ 2147483647 w 109"/>
                  <a:gd name="T67" fmla="*/ 2147483647 h 242"/>
                  <a:gd name="T68" fmla="*/ 2147483647 w 109"/>
                  <a:gd name="T69" fmla="*/ 2147483647 h 242"/>
                  <a:gd name="T70" fmla="*/ 2147483647 w 109"/>
                  <a:gd name="T71" fmla="*/ 2147483647 h 242"/>
                  <a:gd name="T72" fmla="*/ 2147483647 w 109"/>
                  <a:gd name="T73" fmla="*/ 2147483647 h 242"/>
                  <a:gd name="T74" fmla="*/ 2147483647 w 109"/>
                  <a:gd name="T75" fmla="*/ 2147483647 h 242"/>
                  <a:gd name="T76" fmla="*/ 2147483647 w 109"/>
                  <a:gd name="T77" fmla="*/ 2147483647 h 242"/>
                  <a:gd name="T78" fmla="*/ 2147483647 w 109"/>
                  <a:gd name="T79" fmla="*/ 2147483647 h 242"/>
                  <a:gd name="T80" fmla="*/ 2147483647 w 109"/>
                  <a:gd name="T81" fmla="*/ 2147483647 h 242"/>
                  <a:gd name="T82" fmla="*/ 2147483647 w 109"/>
                  <a:gd name="T83" fmla="*/ 2147483647 h 242"/>
                  <a:gd name="T84" fmla="*/ 2147483647 w 109"/>
                  <a:gd name="T85" fmla="*/ 2147483647 h 242"/>
                  <a:gd name="T86" fmla="*/ 2147483647 w 109"/>
                  <a:gd name="T87" fmla="*/ 2147483647 h 242"/>
                  <a:gd name="T88" fmla="*/ 2147483647 w 109"/>
                  <a:gd name="T89" fmla="*/ 2147483647 h 242"/>
                  <a:gd name="T90" fmla="*/ 2147483647 w 109"/>
                  <a:gd name="T91" fmla="*/ 2147483647 h 242"/>
                  <a:gd name="T92" fmla="*/ 2147483647 w 109"/>
                  <a:gd name="T93" fmla="*/ 2147483647 h 242"/>
                  <a:gd name="T94" fmla="*/ 2147483647 w 109"/>
                  <a:gd name="T95" fmla="*/ 2147483647 h 24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09"/>
                  <a:gd name="T145" fmla="*/ 0 h 242"/>
                  <a:gd name="T146" fmla="*/ 109 w 109"/>
                  <a:gd name="T147" fmla="*/ 242 h 24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09" h="242">
                    <a:moveTo>
                      <a:pt x="71" y="228"/>
                    </a:moveTo>
                    <a:cubicBezTo>
                      <a:pt x="71" y="228"/>
                      <a:pt x="71" y="228"/>
                      <a:pt x="72" y="228"/>
                    </a:cubicBezTo>
                    <a:cubicBezTo>
                      <a:pt x="80" y="219"/>
                      <a:pt x="80" y="219"/>
                      <a:pt x="80" y="219"/>
                    </a:cubicBezTo>
                    <a:cubicBezTo>
                      <a:pt x="86" y="212"/>
                      <a:pt x="86" y="212"/>
                      <a:pt x="86" y="212"/>
                    </a:cubicBezTo>
                    <a:cubicBezTo>
                      <a:pt x="86" y="212"/>
                      <a:pt x="94" y="201"/>
                      <a:pt x="97" y="199"/>
                    </a:cubicBezTo>
                    <a:cubicBezTo>
                      <a:pt x="100" y="196"/>
                      <a:pt x="105" y="187"/>
                      <a:pt x="106" y="186"/>
                    </a:cubicBezTo>
                    <a:cubicBezTo>
                      <a:pt x="107" y="185"/>
                      <a:pt x="109" y="178"/>
                      <a:pt x="109" y="178"/>
                    </a:cubicBezTo>
                    <a:cubicBezTo>
                      <a:pt x="107" y="174"/>
                      <a:pt x="107" y="174"/>
                      <a:pt x="107" y="174"/>
                    </a:cubicBezTo>
                    <a:cubicBezTo>
                      <a:pt x="107" y="174"/>
                      <a:pt x="104" y="167"/>
                      <a:pt x="101" y="167"/>
                    </a:cubicBezTo>
                    <a:cubicBezTo>
                      <a:pt x="99" y="166"/>
                      <a:pt x="96" y="162"/>
                      <a:pt x="95" y="161"/>
                    </a:cubicBezTo>
                    <a:cubicBezTo>
                      <a:pt x="95" y="160"/>
                      <a:pt x="93" y="158"/>
                      <a:pt x="96" y="157"/>
                    </a:cubicBezTo>
                    <a:cubicBezTo>
                      <a:pt x="98" y="157"/>
                      <a:pt x="99" y="152"/>
                      <a:pt x="99" y="150"/>
                    </a:cubicBezTo>
                    <a:cubicBezTo>
                      <a:pt x="99" y="149"/>
                      <a:pt x="95" y="145"/>
                      <a:pt x="95" y="145"/>
                    </a:cubicBezTo>
                    <a:cubicBezTo>
                      <a:pt x="94" y="140"/>
                      <a:pt x="94" y="140"/>
                      <a:pt x="94" y="140"/>
                    </a:cubicBezTo>
                    <a:cubicBezTo>
                      <a:pt x="94" y="136"/>
                      <a:pt x="94" y="136"/>
                      <a:pt x="94" y="136"/>
                    </a:cubicBezTo>
                    <a:cubicBezTo>
                      <a:pt x="91" y="135"/>
                      <a:pt x="91" y="135"/>
                      <a:pt x="91" y="135"/>
                    </a:cubicBezTo>
                    <a:cubicBezTo>
                      <a:pt x="90" y="129"/>
                      <a:pt x="90" y="129"/>
                      <a:pt x="90" y="129"/>
                    </a:cubicBezTo>
                    <a:cubicBezTo>
                      <a:pt x="92" y="128"/>
                      <a:pt x="92" y="128"/>
                      <a:pt x="92" y="128"/>
                    </a:cubicBezTo>
                    <a:cubicBezTo>
                      <a:pt x="92" y="128"/>
                      <a:pt x="92" y="125"/>
                      <a:pt x="91" y="125"/>
                    </a:cubicBezTo>
                    <a:cubicBezTo>
                      <a:pt x="90" y="125"/>
                      <a:pt x="91" y="120"/>
                      <a:pt x="92" y="118"/>
                    </a:cubicBezTo>
                    <a:cubicBezTo>
                      <a:pt x="92" y="117"/>
                      <a:pt x="94" y="114"/>
                      <a:pt x="95" y="115"/>
                    </a:cubicBezTo>
                    <a:cubicBezTo>
                      <a:pt x="97" y="115"/>
                      <a:pt x="95" y="107"/>
                      <a:pt x="92" y="101"/>
                    </a:cubicBezTo>
                    <a:cubicBezTo>
                      <a:pt x="89" y="95"/>
                      <a:pt x="85" y="90"/>
                      <a:pt x="85" y="87"/>
                    </a:cubicBezTo>
                    <a:cubicBezTo>
                      <a:pt x="84" y="84"/>
                      <a:pt x="87" y="78"/>
                      <a:pt x="87" y="78"/>
                    </a:cubicBezTo>
                    <a:cubicBezTo>
                      <a:pt x="87" y="78"/>
                      <a:pt x="94" y="69"/>
                      <a:pt x="94" y="67"/>
                    </a:cubicBezTo>
                    <a:cubicBezTo>
                      <a:pt x="94" y="65"/>
                      <a:pt x="91" y="63"/>
                      <a:pt x="91" y="62"/>
                    </a:cubicBezTo>
                    <a:cubicBezTo>
                      <a:pt x="91" y="61"/>
                      <a:pt x="87" y="54"/>
                      <a:pt x="87" y="54"/>
                    </a:cubicBezTo>
                    <a:cubicBezTo>
                      <a:pt x="81" y="51"/>
                      <a:pt x="81" y="51"/>
                      <a:pt x="81" y="51"/>
                    </a:cubicBezTo>
                    <a:cubicBezTo>
                      <a:pt x="79" y="43"/>
                      <a:pt x="79" y="43"/>
                      <a:pt x="79" y="43"/>
                    </a:cubicBezTo>
                    <a:cubicBezTo>
                      <a:pt x="82" y="33"/>
                      <a:pt x="82" y="33"/>
                      <a:pt x="82" y="33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83" y="29"/>
                      <a:pt x="83" y="29"/>
                      <a:pt x="83" y="29"/>
                    </a:cubicBezTo>
                    <a:cubicBezTo>
                      <a:pt x="83" y="28"/>
                      <a:pt x="83" y="28"/>
                      <a:pt x="83" y="28"/>
                    </a:cubicBezTo>
                    <a:cubicBezTo>
                      <a:pt x="84" y="25"/>
                      <a:pt x="85" y="20"/>
                      <a:pt x="86" y="20"/>
                    </a:cubicBezTo>
                    <a:cubicBezTo>
                      <a:pt x="87" y="20"/>
                      <a:pt x="87" y="17"/>
                      <a:pt x="87" y="14"/>
                    </a:cubicBezTo>
                    <a:cubicBezTo>
                      <a:pt x="87" y="11"/>
                      <a:pt x="84" y="10"/>
                      <a:pt x="82" y="9"/>
                    </a:cubicBezTo>
                    <a:cubicBezTo>
                      <a:pt x="81" y="8"/>
                      <a:pt x="78" y="7"/>
                      <a:pt x="77" y="5"/>
                    </a:cubicBezTo>
                    <a:cubicBezTo>
                      <a:pt x="75" y="4"/>
                      <a:pt x="73" y="0"/>
                      <a:pt x="71" y="1"/>
                    </a:cubicBezTo>
                    <a:cubicBezTo>
                      <a:pt x="68" y="2"/>
                      <a:pt x="66" y="4"/>
                      <a:pt x="65" y="4"/>
                    </a:cubicBezTo>
                    <a:cubicBezTo>
                      <a:pt x="63" y="3"/>
                      <a:pt x="61" y="3"/>
                      <a:pt x="59" y="5"/>
                    </a:cubicBezTo>
                    <a:cubicBezTo>
                      <a:pt x="57" y="7"/>
                      <a:pt x="56" y="10"/>
                      <a:pt x="54" y="13"/>
                    </a:cubicBezTo>
                    <a:cubicBezTo>
                      <a:pt x="53" y="15"/>
                      <a:pt x="53" y="20"/>
                      <a:pt x="52" y="22"/>
                    </a:cubicBezTo>
                    <a:cubicBezTo>
                      <a:pt x="52" y="24"/>
                      <a:pt x="53" y="31"/>
                      <a:pt x="51" y="33"/>
                    </a:cubicBezTo>
                    <a:cubicBezTo>
                      <a:pt x="48" y="35"/>
                      <a:pt x="48" y="33"/>
                      <a:pt x="46" y="36"/>
                    </a:cubicBezTo>
                    <a:cubicBezTo>
                      <a:pt x="45" y="39"/>
                      <a:pt x="45" y="39"/>
                      <a:pt x="44" y="43"/>
                    </a:cubicBezTo>
                    <a:cubicBezTo>
                      <a:pt x="43" y="48"/>
                      <a:pt x="42" y="40"/>
                      <a:pt x="41" y="39"/>
                    </a:cubicBezTo>
                    <a:cubicBezTo>
                      <a:pt x="41" y="38"/>
                      <a:pt x="37" y="36"/>
                      <a:pt x="35" y="35"/>
                    </a:cubicBezTo>
                    <a:cubicBezTo>
                      <a:pt x="33" y="34"/>
                      <a:pt x="32" y="38"/>
                      <a:pt x="32" y="38"/>
                    </a:cubicBezTo>
                    <a:cubicBezTo>
                      <a:pt x="32" y="38"/>
                      <a:pt x="27" y="41"/>
                      <a:pt x="27" y="40"/>
                    </a:cubicBezTo>
                    <a:cubicBezTo>
                      <a:pt x="26" y="39"/>
                      <a:pt x="19" y="37"/>
                      <a:pt x="19" y="37"/>
                    </a:cubicBezTo>
                    <a:cubicBezTo>
                      <a:pt x="19" y="37"/>
                      <a:pt x="15" y="27"/>
                      <a:pt x="14" y="25"/>
                    </a:cubicBezTo>
                    <a:cubicBezTo>
                      <a:pt x="13" y="22"/>
                      <a:pt x="11" y="22"/>
                      <a:pt x="8" y="23"/>
                    </a:cubicBezTo>
                    <a:cubicBezTo>
                      <a:pt x="5" y="23"/>
                      <a:pt x="7" y="28"/>
                      <a:pt x="7" y="28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7"/>
                      <a:pt x="0" y="27"/>
                      <a:pt x="2" y="28"/>
                    </a:cubicBezTo>
                    <a:cubicBezTo>
                      <a:pt x="3" y="29"/>
                      <a:pt x="6" y="32"/>
                      <a:pt x="6" y="32"/>
                    </a:cubicBezTo>
                    <a:cubicBezTo>
                      <a:pt x="6" y="32"/>
                      <a:pt x="9" y="36"/>
                      <a:pt x="10" y="38"/>
                    </a:cubicBezTo>
                    <a:cubicBezTo>
                      <a:pt x="11" y="40"/>
                      <a:pt x="15" y="43"/>
                      <a:pt x="16" y="44"/>
                    </a:cubicBezTo>
                    <a:cubicBezTo>
                      <a:pt x="16" y="46"/>
                      <a:pt x="22" y="46"/>
                      <a:pt x="23" y="47"/>
                    </a:cubicBezTo>
                    <a:cubicBezTo>
                      <a:pt x="24" y="47"/>
                      <a:pt x="27" y="51"/>
                      <a:pt x="28" y="52"/>
                    </a:cubicBezTo>
                    <a:cubicBezTo>
                      <a:pt x="29" y="53"/>
                      <a:pt x="31" y="56"/>
                      <a:pt x="31" y="57"/>
                    </a:cubicBezTo>
                    <a:cubicBezTo>
                      <a:pt x="31" y="58"/>
                      <a:pt x="30" y="61"/>
                      <a:pt x="30" y="63"/>
                    </a:cubicBezTo>
                    <a:cubicBezTo>
                      <a:pt x="30" y="64"/>
                      <a:pt x="31" y="68"/>
                      <a:pt x="29" y="70"/>
                    </a:cubicBezTo>
                    <a:cubicBezTo>
                      <a:pt x="27" y="73"/>
                      <a:pt x="30" y="71"/>
                      <a:pt x="32" y="72"/>
                    </a:cubicBezTo>
                    <a:cubicBezTo>
                      <a:pt x="33" y="74"/>
                      <a:pt x="31" y="75"/>
                      <a:pt x="30" y="76"/>
                    </a:cubicBezTo>
                    <a:cubicBezTo>
                      <a:pt x="29" y="77"/>
                      <a:pt x="34" y="83"/>
                      <a:pt x="34" y="85"/>
                    </a:cubicBezTo>
                    <a:cubicBezTo>
                      <a:pt x="34" y="87"/>
                      <a:pt x="35" y="92"/>
                      <a:pt x="33" y="93"/>
                    </a:cubicBezTo>
                    <a:cubicBezTo>
                      <a:pt x="31" y="95"/>
                      <a:pt x="31" y="99"/>
                      <a:pt x="32" y="100"/>
                    </a:cubicBezTo>
                    <a:cubicBezTo>
                      <a:pt x="32" y="102"/>
                      <a:pt x="34" y="104"/>
                      <a:pt x="35" y="105"/>
                    </a:cubicBezTo>
                    <a:cubicBezTo>
                      <a:pt x="35" y="107"/>
                      <a:pt x="37" y="113"/>
                      <a:pt x="37" y="113"/>
                    </a:cubicBezTo>
                    <a:cubicBezTo>
                      <a:pt x="37" y="113"/>
                      <a:pt x="41" y="115"/>
                      <a:pt x="42" y="115"/>
                    </a:cubicBezTo>
                    <a:cubicBezTo>
                      <a:pt x="43" y="116"/>
                      <a:pt x="46" y="119"/>
                      <a:pt x="47" y="120"/>
                    </a:cubicBezTo>
                    <a:cubicBezTo>
                      <a:pt x="48" y="122"/>
                      <a:pt x="48" y="123"/>
                      <a:pt x="48" y="128"/>
                    </a:cubicBezTo>
                    <a:cubicBezTo>
                      <a:pt x="48" y="133"/>
                      <a:pt x="49" y="130"/>
                      <a:pt x="48" y="133"/>
                    </a:cubicBezTo>
                    <a:cubicBezTo>
                      <a:pt x="46" y="136"/>
                      <a:pt x="43" y="134"/>
                      <a:pt x="42" y="135"/>
                    </a:cubicBezTo>
                    <a:cubicBezTo>
                      <a:pt x="40" y="137"/>
                      <a:pt x="36" y="144"/>
                      <a:pt x="34" y="146"/>
                    </a:cubicBezTo>
                    <a:cubicBezTo>
                      <a:pt x="32" y="148"/>
                      <a:pt x="28" y="154"/>
                      <a:pt x="26" y="155"/>
                    </a:cubicBezTo>
                    <a:cubicBezTo>
                      <a:pt x="24" y="156"/>
                      <a:pt x="24" y="157"/>
                      <a:pt x="21" y="159"/>
                    </a:cubicBezTo>
                    <a:cubicBezTo>
                      <a:pt x="18" y="161"/>
                      <a:pt x="18" y="165"/>
                      <a:pt x="17" y="167"/>
                    </a:cubicBezTo>
                    <a:cubicBezTo>
                      <a:pt x="17" y="169"/>
                      <a:pt x="15" y="169"/>
                      <a:pt x="12" y="170"/>
                    </a:cubicBezTo>
                    <a:cubicBezTo>
                      <a:pt x="10" y="171"/>
                      <a:pt x="10" y="168"/>
                      <a:pt x="8" y="167"/>
                    </a:cubicBezTo>
                    <a:cubicBezTo>
                      <a:pt x="7" y="165"/>
                      <a:pt x="7" y="170"/>
                      <a:pt x="7" y="172"/>
                    </a:cubicBezTo>
                    <a:cubicBezTo>
                      <a:pt x="7" y="174"/>
                      <a:pt x="13" y="173"/>
                      <a:pt x="12" y="174"/>
                    </a:cubicBezTo>
                    <a:cubicBezTo>
                      <a:pt x="10" y="175"/>
                      <a:pt x="6" y="183"/>
                      <a:pt x="7" y="186"/>
                    </a:cubicBezTo>
                    <a:cubicBezTo>
                      <a:pt x="7" y="190"/>
                      <a:pt x="8" y="194"/>
                      <a:pt x="10" y="201"/>
                    </a:cubicBezTo>
                    <a:cubicBezTo>
                      <a:pt x="13" y="208"/>
                      <a:pt x="11" y="213"/>
                      <a:pt x="9" y="215"/>
                    </a:cubicBezTo>
                    <a:cubicBezTo>
                      <a:pt x="7" y="217"/>
                      <a:pt x="7" y="226"/>
                      <a:pt x="7" y="226"/>
                    </a:cubicBezTo>
                    <a:cubicBezTo>
                      <a:pt x="7" y="231"/>
                      <a:pt x="7" y="231"/>
                      <a:pt x="7" y="231"/>
                    </a:cubicBezTo>
                    <a:cubicBezTo>
                      <a:pt x="7" y="231"/>
                      <a:pt x="13" y="235"/>
                      <a:pt x="14" y="234"/>
                    </a:cubicBezTo>
                    <a:cubicBezTo>
                      <a:pt x="15" y="234"/>
                      <a:pt x="18" y="234"/>
                      <a:pt x="18" y="234"/>
                    </a:cubicBezTo>
                    <a:cubicBezTo>
                      <a:pt x="20" y="240"/>
                      <a:pt x="20" y="240"/>
                      <a:pt x="20" y="240"/>
                    </a:cubicBezTo>
                    <a:cubicBezTo>
                      <a:pt x="25" y="238"/>
                      <a:pt x="25" y="238"/>
                      <a:pt x="25" y="238"/>
                    </a:cubicBezTo>
                    <a:cubicBezTo>
                      <a:pt x="25" y="238"/>
                      <a:pt x="24" y="242"/>
                      <a:pt x="26" y="242"/>
                    </a:cubicBezTo>
                    <a:cubicBezTo>
                      <a:pt x="27" y="242"/>
                      <a:pt x="35" y="238"/>
                      <a:pt x="37" y="239"/>
                    </a:cubicBezTo>
                    <a:cubicBezTo>
                      <a:pt x="39" y="240"/>
                      <a:pt x="41" y="236"/>
                      <a:pt x="44" y="235"/>
                    </a:cubicBezTo>
                    <a:cubicBezTo>
                      <a:pt x="47" y="234"/>
                      <a:pt x="54" y="233"/>
                      <a:pt x="59" y="230"/>
                    </a:cubicBezTo>
                    <a:cubicBezTo>
                      <a:pt x="63" y="227"/>
                      <a:pt x="69" y="229"/>
                      <a:pt x="71" y="228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5" name="Freeform 7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3062171" y="2590801"/>
                <a:ext cx="83553" cy="92075"/>
              </a:xfrm>
              <a:custGeom>
                <a:avLst/>
                <a:gdLst>
                  <a:gd name="T0" fmla="*/ 2147483647 w 21"/>
                  <a:gd name="T1" fmla="*/ 2147483647 h 23"/>
                  <a:gd name="T2" fmla="*/ 2147483647 w 21"/>
                  <a:gd name="T3" fmla="*/ 2147483647 h 23"/>
                  <a:gd name="T4" fmla="*/ 2147483647 w 21"/>
                  <a:gd name="T5" fmla="*/ 0 h 23"/>
                  <a:gd name="T6" fmla="*/ 2147483647 w 21"/>
                  <a:gd name="T7" fmla="*/ 2147483647 h 23"/>
                  <a:gd name="T8" fmla="*/ 2147483647 w 21"/>
                  <a:gd name="T9" fmla="*/ 2147483647 h 23"/>
                  <a:gd name="T10" fmla="*/ 2147483647 w 21"/>
                  <a:gd name="T11" fmla="*/ 2147483647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3"/>
                  <a:gd name="T20" fmla="*/ 21 w 21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3">
                    <a:moveTo>
                      <a:pt x="3" y="19"/>
                    </a:moveTo>
                    <a:cubicBezTo>
                      <a:pt x="2" y="16"/>
                      <a:pt x="0" y="9"/>
                      <a:pt x="1" y="6"/>
                    </a:cubicBezTo>
                    <a:cubicBezTo>
                      <a:pt x="2" y="4"/>
                      <a:pt x="10" y="0"/>
                      <a:pt x="10" y="0"/>
                    </a:cubicBezTo>
                    <a:cubicBezTo>
                      <a:pt x="10" y="0"/>
                      <a:pt x="18" y="2"/>
                      <a:pt x="20" y="6"/>
                    </a:cubicBezTo>
                    <a:cubicBezTo>
                      <a:pt x="21" y="9"/>
                      <a:pt x="18" y="15"/>
                      <a:pt x="16" y="17"/>
                    </a:cubicBezTo>
                    <a:cubicBezTo>
                      <a:pt x="14" y="20"/>
                      <a:pt x="5" y="23"/>
                      <a:pt x="3" y="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6" name="Freeform 8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3463815" y="2209800"/>
                <a:ext cx="79156" cy="96838"/>
              </a:xfrm>
              <a:custGeom>
                <a:avLst/>
                <a:gdLst>
                  <a:gd name="T0" fmla="*/ 2147483647 w 20"/>
                  <a:gd name="T1" fmla="*/ 2147483647 h 25"/>
                  <a:gd name="T2" fmla="*/ 2147483647 w 20"/>
                  <a:gd name="T3" fmla="*/ 2147483647 h 25"/>
                  <a:gd name="T4" fmla="*/ 2147483647 w 20"/>
                  <a:gd name="T5" fmla="*/ 2147483647 h 25"/>
                  <a:gd name="T6" fmla="*/ 2147483647 w 20"/>
                  <a:gd name="T7" fmla="*/ 2147483647 h 25"/>
                  <a:gd name="T8" fmla="*/ 2147483647 w 20"/>
                  <a:gd name="T9" fmla="*/ 2147483647 h 25"/>
                  <a:gd name="T10" fmla="*/ 2147483647 w 20"/>
                  <a:gd name="T11" fmla="*/ 2147483647 h 25"/>
                  <a:gd name="T12" fmla="*/ 2147483647 w 20"/>
                  <a:gd name="T13" fmla="*/ 2147483647 h 25"/>
                  <a:gd name="T14" fmla="*/ 2147483647 w 20"/>
                  <a:gd name="T15" fmla="*/ 2147483647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5"/>
                  <a:gd name="T26" fmla="*/ 20 w 20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5">
                    <a:moveTo>
                      <a:pt x="1" y="14"/>
                    </a:moveTo>
                    <a:cubicBezTo>
                      <a:pt x="0" y="13"/>
                      <a:pt x="1" y="8"/>
                      <a:pt x="1" y="6"/>
                    </a:cubicBezTo>
                    <a:cubicBezTo>
                      <a:pt x="1" y="4"/>
                      <a:pt x="6" y="0"/>
                      <a:pt x="7" y="2"/>
                    </a:cubicBezTo>
                    <a:cubicBezTo>
                      <a:pt x="8" y="4"/>
                      <a:pt x="12" y="9"/>
                      <a:pt x="13" y="11"/>
                    </a:cubicBezTo>
                    <a:cubicBezTo>
                      <a:pt x="15" y="12"/>
                      <a:pt x="18" y="15"/>
                      <a:pt x="19" y="17"/>
                    </a:cubicBezTo>
                    <a:cubicBezTo>
                      <a:pt x="20" y="19"/>
                      <a:pt x="19" y="25"/>
                      <a:pt x="16" y="24"/>
                    </a:cubicBezTo>
                    <a:cubicBezTo>
                      <a:pt x="13" y="23"/>
                      <a:pt x="12" y="22"/>
                      <a:pt x="11" y="20"/>
                    </a:cubicBezTo>
                    <a:cubicBezTo>
                      <a:pt x="9" y="18"/>
                      <a:pt x="2" y="17"/>
                      <a:pt x="1" y="14"/>
                    </a:cubicBezTo>
                    <a:close/>
                  </a:path>
                </a:pathLst>
              </a:custGeom>
              <a:solidFill>
                <a:schemeClr val="accent4">
                  <a:lumMod val="25000"/>
                  <a:lumOff val="7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7" name="Freeform 9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3179439" y="1303338"/>
                <a:ext cx="690417" cy="908050"/>
              </a:xfrm>
              <a:custGeom>
                <a:avLst/>
                <a:gdLst>
                  <a:gd name="T0" fmla="*/ 2147483647 w 175"/>
                  <a:gd name="T1" fmla="*/ 2147483647 h 232"/>
                  <a:gd name="T2" fmla="*/ 2147483647 w 175"/>
                  <a:gd name="T3" fmla="*/ 2147483647 h 232"/>
                  <a:gd name="T4" fmla="*/ 2147483647 w 175"/>
                  <a:gd name="T5" fmla="*/ 2147483647 h 232"/>
                  <a:gd name="T6" fmla="*/ 2147483647 w 175"/>
                  <a:gd name="T7" fmla="*/ 2147483647 h 232"/>
                  <a:gd name="T8" fmla="*/ 2147483647 w 175"/>
                  <a:gd name="T9" fmla="*/ 2147483647 h 232"/>
                  <a:gd name="T10" fmla="*/ 2147483647 w 175"/>
                  <a:gd name="T11" fmla="*/ 2147483647 h 232"/>
                  <a:gd name="T12" fmla="*/ 2147483647 w 175"/>
                  <a:gd name="T13" fmla="*/ 2147483647 h 232"/>
                  <a:gd name="T14" fmla="*/ 2147483647 w 175"/>
                  <a:gd name="T15" fmla="*/ 2147483647 h 232"/>
                  <a:gd name="T16" fmla="*/ 2147483647 w 175"/>
                  <a:gd name="T17" fmla="*/ 2147483647 h 232"/>
                  <a:gd name="T18" fmla="*/ 2147483647 w 175"/>
                  <a:gd name="T19" fmla="*/ 2147483647 h 232"/>
                  <a:gd name="T20" fmla="*/ 2147483647 w 175"/>
                  <a:gd name="T21" fmla="*/ 2147483647 h 232"/>
                  <a:gd name="T22" fmla="*/ 2147483647 w 175"/>
                  <a:gd name="T23" fmla="*/ 2147483647 h 232"/>
                  <a:gd name="T24" fmla="*/ 2147483647 w 175"/>
                  <a:gd name="T25" fmla="*/ 2147483647 h 232"/>
                  <a:gd name="T26" fmla="*/ 2147483647 w 175"/>
                  <a:gd name="T27" fmla="*/ 2147483647 h 232"/>
                  <a:gd name="T28" fmla="*/ 2147483647 w 175"/>
                  <a:gd name="T29" fmla="*/ 2147483647 h 232"/>
                  <a:gd name="T30" fmla="*/ 2147483647 w 175"/>
                  <a:gd name="T31" fmla="*/ 2147483647 h 232"/>
                  <a:gd name="T32" fmla="*/ 2147483647 w 175"/>
                  <a:gd name="T33" fmla="*/ 2147483647 h 232"/>
                  <a:gd name="T34" fmla="*/ 2147483647 w 175"/>
                  <a:gd name="T35" fmla="*/ 2147483647 h 232"/>
                  <a:gd name="T36" fmla="*/ 2147483647 w 175"/>
                  <a:gd name="T37" fmla="*/ 2147483647 h 232"/>
                  <a:gd name="T38" fmla="*/ 2147483647 w 175"/>
                  <a:gd name="T39" fmla="*/ 2147483647 h 232"/>
                  <a:gd name="T40" fmla="*/ 2147483647 w 175"/>
                  <a:gd name="T41" fmla="*/ 2147483647 h 232"/>
                  <a:gd name="T42" fmla="*/ 2147483647 w 175"/>
                  <a:gd name="T43" fmla="*/ 2147483647 h 232"/>
                  <a:gd name="T44" fmla="*/ 2147483647 w 175"/>
                  <a:gd name="T45" fmla="*/ 2147483647 h 232"/>
                  <a:gd name="T46" fmla="*/ 2147483647 w 175"/>
                  <a:gd name="T47" fmla="*/ 2147483647 h 232"/>
                  <a:gd name="T48" fmla="*/ 2147483647 w 175"/>
                  <a:gd name="T49" fmla="*/ 2147483647 h 232"/>
                  <a:gd name="T50" fmla="*/ 2147483647 w 175"/>
                  <a:gd name="T51" fmla="*/ 2147483647 h 232"/>
                  <a:gd name="T52" fmla="*/ 2147483647 w 175"/>
                  <a:gd name="T53" fmla="*/ 2147483647 h 232"/>
                  <a:gd name="T54" fmla="*/ 2147483647 w 175"/>
                  <a:gd name="T55" fmla="*/ 2147483647 h 232"/>
                  <a:gd name="T56" fmla="*/ 2147483647 w 175"/>
                  <a:gd name="T57" fmla="*/ 2147483647 h 232"/>
                  <a:gd name="T58" fmla="*/ 2147483647 w 175"/>
                  <a:gd name="T59" fmla="*/ 2147483647 h 232"/>
                  <a:gd name="T60" fmla="*/ 2147483647 w 175"/>
                  <a:gd name="T61" fmla="*/ 2147483647 h 232"/>
                  <a:gd name="T62" fmla="*/ 2147483647 w 175"/>
                  <a:gd name="T63" fmla="*/ 2147483647 h 232"/>
                  <a:gd name="T64" fmla="*/ 2147483647 w 175"/>
                  <a:gd name="T65" fmla="*/ 2147483647 h 232"/>
                  <a:gd name="T66" fmla="*/ 2147483647 w 175"/>
                  <a:gd name="T67" fmla="*/ 2147483647 h 232"/>
                  <a:gd name="T68" fmla="*/ 2147483647 w 175"/>
                  <a:gd name="T69" fmla="*/ 2147483647 h 232"/>
                  <a:gd name="T70" fmla="*/ 2147483647 w 175"/>
                  <a:gd name="T71" fmla="*/ 2147483647 h 232"/>
                  <a:gd name="T72" fmla="*/ 2147483647 w 175"/>
                  <a:gd name="T73" fmla="*/ 2147483647 h 232"/>
                  <a:gd name="T74" fmla="*/ 2147483647 w 175"/>
                  <a:gd name="T75" fmla="*/ 2147483647 h 232"/>
                  <a:gd name="T76" fmla="*/ 2147483647 w 175"/>
                  <a:gd name="T77" fmla="*/ 2147483647 h 232"/>
                  <a:gd name="T78" fmla="*/ 2147483647 w 175"/>
                  <a:gd name="T79" fmla="*/ 2147483647 h 232"/>
                  <a:gd name="T80" fmla="*/ 2147483647 w 175"/>
                  <a:gd name="T81" fmla="*/ 2147483647 h 232"/>
                  <a:gd name="T82" fmla="*/ 2147483647 w 175"/>
                  <a:gd name="T83" fmla="*/ 2147483647 h 232"/>
                  <a:gd name="T84" fmla="*/ 2147483647 w 175"/>
                  <a:gd name="T85" fmla="*/ 2147483647 h 232"/>
                  <a:gd name="T86" fmla="*/ 2147483647 w 175"/>
                  <a:gd name="T87" fmla="*/ 2147483647 h 232"/>
                  <a:gd name="T88" fmla="*/ 2147483647 w 175"/>
                  <a:gd name="T89" fmla="*/ 2147483647 h 232"/>
                  <a:gd name="T90" fmla="*/ 2147483647 w 175"/>
                  <a:gd name="T91" fmla="*/ 2147483647 h 232"/>
                  <a:gd name="T92" fmla="*/ 2147483647 w 175"/>
                  <a:gd name="T93" fmla="*/ 2147483647 h 232"/>
                  <a:gd name="T94" fmla="*/ 2147483647 w 175"/>
                  <a:gd name="T95" fmla="*/ 2147483647 h 232"/>
                  <a:gd name="T96" fmla="*/ 2147483647 w 175"/>
                  <a:gd name="T97" fmla="*/ 2147483647 h 232"/>
                  <a:gd name="T98" fmla="*/ 2147483647 w 175"/>
                  <a:gd name="T99" fmla="*/ 2147483647 h 23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75"/>
                  <a:gd name="T151" fmla="*/ 0 h 232"/>
                  <a:gd name="T152" fmla="*/ 175 w 175"/>
                  <a:gd name="T153" fmla="*/ 232 h 23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75" h="232">
                    <a:moveTo>
                      <a:pt x="59" y="231"/>
                    </a:moveTo>
                    <a:cubicBezTo>
                      <a:pt x="56" y="232"/>
                      <a:pt x="52" y="227"/>
                      <a:pt x="52" y="227"/>
                    </a:cubicBezTo>
                    <a:cubicBezTo>
                      <a:pt x="52" y="227"/>
                      <a:pt x="56" y="231"/>
                      <a:pt x="53" y="231"/>
                    </a:cubicBezTo>
                    <a:cubicBezTo>
                      <a:pt x="49" y="230"/>
                      <a:pt x="43" y="225"/>
                      <a:pt x="41" y="226"/>
                    </a:cubicBezTo>
                    <a:cubicBezTo>
                      <a:pt x="39" y="227"/>
                      <a:pt x="41" y="230"/>
                      <a:pt x="39" y="229"/>
                    </a:cubicBezTo>
                    <a:cubicBezTo>
                      <a:pt x="38" y="228"/>
                      <a:pt x="30" y="223"/>
                      <a:pt x="26" y="223"/>
                    </a:cubicBezTo>
                    <a:cubicBezTo>
                      <a:pt x="22" y="223"/>
                      <a:pt x="20" y="221"/>
                      <a:pt x="22" y="219"/>
                    </a:cubicBezTo>
                    <a:cubicBezTo>
                      <a:pt x="24" y="217"/>
                      <a:pt x="22" y="215"/>
                      <a:pt x="25" y="214"/>
                    </a:cubicBezTo>
                    <a:cubicBezTo>
                      <a:pt x="28" y="214"/>
                      <a:pt x="22" y="209"/>
                      <a:pt x="21" y="207"/>
                    </a:cubicBezTo>
                    <a:cubicBezTo>
                      <a:pt x="20" y="206"/>
                      <a:pt x="20" y="201"/>
                      <a:pt x="20" y="201"/>
                    </a:cubicBezTo>
                    <a:cubicBezTo>
                      <a:pt x="20" y="201"/>
                      <a:pt x="13" y="203"/>
                      <a:pt x="13" y="202"/>
                    </a:cubicBezTo>
                    <a:cubicBezTo>
                      <a:pt x="13" y="200"/>
                      <a:pt x="13" y="196"/>
                      <a:pt x="13" y="196"/>
                    </a:cubicBezTo>
                    <a:cubicBezTo>
                      <a:pt x="13" y="196"/>
                      <a:pt x="11" y="206"/>
                      <a:pt x="8" y="202"/>
                    </a:cubicBezTo>
                    <a:cubicBezTo>
                      <a:pt x="5" y="198"/>
                      <a:pt x="0" y="197"/>
                      <a:pt x="2" y="188"/>
                    </a:cubicBezTo>
                    <a:cubicBezTo>
                      <a:pt x="4" y="179"/>
                      <a:pt x="10" y="182"/>
                      <a:pt x="10" y="182"/>
                    </a:cubicBezTo>
                    <a:cubicBezTo>
                      <a:pt x="10" y="182"/>
                      <a:pt x="13" y="183"/>
                      <a:pt x="14" y="177"/>
                    </a:cubicBezTo>
                    <a:cubicBezTo>
                      <a:pt x="16" y="171"/>
                      <a:pt x="14" y="168"/>
                      <a:pt x="14" y="166"/>
                    </a:cubicBezTo>
                    <a:cubicBezTo>
                      <a:pt x="14" y="164"/>
                      <a:pt x="13" y="160"/>
                      <a:pt x="13" y="160"/>
                    </a:cubicBezTo>
                    <a:cubicBezTo>
                      <a:pt x="13" y="160"/>
                      <a:pt x="18" y="156"/>
                      <a:pt x="20" y="157"/>
                    </a:cubicBezTo>
                    <a:cubicBezTo>
                      <a:pt x="22" y="157"/>
                      <a:pt x="20" y="153"/>
                      <a:pt x="20" y="153"/>
                    </a:cubicBezTo>
                    <a:cubicBezTo>
                      <a:pt x="22" y="143"/>
                      <a:pt x="22" y="143"/>
                      <a:pt x="22" y="143"/>
                    </a:cubicBezTo>
                    <a:cubicBezTo>
                      <a:pt x="22" y="143"/>
                      <a:pt x="29" y="143"/>
                      <a:pt x="31" y="142"/>
                    </a:cubicBezTo>
                    <a:cubicBezTo>
                      <a:pt x="32" y="142"/>
                      <a:pt x="31" y="137"/>
                      <a:pt x="31" y="137"/>
                    </a:cubicBezTo>
                    <a:cubicBezTo>
                      <a:pt x="31" y="137"/>
                      <a:pt x="33" y="133"/>
                      <a:pt x="34" y="133"/>
                    </a:cubicBezTo>
                    <a:cubicBezTo>
                      <a:pt x="36" y="132"/>
                      <a:pt x="34" y="128"/>
                      <a:pt x="32" y="130"/>
                    </a:cubicBezTo>
                    <a:cubicBezTo>
                      <a:pt x="30" y="132"/>
                      <a:pt x="28" y="131"/>
                      <a:pt x="27" y="130"/>
                    </a:cubicBezTo>
                    <a:cubicBezTo>
                      <a:pt x="25" y="129"/>
                      <a:pt x="27" y="126"/>
                      <a:pt x="28" y="125"/>
                    </a:cubicBezTo>
                    <a:cubicBezTo>
                      <a:pt x="30" y="124"/>
                      <a:pt x="35" y="120"/>
                      <a:pt x="35" y="120"/>
                    </a:cubicBezTo>
                    <a:cubicBezTo>
                      <a:pt x="35" y="120"/>
                      <a:pt x="34" y="115"/>
                      <a:pt x="37" y="114"/>
                    </a:cubicBezTo>
                    <a:cubicBezTo>
                      <a:pt x="39" y="113"/>
                      <a:pt x="47" y="117"/>
                      <a:pt x="47" y="117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45" y="108"/>
                      <a:pt x="45" y="108"/>
                      <a:pt x="45" y="108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9" y="101"/>
                      <a:pt x="49" y="101"/>
                      <a:pt x="49" y="101"/>
                    </a:cubicBezTo>
                    <a:cubicBezTo>
                      <a:pt x="44" y="98"/>
                      <a:pt x="44" y="98"/>
                      <a:pt x="44" y="98"/>
                    </a:cubicBezTo>
                    <a:cubicBezTo>
                      <a:pt x="47" y="94"/>
                      <a:pt x="47" y="94"/>
                      <a:pt x="47" y="94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48" y="90"/>
                      <a:pt x="48" y="90"/>
                      <a:pt x="48" y="90"/>
                    </a:cubicBezTo>
                    <a:cubicBezTo>
                      <a:pt x="48" y="90"/>
                      <a:pt x="49" y="87"/>
                      <a:pt x="50" y="87"/>
                    </a:cubicBezTo>
                    <a:cubicBezTo>
                      <a:pt x="52" y="87"/>
                      <a:pt x="50" y="82"/>
                      <a:pt x="50" y="82"/>
                    </a:cubicBezTo>
                    <a:cubicBezTo>
                      <a:pt x="50" y="82"/>
                      <a:pt x="47" y="86"/>
                      <a:pt x="45" y="83"/>
                    </a:cubicBezTo>
                    <a:cubicBezTo>
                      <a:pt x="44" y="80"/>
                      <a:pt x="46" y="76"/>
                      <a:pt x="46" y="76"/>
                    </a:cubicBezTo>
                    <a:cubicBezTo>
                      <a:pt x="46" y="76"/>
                      <a:pt x="51" y="77"/>
                      <a:pt x="52" y="78"/>
                    </a:cubicBezTo>
                    <a:cubicBezTo>
                      <a:pt x="52" y="80"/>
                      <a:pt x="55" y="73"/>
                      <a:pt x="55" y="73"/>
                    </a:cubicBezTo>
                    <a:cubicBezTo>
                      <a:pt x="55" y="73"/>
                      <a:pt x="54" y="68"/>
                      <a:pt x="57" y="68"/>
                    </a:cubicBezTo>
                    <a:cubicBezTo>
                      <a:pt x="60" y="67"/>
                      <a:pt x="63" y="71"/>
                      <a:pt x="64" y="70"/>
                    </a:cubicBezTo>
                    <a:cubicBezTo>
                      <a:pt x="65" y="68"/>
                      <a:pt x="60" y="65"/>
                      <a:pt x="64" y="62"/>
                    </a:cubicBezTo>
                    <a:cubicBezTo>
                      <a:pt x="68" y="60"/>
                      <a:pt x="71" y="60"/>
                      <a:pt x="71" y="60"/>
                    </a:cubicBezTo>
                    <a:cubicBezTo>
                      <a:pt x="71" y="60"/>
                      <a:pt x="67" y="55"/>
                      <a:pt x="71" y="55"/>
                    </a:cubicBezTo>
                    <a:cubicBezTo>
                      <a:pt x="74" y="55"/>
                      <a:pt x="74" y="51"/>
                      <a:pt x="75" y="50"/>
                    </a:cubicBezTo>
                    <a:cubicBezTo>
                      <a:pt x="77" y="49"/>
                      <a:pt x="81" y="46"/>
                      <a:pt x="83" y="47"/>
                    </a:cubicBezTo>
                    <a:cubicBezTo>
                      <a:pt x="84" y="47"/>
                      <a:pt x="89" y="43"/>
                      <a:pt x="89" y="43"/>
                    </a:cubicBezTo>
                    <a:cubicBezTo>
                      <a:pt x="86" y="36"/>
                      <a:pt x="86" y="36"/>
                      <a:pt x="86" y="36"/>
                    </a:cubicBezTo>
                    <a:cubicBezTo>
                      <a:pt x="90" y="36"/>
                      <a:pt x="90" y="36"/>
                      <a:pt x="90" y="36"/>
                    </a:cubicBezTo>
                    <a:cubicBezTo>
                      <a:pt x="94" y="39"/>
                      <a:pt x="94" y="39"/>
                      <a:pt x="94" y="39"/>
                    </a:cubicBezTo>
                    <a:cubicBezTo>
                      <a:pt x="92" y="43"/>
                      <a:pt x="92" y="43"/>
                      <a:pt x="92" y="43"/>
                    </a:cubicBezTo>
                    <a:cubicBezTo>
                      <a:pt x="92" y="43"/>
                      <a:pt x="98" y="43"/>
                      <a:pt x="98" y="41"/>
                    </a:cubicBezTo>
                    <a:cubicBezTo>
                      <a:pt x="97" y="40"/>
                      <a:pt x="94" y="32"/>
                      <a:pt x="98" y="32"/>
                    </a:cubicBezTo>
                    <a:cubicBezTo>
                      <a:pt x="102" y="31"/>
                      <a:pt x="110" y="33"/>
                      <a:pt x="111" y="35"/>
                    </a:cubicBezTo>
                    <a:cubicBezTo>
                      <a:pt x="113" y="37"/>
                      <a:pt x="118" y="33"/>
                      <a:pt x="122" y="32"/>
                    </a:cubicBezTo>
                    <a:cubicBezTo>
                      <a:pt x="125" y="30"/>
                      <a:pt x="129" y="28"/>
                      <a:pt x="132" y="26"/>
                    </a:cubicBezTo>
                    <a:cubicBezTo>
                      <a:pt x="135" y="25"/>
                      <a:pt x="137" y="21"/>
                      <a:pt x="138" y="23"/>
                    </a:cubicBezTo>
                    <a:cubicBezTo>
                      <a:pt x="138" y="25"/>
                      <a:pt x="142" y="20"/>
                      <a:pt x="142" y="20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47" y="20"/>
                      <a:pt x="141" y="14"/>
                      <a:pt x="147" y="11"/>
                    </a:cubicBezTo>
                    <a:cubicBezTo>
                      <a:pt x="153" y="7"/>
                      <a:pt x="154" y="3"/>
                      <a:pt x="158" y="2"/>
                    </a:cubicBezTo>
                    <a:cubicBezTo>
                      <a:pt x="162" y="0"/>
                      <a:pt x="168" y="1"/>
                      <a:pt x="170" y="4"/>
                    </a:cubicBezTo>
                    <a:cubicBezTo>
                      <a:pt x="172" y="7"/>
                      <a:pt x="175" y="10"/>
                      <a:pt x="174" y="17"/>
                    </a:cubicBezTo>
                    <a:cubicBezTo>
                      <a:pt x="173" y="24"/>
                      <a:pt x="170" y="30"/>
                      <a:pt x="165" y="34"/>
                    </a:cubicBezTo>
                    <a:cubicBezTo>
                      <a:pt x="160" y="39"/>
                      <a:pt x="146" y="47"/>
                      <a:pt x="142" y="48"/>
                    </a:cubicBezTo>
                    <a:cubicBezTo>
                      <a:pt x="138" y="49"/>
                      <a:pt x="116" y="61"/>
                      <a:pt x="113" y="63"/>
                    </a:cubicBezTo>
                    <a:cubicBezTo>
                      <a:pt x="110" y="65"/>
                      <a:pt x="102" y="74"/>
                      <a:pt x="102" y="7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4" y="79"/>
                      <a:pt x="94" y="79"/>
                      <a:pt x="94" y="79"/>
                    </a:cubicBezTo>
                    <a:cubicBezTo>
                      <a:pt x="88" y="83"/>
                      <a:pt x="88" y="83"/>
                      <a:pt x="88" y="83"/>
                    </a:cubicBezTo>
                    <a:cubicBezTo>
                      <a:pt x="88" y="83"/>
                      <a:pt x="93" y="81"/>
                      <a:pt x="93" y="84"/>
                    </a:cubicBezTo>
                    <a:cubicBezTo>
                      <a:pt x="92" y="87"/>
                      <a:pt x="90" y="89"/>
                      <a:pt x="90" y="89"/>
                    </a:cubicBezTo>
                    <a:cubicBezTo>
                      <a:pt x="90" y="89"/>
                      <a:pt x="89" y="93"/>
                      <a:pt x="87" y="94"/>
                    </a:cubicBezTo>
                    <a:cubicBezTo>
                      <a:pt x="86" y="94"/>
                      <a:pt x="88" y="99"/>
                      <a:pt x="84" y="98"/>
                    </a:cubicBezTo>
                    <a:cubicBezTo>
                      <a:pt x="81" y="97"/>
                      <a:pt x="80" y="92"/>
                      <a:pt x="79" y="94"/>
                    </a:cubicBezTo>
                    <a:cubicBezTo>
                      <a:pt x="79" y="95"/>
                      <a:pt x="78" y="101"/>
                      <a:pt x="78" y="101"/>
                    </a:cubicBezTo>
                    <a:cubicBezTo>
                      <a:pt x="70" y="99"/>
                      <a:pt x="70" y="99"/>
                      <a:pt x="70" y="99"/>
                    </a:cubicBezTo>
                    <a:cubicBezTo>
                      <a:pt x="70" y="99"/>
                      <a:pt x="74" y="106"/>
                      <a:pt x="73" y="109"/>
                    </a:cubicBezTo>
                    <a:cubicBezTo>
                      <a:pt x="72" y="112"/>
                      <a:pt x="68" y="118"/>
                      <a:pt x="68" y="118"/>
                    </a:cubicBezTo>
                    <a:cubicBezTo>
                      <a:pt x="62" y="114"/>
                      <a:pt x="62" y="114"/>
                      <a:pt x="62" y="114"/>
                    </a:cubicBezTo>
                    <a:cubicBezTo>
                      <a:pt x="62" y="114"/>
                      <a:pt x="66" y="120"/>
                      <a:pt x="66" y="122"/>
                    </a:cubicBezTo>
                    <a:cubicBezTo>
                      <a:pt x="66" y="124"/>
                      <a:pt x="71" y="129"/>
                      <a:pt x="65" y="127"/>
                    </a:cubicBezTo>
                    <a:cubicBezTo>
                      <a:pt x="60" y="125"/>
                      <a:pt x="60" y="125"/>
                      <a:pt x="60" y="125"/>
                    </a:cubicBezTo>
                    <a:cubicBezTo>
                      <a:pt x="62" y="131"/>
                      <a:pt x="62" y="131"/>
                      <a:pt x="62" y="131"/>
                    </a:cubicBezTo>
                    <a:cubicBezTo>
                      <a:pt x="59" y="134"/>
                      <a:pt x="59" y="134"/>
                      <a:pt x="59" y="134"/>
                    </a:cubicBezTo>
                    <a:cubicBezTo>
                      <a:pt x="55" y="130"/>
                      <a:pt x="55" y="130"/>
                      <a:pt x="55" y="130"/>
                    </a:cubicBezTo>
                    <a:cubicBezTo>
                      <a:pt x="58" y="139"/>
                      <a:pt x="58" y="139"/>
                      <a:pt x="58" y="139"/>
                    </a:cubicBezTo>
                    <a:cubicBezTo>
                      <a:pt x="58" y="139"/>
                      <a:pt x="55" y="143"/>
                      <a:pt x="54" y="144"/>
                    </a:cubicBezTo>
                    <a:cubicBezTo>
                      <a:pt x="52" y="146"/>
                      <a:pt x="54" y="148"/>
                      <a:pt x="52" y="149"/>
                    </a:cubicBezTo>
                    <a:cubicBezTo>
                      <a:pt x="51" y="151"/>
                      <a:pt x="48" y="155"/>
                      <a:pt x="47" y="156"/>
                    </a:cubicBezTo>
                    <a:cubicBezTo>
                      <a:pt x="45" y="156"/>
                      <a:pt x="49" y="159"/>
                      <a:pt x="48" y="161"/>
                    </a:cubicBezTo>
                    <a:cubicBezTo>
                      <a:pt x="47" y="162"/>
                      <a:pt x="43" y="171"/>
                      <a:pt x="43" y="171"/>
                    </a:cubicBezTo>
                    <a:cubicBezTo>
                      <a:pt x="43" y="171"/>
                      <a:pt x="41" y="185"/>
                      <a:pt x="42" y="192"/>
                    </a:cubicBezTo>
                    <a:cubicBezTo>
                      <a:pt x="44" y="199"/>
                      <a:pt x="47" y="207"/>
                      <a:pt x="50" y="212"/>
                    </a:cubicBezTo>
                    <a:cubicBezTo>
                      <a:pt x="53" y="216"/>
                      <a:pt x="61" y="220"/>
                      <a:pt x="62" y="224"/>
                    </a:cubicBezTo>
                    <a:cubicBezTo>
                      <a:pt x="63" y="227"/>
                      <a:pt x="61" y="231"/>
                      <a:pt x="59" y="231"/>
                    </a:cubicBezTo>
                    <a:close/>
                  </a:path>
                </a:pathLst>
              </a:custGeom>
              <a:solidFill>
                <a:schemeClr val="accent4">
                  <a:lumMod val="25000"/>
                  <a:lumOff val="7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8" name="Freeform 10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3221948" y="2363789"/>
                <a:ext cx="30783" cy="47625"/>
              </a:xfrm>
              <a:custGeom>
                <a:avLst/>
                <a:gdLst>
                  <a:gd name="T0" fmla="*/ 0 w 8"/>
                  <a:gd name="T1" fmla="*/ 2147483647 h 13"/>
                  <a:gd name="T2" fmla="*/ 2147483647 w 8"/>
                  <a:gd name="T3" fmla="*/ 2147483647 h 13"/>
                  <a:gd name="T4" fmla="*/ 2147483647 w 8"/>
                  <a:gd name="T5" fmla="*/ 2147483647 h 13"/>
                  <a:gd name="T6" fmla="*/ 2147483647 w 8"/>
                  <a:gd name="T7" fmla="*/ 2147483647 h 13"/>
                  <a:gd name="T8" fmla="*/ 0 w 8"/>
                  <a:gd name="T9" fmla="*/ 2147483647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3"/>
                  <a:gd name="T17" fmla="*/ 8 w 8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3">
                    <a:moveTo>
                      <a:pt x="0" y="5"/>
                    </a:moveTo>
                    <a:cubicBezTo>
                      <a:pt x="0" y="7"/>
                      <a:pt x="3" y="7"/>
                      <a:pt x="5" y="10"/>
                    </a:cubicBezTo>
                    <a:cubicBezTo>
                      <a:pt x="6" y="13"/>
                      <a:pt x="8" y="12"/>
                      <a:pt x="8" y="10"/>
                    </a:cubicBezTo>
                    <a:cubicBezTo>
                      <a:pt x="8" y="7"/>
                      <a:pt x="7" y="0"/>
                      <a:pt x="4" y="2"/>
                    </a:cubicBezTo>
                    <a:cubicBezTo>
                      <a:pt x="2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FAE34C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39" name="Freeform 11"/>
              <p:cNvSpPr>
                <a:spLocks noEditPoint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2876047" y="4343400"/>
                <a:ext cx="139257" cy="122238"/>
              </a:xfrm>
              <a:custGeom>
                <a:avLst/>
                <a:gdLst>
                  <a:gd name="T0" fmla="*/ 2147483647 w 35"/>
                  <a:gd name="T1" fmla="*/ 2147483647 h 31"/>
                  <a:gd name="T2" fmla="*/ 2147483647 w 35"/>
                  <a:gd name="T3" fmla="*/ 2147483647 h 31"/>
                  <a:gd name="T4" fmla="*/ 2147483647 w 35"/>
                  <a:gd name="T5" fmla="*/ 2147483647 h 31"/>
                  <a:gd name="T6" fmla="*/ 2147483647 w 35"/>
                  <a:gd name="T7" fmla="*/ 2147483647 h 31"/>
                  <a:gd name="T8" fmla="*/ 2147483647 w 35"/>
                  <a:gd name="T9" fmla="*/ 2147483647 h 31"/>
                  <a:gd name="T10" fmla="*/ 2147483647 w 35"/>
                  <a:gd name="T11" fmla="*/ 2147483647 h 31"/>
                  <a:gd name="T12" fmla="*/ 2147483647 w 35"/>
                  <a:gd name="T13" fmla="*/ 2147483647 h 31"/>
                  <a:gd name="T14" fmla="*/ 2147483647 w 35"/>
                  <a:gd name="T15" fmla="*/ 2147483647 h 31"/>
                  <a:gd name="T16" fmla="*/ 2147483647 w 35"/>
                  <a:gd name="T17" fmla="*/ 2147483647 h 31"/>
                  <a:gd name="T18" fmla="*/ 2147483647 w 35"/>
                  <a:gd name="T19" fmla="*/ 2147483647 h 31"/>
                  <a:gd name="T20" fmla="*/ 2147483647 w 35"/>
                  <a:gd name="T21" fmla="*/ 2147483647 h 31"/>
                  <a:gd name="T22" fmla="*/ 2147483647 w 35"/>
                  <a:gd name="T23" fmla="*/ 2147483647 h 31"/>
                  <a:gd name="T24" fmla="*/ 2147483647 w 35"/>
                  <a:gd name="T25" fmla="*/ 2147483647 h 31"/>
                  <a:gd name="T26" fmla="*/ 2147483647 w 35"/>
                  <a:gd name="T27" fmla="*/ 2147483647 h 31"/>
                  <a:gd name="T28" fmla="*/ 2147483647 w 35"/>
                  <a:gd name="T29" fmla="*/ 0 h 31"/>
                  <a:gd name="T30" fmla="*/ 2147483647 w 35"/>
                  <a:gd name="T31" fmla="*/ 2147483647 h 31"/>
                  <a:gd name="T32" fmla="*/ 2147483647 w 35"/>
                  <a:gd name="T33" fmla="*/ 2147483647 h 31"/>
                  <a:gd name="T34" fmla="*/ 0 w 35"/>
                  <a:gd name="T35" fmla="*/ 2147483647 h 31"/>
                  <a:gd name="T36" fmla="*/ 2147483647 w 35"/>
                  <a:gd name="T37" fmla="*/ 2147483647 h 31"/>
                  <a:gd name="T38" fmla="*/ 2147483647 w 35"/>
                  <a:gd name="T39" fmla="*/ 2147483647 h 31"/>
                  <a:gd name="T40" fmla="*/ 2147483647 w 35"/>
                  <a:gd name="T41" fmla="*/ 2147483647 h 31"/>
                  <a:gd name="T42" fmla="*/ 2147483647 w 35"/>
                  <a:gd name="T43" fmla="*/ 2147483647 h 31"/>
                  <a:gd name="T44" fmla="*/ 2147483647 w 35"/>
                  <a:gd name="T45" fmla="*/ 2147483647 h 31"/>
                  <a:gd name="T46" fmla="*/ 2147483647 w 35"/>
                  <a:gd name="T47" fmla="*/ 2147483647 h 31"/>
                  <a:gd name="T48" fmla="*/ 2147483647 w 35"/>
                  <a:gd name="T49" fmla="*/ 2147483647 h 31"/>
                  <a:gd name="T50" fmla="*/ 2147483647 w 35"/>
                  <a:gd name="T51" fmla="*/ 2147483647 h 31"/>
                  <a:gd name="T52" fmla="*/ 2147483647 w 35"/>
                  <a:gd name="T53" fmla="*/ 2147483647 h 31"/>
                  <a:gd name="T54" fmla="*/ 2147483647 w 35"/>
                  <a:gd name="T55" fmla="*/ 2147483647 h 31"/>
                  <a:gd name="T56" fmla="*/ 2147483647 w 35"/>
                  <a:gd name="T57" fmla="*/ 2147483647 h 31"/>
                  <a:gd name="T58" fmla="*/ 2147483647 w 35"/>
                  <a:gd name="T59" fmla="*/ 2147483647 h 31"/>
                  <a:gd name="T60" fmla="*/ 2147483647 w 35"/>
                  <a:gd name="T61" fmla="*/ 2147483647 h 31"/>
                  <a:gd name="T62" fmla="*/ 2147483647 w 35"/>
                  <a:gd name="T63" fmla="*/ 2147483647 h 31"/>
                  <a:gd name="T64" fmla="*/ 2147483647 w 35"/>
                  <a:gd name="T65" fmla="*/ 2147483647 h 31"/>
                  <a:gd name="T66" fmla="*/ 2147483647 w 35"/>
                  <a:gd name="T67" fmla="*/ 2147483647 h 3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5"/>
                  <a:gd name="T103" fmla="*/ 0 h 31"/>
                  <a:gd name="T104" fmla="*/ 35 w 35"/>
                  <a:gd name="T105" fmla="*/ 31 h 3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5" h="31">
                    <a:moveTo>
                      <a:pt x="33" y="29"/>
                    </a:moveTo>
                    <a:cubicBezTo>
                      <a:pt x="33" y="29"/>
                      <a:pt x="34" y="28"/>
                      <a:pt x="35" y="28"/>
                    </a:cubicBezTo>
                    <a:cubicBezTo>
                      <a:pt x="34" y="28"/>
                      <a:pt x="33" y="29"/>
                      <a:pt x="33" y="29"/>
                    </a:cubicBezTo>
                    <a:close/>
                    <a:moveTo>
                      <a:pt x="32" y="29"/>
                    </a:moveTo>
                    <a:cubicBezTo>
                      <a:pt x="33" y="29"/>
                      <a:pt x="33" y="29"/>
                      <a:pt x="33" y="29"/>
                    </a:cubicBezTo>
                    <a:cubicBezTo>
                      <a:pt x="33" y="29"/>
                      <a:pt x="33" y="29"/>
                      <a:pt x="32" y="29"/>
                    </a:cubicBezTo>
                    <a:close/>
                    <a:moveTo>
                      <a:pt x="31" y="24"/>
                    </a:moveTo>
                    <a:cubicBezTo>
                      <a:pt x="33" y="21"/>
                      <a:pt x="33" y="21"/>
                      <a:pt x="33" y="21"/>
                    </a:cubicBezTo>
                    <a:cubicBezTo>
                      <a:pt x="33" y="21"/>
                      <a:pt x="29" y="21"/>
                      <a:pt x="28" y="20"/>
                    </a:cubicBezTo>
                    <a:cubicBezTo>
                      <a:pt x="27" y="19"/>
                      <a:pt x="24" y="16"/>
                      <a:pt x="24" y="16"/>
                    </a:cubicBezTo>
                    <a:cubicBezTo>
                      <a:pt x="24" y="16"/>
                      <a:pt x="27" y="14"/>
                      <a:pt x="26" y="13"/>
                    </a:cubicBezTo>
                    <a:cubicBezTo>
                      <a:pt x="25" y="13"/>
                      <a:pt x="21" y="11"/>
                      <a:pt x="21" y="10"/>
                    </a:cubicBezTo>
                    <a:cubicBezTo>
                      <a:pt x="21" y="9"/>
                      <a:pt x="22" y="4"/>
                      <a:pt x="22" y="4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4" y="1"/>
                      <a:pt x="13" y="1"/>
                    </a:cubicBezTo>
                    <a:cubicBezTo>
                      <a:pt x="11" y="0"/>
                      <a:pt x="7" y="1"/>
                      <a:pt x="5" y="2"/>
                    </a:cubicBezTo>
                    <a:cubicBezTo>
                      <a:pt x="4" y="2"/>
                      <a:pt x="2" y="2"/>
                      <a:pt x="0" y="1"/>
                    </a:cubicBezTo>
                    <a:cubicBezTo>
                      <a:pt x="1" y="3"/>
                      <a:pt x="3" y="5"/>
                      <a:pt x="3" y="6"/>
                    </a:cubicBezTo>
                    <a:cubicBezTo>
                      <a:pt x="4" y="7"/>
                      <a:pt x="4" y="8"/>
                      <a:pt x="4" y="11"/>
                    </a:cubicBezTo>
                    <a:cubicBezTo>
                      <a:pt x="4" y="13"/>
                      <a:pt x="6" y="16"/>
                      <a:pt x="7" y="15"/>
                    </a:cubicBezTo>
                    <a:cubicBezTo>
                      <a:pt x="9" y="15"/>
                      <a:pt x="12" y="16"/>
                      <a:pt x="13" y="18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5" y="25"/>
                      <a:pt x="27" y="26"/>
                    </a:cubicBezTo>
                    <a:cubicBezTo>
                      <a:pt x="27" y="26"/>
                      <a:pt x="28" y="28"/>
                      <a:pt x="28" y="31"/>
                    </a:cubicBezTo>
                    <a:cubicBezTo>
                      <a:pt x="30" y="30"/>
                      <a:pt x="31" y="30"/>
                      <a:pt x="32" y="29"/>
                    </a:cubicBezTo>
                    <a:cubicBezTo>
                      <a:pt x="32" y="29"/>
                      <a:pt x="32" y="29"/>
                      <a:pt x="32" y="29"/>
                    </a:cubicBezTo>
                    <a:lnTo>
                      <a:pt x="31" y="24"/>
                    </a:lnTo>
                    <a:close/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3" y="20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0" name="Freeform 12"/>
              <p:cNvSpPr>
                <a:spLocks noEditPoint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2927333" y="4313238"/>
                <a:ext cx="224275" cy="177800"/>
              </a:xfrm>
              <a:custGeom>
                <a:avLst/>
                <a:gdLst>
                  <a:gd name="T0" fmla="*/ 2147483647 w 57"/>
                  <a:gd name="T1" fmla="*/ 2147483647 h 45"/>
                  <a:gd name="T2" fmla="*/ 2147483647 w 57"/>
                  <a:gd name="T3" fmla="*/ 2147483647 h 45"/>
                  <a:gd name="T4" fmla="*/ 2147483647 w 57"/>
                  <a:gd name="T5" fmla="*/ 2147483647 h 45"/>
                  <a:gd name="T6" fmla="*/ 0 w 57"/>
                  <a:gd name="T7" fmla="*/ 2147483647 h 45"/>
                  <a:gd name="T8" fmla="*/ 0 w 57"/>
                  <a:gd name="T9" fmla="*/ 2147483647 h 45"/>
                  <a:gd name="T10" fmla="*/ 2147483647 w 57"/>
                  <a:gd name="T11" fmla="*/ 2147483647 h 45"/>
                  <a:gd name="T12" fmla="*/ 2147483647 w 57"/>
                  <a:gd name="T13" fmla="*/ 2147483647 h 45"/>
                  <a:gd name="T14" fmla="*/ 2147483647 w 57"/>
                  <a:gd name="T15" fmla="*/ 2147483647 h 45"/>
                  <a:gd name="T16" fmla="*/ 2147483647 w 57"/>
                  <a:gd name="T17" fmla="*/ 2147483647 h 45"/>
                  <a:gd name="T18" fmla="*/ 2147483647 w 57"/>
                  <a:gd name="T19" fmla="*/ 2147483647 h 45"/>
                  <a:gd name="T20" fmla="*/ 2147483647 w 57"/>
                  <a:gd name="T21" fmla="*/ 2147483647 h 45"/>
                  <a:gd name="T22" fmla="*/ 2147483647 w 57"/>
                  <a:gd name="T23" fmla="*/ 2147483647 h 45"/>
                  <a:gd name="T24" fmla="*/ 2147483647 w 57"/>
                  <a:gd name="T25" fmla="*/ 0 h 45"/>
                  <a:gd name="T26" fmla="*/ 2147483647 w 57"/>
                  <a:gd name="T27" fmla="*/ 0 h 45"/>
                  <a:gd name="T28" fmla="*/ 2147483647 w 57"/>
                  <a:gd name="T29" fmla="*/ 0 h 45"/>
                  <a:gd name="T30" fmla="*/ 2147483647 w 57"/>
                  <a:gd name="T31" fmla="*/ 2147483647 h 45"/>
                  <a:gd name="T32" fmla="*/ 2147483647 w 57"/>
                  <a:gd name="T33" fmla="*/ 2147483647 h 45"/>
                  <a:gd name="T34" fmla="*/ 2147483647 w 57"/>
                  <a:gd name="T35" fmla="*/ 2147483647 h 45"/>
                  <a:gd name="T36" fmla="*/ 2147483647 w 57"/>
                  <a:gd name="T37" fmla="*/ 2147483647 h 45"/>
                  <a:gd name="T38" fmla="*/ 2147483647 w 57"/>
                  <a:gd name="T39" fmla="*/ 0 h 45"/>
                  <a:gd name="T40" fmla="*/ 2147483647 w 57"/>
                  <a:gd name="T41" fmla="*/ 2147483647 h 45"/>
                  <a:gd name="T42" fmla="*/ 2147483647 w 57"/>
                  <a:gd name="T43" fmla="*/ 2147483647 h 45"/>
                  <a:gd name="T44" fmla="*/ 2147483647 w 57"/>
                  <a:gd name="T45" fmla="*/ 2147483647 h 45"/>
                  <a:gd name="T46" fmla="*/ 2147483647 w 57"/>
                  <a:gd name="T47" fmla="*/ 2147483647 h 45"/>
                  <a:gd name="T48" fmla="*/ 2147483647 w 57"/>
                  <a:gd name="T49" fmla="*/ 2147483647 h 45"/>
                  <a:gd name="T50" fmla="*/ 2147483647 w 57"/>
                  <a:gd name="T51" fmla="*/ 2147483647 h 45"/>
                  <a:gd name="T52" fmla="*/ 2147483647 w 57"/>
                  <a:gd name="T53" fmla="*/ 2147483647 h 45"/>
                  <a:gd name="T54" fmla="*/ 2147483647 w 57"/>
                  <a:gd name="T55" fmla="*/ 2147483647 h 45"/>
                  <a:gd name="T56" fmla="*/ 2147483647 w 57"/>
                  <a:gd name="T57" fmla="*/ 2147483647 h 45"/>
                  <a:gd name="T58" fmla="*/ 2147483647 w 57"/>
                  <a:gd name="T59" fmla="*/ 2147483647 h 45"/>
                  <a:gd name="T60" fmla="*/ 2147483647 w 57"/>
                  <a:gd name="T61" fmla="*/ 2147483647 h 45"/>
                  <a:gd name="T62" fmla="*/ 2147483647 w 57"/>
                  <a:gd name="T63" fmla="*/ 2147483647 h 45"/>
                  <a:gd name="T64" fmla="*/ 2147483647 w 57"/>
                  <a:gd name="T65" fmla="*/ 2147483647 h 45"/>
                  <a:gd name="T66" fmla="*/ 2147483647 w 57"/>
                  <a:gd name="T67" fmla="*/ 2147483647 h 45"/>
                  <a:gd name="T68" fmla="*/ 2147483647 w 57"/>
                  <a:gd name="T69" fmla="*/ 2147483647 h 45"/>
                  <a:gd name="T70" fmla="*/ 2147483647 w 57"/>
                  <a:gd name="T71" fmla="*/ 2147483647 h 45"/>
                  <a:gd name="T72" fmla="*/ 2147483647 w 57"/>
                  <a:gd name="T73" fmla="*/ 2147483647 h 45"/>
                  <a:gd name="T74" fmla="*/ 2147483647 w 57"/>
                  <a:gd name="T75" fmla="*/ 2147483647 h 45"/>
                  <a:gd name="T76" fmla="*/ 2147483647 w 57"/>
                  <a:gd name="T77" fmla="*/ 2147483647 h 45"/>
                  <a:gd name="T78" fmla="*/ 2147483647 w 57"/>
                  <a:gd name="T79" fmla="*/ 2147483647 h 45"/>
                  <a:gd name="T80" fmla="*/ 2147483647 w 57"/>
                  <a:gd name="T81" fmla="*/ 2147483647 h 45"/>
                  <a:gd name="T82" fmla="*/ 2147483647 w 57"/>
                  <a:gd name="T83" fmla="*/ 2147483647 h 45"/>
                  <a:gd name="T84" fmla="*/ 2147483647 w 57"/>
                  <a:gd name="T85" fmla="*/ 2147483647 h 45"/>
                  <a:gd name="T86" fmla="*/ 2147483647 w 57"/>
                  <a:gd name="T87" fmla="*/ 2147483647 h 45"/>
                  <a:gd name="T88" fmla="*/ 2147483647 w 57"/>
                  <a:gd name="T89" fmla="*/ 2147483647 h 45"/>
                  <a:gd name="T90" fmla="*/ 2147483647 w 57"/>
                  <a:gd name="T91" fmla="*/ 2147483647 h 45"/>
                  <a:gd name="T92" fmla="*/ 2147483647 w 57"/>
                  <a:gd name="T93" fmla="*/ 2147483647 h 45"/>
                  <a:gd name="T94" fmla="*/ 2147483647 w 57"/>
                  <a:gd name="T95" fmla="*/ 2147483647 h 45"/>
                  <a:gd name="T96" fmla="*/ 2147483647 w 57"/>
                  <a:gd name="T97" fmla="*/ 2147483647 h 4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"/>
                  <a:gd name="T148" fmla="*/ 0 h 45"/>
                  <a:gd name="T149" fmla="*/ 57 w 57"/>
                  <a:gd name="T150" fmla="*/ 45 h 4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" h="45">
                    <a:moveTo>
                      <a:pt x="11" y="30"/>
                    </a:moveTo>
                    <a:cubicBezTo>
                      <a:pt x="7" y="30"/>
                      <a:pt x="7" y="30"/>
                      <a:pt x="7" y="30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" y="30"/>
                      <a:pt x="4" y="34"/>
                      <a:pt x="7" y="36"/>
                    </a:cubicBezTo>
                    <a:cubicBezTo>
                      <a:pt x="9" y="38"/>
                      <a:pt x="12" y="39"/>
                      <a:pt x="15" y="39"/>
                    </a:cubicBezTo>
                    <a:cubicBezTo>
                      <a:pt x="15" y="36"/>
                      <a:pt x="14" y="34"/>
                      <a:pt x="14" y="34"/>
                    </a:cubicBezTo>
                    <a:cubicBezTo>
                      <a:pt x="12" y="33"/>
                      <a:pt x="11" y="30"/>
                      <a:pt x="11" y="30"/>
                    </a:cubicBezTo>
                    <a:close/>
                    <a:moveTo>
                      <a:pt x="54" y="18"/>
                    </a:moveTo>
                    <a:cubicBezTo>
                      <a:pt x="54" y="18"/>
                      <a:pt x="54" y="18"/>
                      <a:pt x="50" y="16"/>
                    </a:cubicBezTo>
                    <a:cubicBezTo>
                      <a:pt x="45" y="14"/>
                      <a:pt x="45" y="10"/>
                      <a:pt x="45" y="8"/>
                    </a:cubicBezTo>
                    <a:cubicBezTo>
                      <a:pt x="45" y="5"/>
                      <a:pt x="39" y="0"/>
                      <a:pt x="39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38" y="3"/>
                      <a:pt x="36" y="4"/>
                    </a:cubicBezTo>
                    <a:cubicBezTo>
                      <a:pt x="35" y="5"/>
                      <a:pt x="32" y="8"/>
                      <a:pt x="32" y="8"/>
                    </a:cubicBezTo>
                    <a:cubicBezTo>
                      <a:pt x="32" y="8"/>
                      <a:pt x="27" y="10"/>
                      <a:pt x="27" y="7"/>
                    </a:cubicBezTo>
                    <a:cubicBezTo>
                      <a:pt x="26" y="5"/>
                      <a:pt x="22" y="2"/>
                      <a:pt x="21" y="1"/>
                    </a:cubicBezTo>
                    <a:cubicBezTo>
                      <a:pt x="20" y="1"/>
                      <a:pt x="19" y="0"/>
                      <a:pt x="19" y="0"/>
                    </a:cubicBezTo>
                    <a:cubicBezTo>
                      <a:pt x="18" y="1"/>
                      <a:pt x="17" y="2"/>
                      <a:pt x="17" y="2"/>
                    </a:cubicBezTo>
                    <a:cubicBezTo>
                      <a:pt x="15" y="3"/>
                      <a:pt x="20" y="5"/>
                      <a:pt x="21" y="6"/>
                    </a:cubicBezTo>
                    <a:cubicBezTo>
                      <a:pt x="22" y="7"/>
                      <a:pt x="20" y="11"/>
                      <a:pt x="20" y="11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9"/>
                      <a:pt x="12" y="8"/>
                      <a:pt x="11" y="6"/>
                    </a:cubicBezTo>
                    <a:cubicBezTo>
                      <a:pt x="10" y="4"/>
                      <a:pt x="5" y="7"/>
                      <a:pt x="5" y="7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8" y="17"/>
                      <a:pt x="8" y="18"/>
                    </a:cubicBezTo>
                    <a:cubicBezTo>
                      <a:pt x="8" y="19"/>
                      <a:pt x="12" y="21"/>
                      <a:pt x="13" y="21"/>
                    </a:cubicBezTo>
                    <a:cubicBezTo>
                      <a:pt x="14" y="22"/>
                      <a:pt x="11" y="24"/>
                      <a:pt x="11" y="24"/>
                    </a:cubicBezTo>
                    <a:cubicBezTo>
                      <a:pt x="11" y="24"/>
                      <a:pt x="14" y="27"/>
                      <a:pt x="15" y="28"/>
                    </a:cubicBezTo>
                    <a:cubicBezTo>
                      <a:pt x="16" y="29"/>
                      <a:pt x="20" y="29"/>
                      <a:pt x="20" y="29"/>
                    </a:cubicBezTo>
                    <a:cubicBezTo>
                      <a:pt x="18" y="32"/>
                      <a:pt x="18" y="32"/>
                      <a:pt x="18" y="32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20" y="37"/>
                      <a:pt x="21" y="37"/>
                      <a:pt x="22" y="36"/>
                    </a:cubicBezTo>
                    <a:cubicBezTo>
                      <a:pt x="29" y="31"/>
                      <a:pt x="34" y="29"/>
                      <a:pt x="34" y="29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37" y="37"/>
                      <a:pt x="37" y="37"/>
                      <a:pt x="37" y="37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2" y="42"/>
                      <a:pt x="44" y="39"/>
                      <a:pt x="44" y="37"/>
                    </a:cubicBezTo>
                    <a:cubicBezTo>
                      <a:pt x="44" y="35"/>
                      <a:pt x="46" y="36"/>
                      <a:pt x="46" y="34"/>
                    </a:cubicBezTo>
                    <a:cubicBezTo>
                      <a:pt x="46" y="33"/>
                      <a:pt x="48" y="29"/>
                      <a:pt x="48" y="28"/>
                    </a:cubicBezTo>
                    <a:cubicBezTo>
                      <a:pt x="48" y="27"/>
                      <a:pt x="50" y="21"/>
                      <a:pt x="51" y="20"/>
                    </a:cubicBezTo>
                    <a:cubicBezTo>
                      <a:pt x="52" y="20"/>
                      <a:pt x="57" y="20"/>
                      <a:pt x="57" y="20"/>
                    </a:cubicBezTo>
                    <a:lnTo>
                      <a:pt x="54" y="18"/>
                    </a:ln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1" name="Freeform 13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2239846" y="3954463"/>
                <a:ext cx="128995" cy="165100"/>
              </a:xfrm>
              <a:custGeom>
                <a:avLst/>
                <a:gdLst>
                  <a:gd name="T0" fmla="*/ 2147483647 w 33"/>
                  <a:gd name="T1" fmla="*/ 2147483647 h 42"/>
                  <a:gd name="T2" fmla="*/ 2147483647 w 33"/>
                  <a:gd name="T3" fmla="*/ 2147483647 h 42"/>
                  <a:gd name="T4" fmla="*/ 2147483647 w 33"/>
                  <a:gd name="T5" fmla="*/ 2147483647 h 42"/>
                  <a:gd name="T6" fmla="*/ 2147483647 w 33"/>
                  <a:gd name="T7" fmla="*/ 2147483647 h 42"/>
                  <a:gd name="T8" fmla="*/ 2147483647 w 33"/>
                  <a:gd name="T9" fmla="*/ 2147483647 h 42"/>
                  <a:gd name="T10" fmla="*/ 2147483647 w 33"/>
                  <a:gd name="T11" fmla="*/ 2147483647 h 42"/>
                  <a:gd name="T12" fmla="*/ 2147483647 w 33"/>
                  <a:gd name="T13" fmla="*/ 2147483647 h 42"/>
                  <a:gd name="T14" fmla="*/ 2147483647 w 33"/>
                  <a:gd name="T15" fmla="*/ 2147483647 h 42"/>
                  <a:gd name="T16" fmla="*/ 2147483647 w 33"/>
                  <a:gd name="T17" fmla="*/ 2147483647 h 42"/>
                  <a:gd name="T18" fmla="*/ 2147483647 w 33"/>
                  <a:gd name="T19" fmla="*/ 2147483647 h 42"/>
                  <a:gd name="T20" fmla="*/ 2147483647 w 33"/>
                  <a:gd name="T21" fmla="*/ 2147483647 h 42"/>
                  <a:gd name="T22" fmla="*/ 0 w 33"/>
                  <a:gd name="T23" fmla="*/ 2147483647 h 42"/>
                  <a:gd name="T24" fmla="*/ 2147483647 w 33"/>
                  <a:gd name="T25" fmla="*/ 2147483647 h 42"/>
                  <a:gd name="T26" fmla="*/ 2147483647 w 33"/>
                  <a:gd name="T27" fmla="*/ 2147483647 h 42"/>
                  <a:gd name="T28" fmla="*/ 2147483647 w 33"/>
                  <a:gd name="T29" fmla="*/ 2147483647 h 42"/>
                  <a:gd name="T30" fmla="*/ 2147483647 w 33"/>
                  <a:gd name="T31" fmla="*/ 2147483647 h 42"/>
                  <a:gd name="T32" fmla="*/ 2147483647 w 33"/>
                  <a:gd name="T33" fmla="*/ 2147483647 h 42"/>
                  <a:gd name="T34" fmla="*/ 2147483647 w 33"/>
                  <a:gd name="T35" fmla="*/ 2147483647 h 42"/>
                  <a:gd name="T36" fmla="*/ 2147483647 w 33"/>
                  <a:gd name="T37" fmla="*/ 2147483647 h 4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3"/>
                  <a:gd name="T58" fmla="*/ 0 h 42"/>
                  <a:gd name="T59" fmla="*/ 33 w 33"/>
                  <a:gd name="T60" fmla="*/ 42 h 4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3" h="42">
                    <a:moveTo>
                      <a:pt x="18" y="38"/>
                    </a:moveTo>
                    <a:cubicBezTo>
                      <a:pt x="19" y="38"/>
                      <a:pt x="21" y="35"/>
                      <a:pt x="21" y="35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24" y="29"/>
                      <a:pt x="25" y="29"/>
                    </a:cubicBezTo>
                    <a:cubicBezTo>
                      <a:pt x="27" y="29"/>
                      <a:pt x="33" y="30"/>
                      <a:pt x="33" y="30"/>
                    </a:cubicBezTo>
                    <a:cubicBezTo>
                      <a:pt x="33" y="30"/>
                      <a:pt x="30" y="26"/>
                      <a:pt x="30" y="25"/>
                    </a:cubicBezTo>
                    <a:cubicBezTo>
                      <a:pt x="30" y="24"/>
                      <a:pt x="27" y="24"/>
                      <a:pt x="27" y="21"/>
                    </a:cubicBezTo>
                    <a:cubicBezTo>
                      <a:pt x="27" y="18"/>
                      <a:pt x="26" y="16"/>
                      <a:pt x="25" y="15"/>
                    </a:cubicBezTo>
                    <a:cubicBezTo>
                      <a:pt x="23" y="15"/>
                      <a:pt x="23" y="11"/>
                      <a:pt x="23" y="9"/>
                    </a:cubicBezTo>
                    <a:cubicBezTo>
                      <a:pt x="23" y="6"/>
                      <a:pt x="20" y="7"/>
                      <a:pt x="19" y="6"/>
                    </a:cubicBezTo>
                    <a:cubicBezTo>
                      <a:pt x="18" y="5"/>
                      <a:pt x="14" y="2"/>
                      <a:pt x="10" y="1"/>
                    </a:cubicBezTo>
                    <a:cubicBezTo>
                      <a:pt x="6" y="0"/>
                      <a:pt x="3" y="1"/>
                      <a:pt x="0" y="2"/>
                    </a:cubicBezTo>
                    <a:cubicBezTo>
                      <a:pt x="1" y="3"/>
                      <a:pt x="2" y="5"/>
                      <a:pt x="3" y="5"/>
                    </a:cubicBezTo>
                    <a:cubicBezTo>
                      <a:pt x="4" y="8"/>
                      <a:pt x="7" y="14"/>
                      <a:pt x="9" y="16"/>
                    </a:cubicBezTo>
                    <a:cubicBezTo>
                      <a:pt x="10" y="18"/>
                      <a:pt x="15" y="25"/>
                      <a:pt x="14" y="27"/>
                    </a:cubicBezTo>
                    <a:cubicBezTo>
                      <a:pt x="13" y="29"/>
                      <a:pt x="12" y="32"/>
                      <a:pt x="12" y="35"/>
                    </a:cubicBezTo>
                    <a:cubicBezTo>
                      <a:pt x="12" y="37"/>
                      <a:pt x="14" y="42"/>
                      <a:pt x="14" y="42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6" y="42"/>
                      <a:pt x="17" y="39"/>
                      <a:pt x="18" y="3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2" name="Freeform 14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2099478" y="3462339"/>
                <a:ext cx="373793" cy="333375"/>
              </a:xfrm>
              <a:custGeom>
                <a:avLst/>
                <a:gdLst>
                  <a:gd name="T0" fmla="*/ 2147483647 w 95"/>
                  <a:gd name="T1" fmla="*/ 2147483647 h 85"/>
                  <a:gd name="T2" fmla="*/ 2147483647 w 95"/>
                  <a:gd name="T3" fmla="*/ 2147483647 h 85"/>
                  <a:gd name="T4" fmla="*/ 2147483647 w 95"/>
                  <a:gd name="T5" fmla="*/ 2147483647 h 85"/>
                  <a:gd name="T6" fmla="*/ 2147483647 w 95"/>
                  <a:gd name="T7" fmla="*/ 2147483647 h 85"/>
                  <a:gd name="T8" fmla="*/ 2147483647 w 95"/>
                  <a:gd name="T9" fmla="*/ 2147483647 h 85"/>
                  <a:gd name="T10" fmla="*/ 2147483647 w 95"/>
                  <a:gd name="T11" fmla="*/ 2147483647 h 85"/>
                  <a:gd name="T12" fmla="*/ 2147483647 w 95"/>
                  <a:gd name="T13" fmla="*/ 2147483647 h 85"/>
                  <a:gd name="T14" fmla="*/ 2147483647 w 95"/>
                  <a:gd name="T15" fmla="*/ 2147483647 h 85"/>
                  <a:gd name="T16" fmla="*/ 2147483647 w 95"/>
                  <a:gd name="T17" fmla="*/ 2147483647 h 85"/>
                  <a:gd name="T18" fmla="*/ 2147483647 w 95"/>
                  <a:gd name="T19" fmla="*/ 2147483647 h 85"/>
                  <a:gd name="T20" fmla="*/ 2147483647 w 95"/>
                  <a:gd name="T21" fmla="*/ 2147483647 h 85"/>
                  <a:gd name="T22" fmla="*/ 2147483647 w 95"/>
                  <a:gd name="T23" fmla="*/ 2147483647 h 85"/>
                  <a:gd name="T24" fmla="*/ 2147483647 w 95"/>
                  <a:gd name="T25" fmla="*/ 2147483647 h 85"/>
                  <a:gd name="T26" fmla="*/ 2147483647 w 95"/>
                  <a:gd name="T27" fmla="*/ 2147483647 h 85"/>
                  <a:gd name="T28" fmla="*/ 2147483647 w 95"/>
                  <a:gd name="T29" fmla="*/ 2147483647 h 85"/>
                  <a:gd name="T30" fmla="*/ 2147483647 w 95"/>
                  <a:gd name="T31" fmla="*/ 2147483647 h 85"/>
                  <a:gd name="T32" fmla="*/ 2147483647 w 95"/>
                  <a:gd name="T33" fmla="*/ 0 h 85"/>
                  <a:gd name="T34" fmla="*/ 2147483647 w 95"/>
                  <a:gd name="T35" fmla="*/ 0 h 85"/>
                  <a:gd name="T36" fmla="*/ 2147483647 w 95"/>
                  <a:gd name="T37" fmla="*/ 2147483647 h 85"/>
                  <a:gd name="T38" fmla="*/ 2147483647 w 95"/>
                  <a:gd name="T39" fmla="*/ 2147483647 h 85"/>
                  <a:gd name="T40" fmla="*/ 2147483647 w 95"/>
                  <a:gd name="T41" fmla="*/ 2147483647 h 85"/>
                  <a:gd name="T42" fmla="*/ 2147483647 w 95"/>
                  <a:gd name="T43" fmla="*/ 2147483647 h 85"/>
                  <a:gd name="T44" fmla="*/ 2147483647 w 95"/>
                  <a:gd name="T45" fmla="*/ 2147483647 h 85"/>
                  <a:gd name="T46" fmla="*/ 2147483647 w 95"/>
                  <a:gd name="T47" fmla="*/ 2147483647 h 85"/>
                  <a:gd name="T48" fmla="*/ 2147483647 w 95"/>
                  <a:gd name="T49" fmla="*/ 2147483647 h 85"/>
                  <a:gd name="T50" fmla="*/ 2147483647 w 95"/>
                  <a:gd name="T51" fmla="*/ 2147483647 h 85"/>
                  <a:gd name="T52" fmla="*/ 2147483647 w 95"/>
                  <a:gd name="T53" fmla="*/ 2147483647 h 85"/>
                  <a:gd name="T54" fmla="*/ 2147483647 w 95"/>
                  <a:gd name="T55" fmla="*/ 2147483647 h 85"/>
                  <a:gd name="T56" fmla="*/ 2147483647 w 95"/>
                  <a:gd name="T57" fmla="*/ 2147483647 h 85"/>
                  <a:gd name="T58" fmla="*/ 2147483647 w 95"/>
                  <a:gd name="T59" fmla="*/ 2147483647 h 85"/>
                  <a:gd name="T60" fmla="*/ 2147483647 w 95"/>
                  <a:gd name="T61" fmla="*/ 2147483647 h 85"/>
                  <a:gd name="T62" fmla="*/ 2147483647 w 95"/>
                  <a:gd name="T63" fmla="*/ 2147483647 h 85"/>
                  <a:gd name="T64" fmla="*/ 2147483647 w 95"/>
                  <a:gd name="T65" fmla="*/ 2147483647 h 85"/>
                  <a:gd name="T66" fmla="*/ 2147483647 w 95"/>
                  <a:gd name="T67" fmla="*/ 2147483647 h 85"/>
                  <a:gd name="T68" fmla="*/ 2147483647 w 95"/>
                  <a:gd name="T69" fmla="*/ 2147483647 h 85"/>
                  <a:gd name="T70" fmla="*/ 2147483647 w 95"/>
                  <a:gd name="T71" fmla="*/ 2147483647 h 85"/>
                  <a:gd name="T72" fmla="*/ 2147483647 w 95"/>
                  <a:gd name="T73" fmla="*/ 2147483647 h 85"/>
                  <a:gd name="T74" fmla="*/ 2147483647 w 95"/>
                  <a:gd name="T75" fmla="*/ 2147483647 h 85"/>
                  <a:gd name="T76" fmla="*/ 2147483647 w 95"/>
                  <a:gd name="T77" fmla="*/ 2147483647 h 85"/>
                  <a:gd name="T78" fmla="*/ 2147483647 w 95"/>
                  <a:gd name="T79" fmla="*/ 2147483647 h 85"/>
                  <a:gd name="T80" fmla="*/ 2147483647 w 95"/>
                  <a:gd name="T81" fmla="*/ 2147483647 h 85"/>
                  <a:gd name="T82" fmla="*/ 2147483647 w 95"/>
                  <a:gd name="T83" fmla="*/ 2147483647 h 85"/>
                  <a:gd name="T84" fmla="*/ 2147483647 w 95"/>
                  <a:gd name="T85" fmla="*/ 2147483647 h 85"/>
                  <a:gd name="T86" fmla="*/ 2147483647 w 95"/>
                  <a:gd name="T87" fmla="*/ 2147483647 h 85"/>
                  <a:gd name="T88" fmla="*/ 2147483647 w 95"/>
                  <a:gd name="T89" fmla="*/ 2147483647 h 85"/>
                  <a:gd name="T90" fmla="*/ 2147483647 w 95"/>
                  <a:gd name="T91" fmla="*/ 2147483647 h 85"/>
                  <a:gd name="T92" fmla="*/ 2147483647 w 95"/>
                  <a:gd name="T93" fmla="*/ 2147483647 h 85"/>
                  <a:gd name="T94" fmla="*/ 2147483647 w 95"/>
                  <a:gd name="T95" fmla="*/ 2147483647 h 85"/>
                  <a:gd name="T96" fmla="*/ 2147483647 w 95"/>
                  <a:gd name="T97" fmla="*/ 2147483647 h 85"/>
                  <a:gd name="T98" fmla="*/ 2147483647 w 95"/>
                  <a:gd name="T99" fmla="*/ 2147483647 h 85"/>
                  <a:gd name="T100" fmla="*/ 2147483647 w 95"/>
                  <a:gd name="T101" fmla="*/ 2147483647 h 85"/>
                  <a:gd name="T102" fmla="*/ 2147483647 w 95"/>
                  <a:gd name="T103" fmla="*/ 2147483647 h 85"/>
                  <a:gd name="T104" fmla="*/ 2147483647 w 95"/>
                  <a:gd name="T105" fmla="*/ 2147483647 h 85"/>
                  <a:gd name="T106" fmla="*/ 2147483647 w 95"/>
                  <a:gd name="T107" fmla="*/ 2147483647 h 85"/>
                  <a:gd name="T108" fmla="*/ 2147483647 w 95"/>
                  <a:gd name="T109" fmla="*/ 2147483647 h 85"/>
                  <a:gd name="T110" fmla="*/ 2147483647 w 95"/>
                  <a:gd name="T111" fmla="*/ 2147483647 h 85"/>
                  <a:gd name="T112" fmla="*/ 2147483647 w 95"/>
                  <a:gd name="T113" fmla="*/ 2147483647 h 85"/>
                  <a:gd name="T114" fmla="*/ 2147483647 w 95"/>
                  <a:gd name="T115" fmla="*/ 2147483647 h 85"/>
                  <a:gd name="T116" fmla="*/ 2147483647 w 95"/>
                  <a:gd name="T117" fmla="*/ 2147483647 h 85"/>
                  <a:gd name="T118" fmla="*/ 2147483647 w 95"/>
                  <a:gd name="T119" fmla="*/ 2147483647 h 85"/>
                  <a:gd name="T120" fmla="*/ 2147483647 w 95"/>
                  <a:gd name="T121" fmla="*/ 2147483647 h 85"/>
                  <a:gd name="T122" fmla="*/ 2147483647 w 95"/>
                  <a:gd name="T123" fmla="*/ 2147483647 h 85"/>
                  <a:gd name="T124" fmla="*/ 2147483647 w 95"/>
                  <a:gd name="T125" fmla="*/ 2147483647 h 8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5"/>
                  <a:gd name="T190" fmla="*/ 0 h 85"/>
                  <a:gd name="T191" fmla="*/ 95 w 95"/>
                  <a:gd name="T192" fmla="*/ 85 h 8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5" h="85">
                    <a:moveTo>
                      <a:pt x="91" y="46"/>
                    </a:moveTo>
                    <a:cubicBezTo>
                      <a:pt x="89" y="41"/>
                      <a:pt x="89" y="41"/>
                      <a:pt x="89" y="41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5" y="37"/>
                      <a:pt x="85" y="37"/>
                      <a:pt x="85" y="37"/>
                    </a:cubicBezTo>
                    <a:cubicBezTo>
                      <a:pt x="79" y="33"/>
                      <a:pt x="79" y="33"/>
                      <a:pt x="79" y="33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4" y="23"/>
                      <a:pt x="74" y="23"/>
                      <a:pt x="74" y="23"/>
                    </a:cubicBezTo>
                    <a:cubicBezTo>
                      <a:pt x="74" y="23"/>
                      <a:pt x="76" y="20"/>
                      <a:pt x="76" y="19"/>
                    </a:cubicBezTo>
                    <a:cubicBezTo>
                      <a:pt x="76" y="18"/>
                      <a:pt x="76" y="12"/>
                      <a:pt x="76" y="12"/>
                    </a:cubicBezTo>
                    <a:cubicBezTo>
                      <a:pt x="74" y="10"/>
                      <a:pt x="74" y="10"/>
                      <a:pt x="74" y="10"/>
                    </a:cubicBezTo>
                    <a:cubicBezTo>
                      <a:pt x="74" y="10"/>
                      <a:pt x="70" y="7"/>
                      <a:pt x="69" y="7"/>
                    </a:cubicBezTo>
                    <a:cubicBezTo>
                      <a:pt x="67" y="7"/>
                      <a:pt x="62" y="9"/>
                      <a:pt x="62" y="9"/>
                    </a:cubicBezTo>
                    <a:cubicBezTo>
                      <a:pt x="62" y="9"/>
                      <a:pt x="60" y="6"/>
                      <a:pt x="61" y="5"/>
                    </a:cubicBezTo>
                    <a:cubicBezTo>
                      <a:pt x="62" y="4"/>
                      <a:pt x="57" y="3"/>
                      <a:pt x="57" y="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6" y="2"/>
                      <a:pt x="45" y="7"/>
                      <a:pt x="44" y="7"/>
                    </a:cubicBezTo>
                    <a:cubicBezTo>
                      <a:pt x="43" y="7"/>
                      <a:pt x="38" y="6"/>
                      <a:pt x="38" y="6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4" y="9"/>
                      <a:pt x="34" y="14"/>
                      <a:pt x="33" y="15"/>
                    </a:cubicBezTo>
                    <a:cubicBezTo>
                      <a:pt x="32" y="15"/>
                      <a:pt x="36" y="17"/>
                      <a:pt x="35" y="18"/>
                    </a:cubicBezTo>
                    <a:cubicBezTo>
                      <a:pt x="34" y="19"/>
                      <a:pt x="30" y="20"/>
                      <a:pt x="30" y="20"/>
                    </a:cubicBezTo>
                    <a:cubicBezTo>
                      <a:pt x="30" y="20"/>
                      <a:pt x="27" y="22"/>
                      <a:pt x="27" y="23"/>
                    </a:cubicBezTo>
                    <a:cubicBezTo>
                      <a:pt x="26" y="24"/>
                      <a:pt x="25" y="29"/>
                      <a:pt x="24" y="30"/>
                    </a:cubicBezTo>
                    <a:cubicBezTo>
                      <a:pt x="23" y="32"/>
                      <a:pt x="25" y="35"/>
                      <a:pt x="24" y="35"/>
                    </a:cubicBezTo>
                    <a:cubicBezTo>
                      <a:pt x="23" y="35"/>
                      <a:pt x="21" y="33"/>
                      <a:pt x="21" y="33"/>
                    </a:cubicBezTo>
                    <a:cubicBezTo>
                      <a:pt x="21" y="33"/>
                      <a:pt x="17" y="36"/>
                      <a:pt x="15" y="37"/>
                    </a:cubicBezTo>
                    <a:cubicBezTo>
                      <a:pt x="13" y="38"/>
                      <a:pt x="13" y="41"/>
                      <a:pt x="9" y="39"/>
                    </a:cubicBezTo>
                    <a:cubicBezTo>
                      <a:pt x="5" y="37"/>
                      <a:pt x="4" y="39"/>
                      <a:pt x="4" y="39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4" y="43"/>
                      <a:pt x="7" y="55"/>
                      <a:pt x="7" y="58"/>
                    </a:cubicBezTo>
                    <a:cubicBezTo>
                      <a:pt x="7" y="60"/>
                      <a:pt x="5" y="61"/>
                      <a:pt x="3" y="62"/>
                    </a:cubicBezTo>
                    <a:cubicBezTo>
                      <a:pt x="0" y="63"/>
                      <a:pt x="2" y="67"/>
                      <a:pt x="2" y="67"/>
                    </a:cubicBezTo>
                    <a:cubicBezTo>
                      <a:pt x="2" y="67"/>
                      <a:pt x="5" y="69"/>
                      <a:pt x="5" y="71"/>
                    </a:cubicBezTo>
                    <a:cubicBezTo>
                      <a:pt x="4" y="73"/>
                      <a:pt x="5" y="77"/>
                      <a:pt x="5" y="77"/>
                    </a:cubicBezTo>
                    <a:cubicBezTo>
                      <a:pt x="6" y="77"/>
                      <a:pt x="7" y="79"/>
                      <a:pt x="9" y="76"/>
                    </a:cubicBezTo>
                    <a:cubicBezTo>
                      <a:pt x="11" y="74"/>
                      <a:pt x="12" y="74"/>
                      <a:pt x="14" y="74"/>
                    </a:cubicBezTo>
                    <a:cubicBezTo>
                      <a:pt x="16" y="73"/>
                      <a:pt x="25" y="73"/>
                      <a:pt x="25" y="73"/>
                    </a:cubicBezTo>
                    <a:cubicBezTo>
                      <a:pt x="25" y="73"/>
                      <a:pt x="36" y="76"/>
                      <a:pt x="38" y="75"/>
                    </a:cubicBezTo>
                    <a:cubicBezTo>
                      <a:pt x="39" y="75"/>
                      <a:pt x="40" y="78"/>
                      <a:pt x="41" y="78"/>
                    </a:cubicBezTo>
                    <a:cubicBezTo>
                      <a:pt x="42" y="79"/>
                      <a:pt x="44" y="79"/>
                      <a:pt x="44" y="79"/>
                    </a:cubicBezTo>
                    <a:cubicBezTo>
                      <a:pt x="44" y="79"/>
                      <a:pt x="49" y="78"/>
                      <a:pt x="50" y="78"/>
                    </a:cubicBezTo>
                    <a:cubicBezTo>
                      <a:pt x="50" y="77"/>
                      <a:pt x="53" y="80"/>
                      <a:pt x="53" y="80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7" y="79"/>
                      <a:pt x="60" y="78"/>
                      <a:pt x="61" y="80"/>
                    </a:cubicBezTo>
                    <a:cubicBezTo>
                      <a:pt x="62" y="82"/>
                      <a:pt x="63" y="80"/>
                      <a:pt x="64" y="80"/>
                    </a:cubicBezTo>
                    <a:cubicBezTo>
                      <a:pt x="65" y="80"/>
                      <a:pt x="69" y="80"/>
                      <a:pt x="69" y="80"/>
                    </a:cubicBezTo>
                    <a:cubicBezTo>
                      <a:pt x="69" y="80"/>
                      <a:pt x="71" y="85"/>
                      <a:pt x="73" y="83"/>
                    </a:cubicBezTo>
                    <a:cubicBezTo>
                      <a:pt x="75" y="81"/>
                      <a:pt x="72" y="78"/>
                      <a:pt x="73" y="76"/>
                    </a:cubicBezTo>
                    <a:cubicBezTo>
                      <a:pt x="74" y="74"/>
                      <a:pt x="75" y="71"/>
                      <a:pt x="76" y="71"/>
                    </a:cubicBezTo>
                    <a:cubicBezTo>
                      <a:pt x="78" y="71"/>
                      <a:pt x="80" y="69"/>
                      <a:pt x="82" y="70"/>
                    </a:cubicBezTo>
                    <a:cubicBezTo>
                      <a:pt x="83" y="70"/>
                      <a:pt x="85" y="70"/>
                      <a:pt x="87" y="70"/>
                    </a:cubicBezTo>
                    <a:cubicBezTo>
                      <a:pt x="87" y="70"/>
                      <a:pt x="87" y="70"/>
                      <a:pt x="87" y="70"/>
                    </a:cubicBezTo>
                    <a:cubicBezTo>
                      <a:pt x="85" y="69"/>
                      <a:pt x="84" y="68"/>
                      <a:pt x="84" y="68"/>
                    </a:cubicBezTo>
                    <a:cubicBezTo>
                      <a:pt x="84" y="68"/>
                      <a:pt x="83" y="63"/>
                      <a:pt x="83" y="61"/>
                    </a:cubicBezTo>
                    <a:cubicBezTo>
                      <a:pt x="82" y="58"/>
                      <a:pt x="80" y="56"/>
                      <a:pt x="80" y="55"/>
                    </a:cubicBezTo>
                    <a:cubicBezTo>
                      <a:pt x="79" y="54"/>
                      <a:pt x="81" y="51"/>
                      <a:pt x="83" y="51"/>
                    </a:cubicBezTo>
                    <a:cubicBezTo>
                      <a:pt x="84" y="52"/>
                      <a:pt x="85" y="54"/>
                      <a:pt x="87" y="54"/>
                    </a:cubicBezTo>
                    <a:cubicBezTo>
                      <a:pt x="89" y="53"/>
                      <a:pt x="90" y="51"/>
                      <a:pt x="93" y="49"/>
                    </a:cubicBezTo>
                    <a:cubicBezTo>
                      <a:pt x="95" y="48"/>
                      <a:pt x="91" y="46"/>
                      <a:pt x="91" y="46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  <a:lumOff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3" name="Freeform 15"/>
              <p:cNvSpPr>
                <a:spLocks noEditPoint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2039358" y="3216276"/>
                <a:ext cx="255059" cy="161925"/>
              </a:xfrm>
              <a:custGeom>
                <a:avLst/>
                <a:gdLst>
                  <a:gd name="T0" fmla="*/ 2147483647 w 65"/>
                  <a:gd name="T1" fmla="*/ 2147483647 h 41"/>
                  <a:gd name="T2" fmla="*/ 2147483647 w 65"/>
                  <a:gd name="T3" fmla="*/ 2147483647 h 41"/>
                  <a:gd name="T4" fmla="*/ 2147483647 w 65"/>
                  <a:gd name="T5" fmla="*/ 2147483647 h 41"/>
                  <a:gd name="T6" fmla="*/ 2147483647 w 65"/>
                  <a:gd name="T7" fmla="*/ 2147483647 h 41"/>
                  <a:gd name="T8" fmla="*/ 2147483647 w 65"/>
                  <a:gd name="T9" fmla="*/ 2147483647 h 41"/>
                  <a:gd name="T10" fmla="*/ 2147483647 w 65"/>
                  <a:gd name="T11" fmla="*/ 2147483647 h 41"/>
                  <a:gd name="T12" fmla="*/ 2147483647 w 65"/>
                  <a:gd name="T13" fmla="*/ 2147483647 h 41"/>
                  <a:gd name="T14" fmla="*/ 2147483647 w 65"/>
                  <a:gd name="T15" fmla="*/ 2147483647 h 41"/>
                  <a:gd name="T16" fmla="*/ 2147483647 w 65"/>
                  <a:gd name="T17" fmla="*/ 2147483647 h 41"/>
                  <a:gd name="T18" fmla="*/ 2147483647 w 65"/>
                  <a:gd name="T19" fmla="*/ 2147483647 h 41"/>
                  <a:gd name="T20" fmla="*/ 2147483647 w 65"/>
                  <a:gd name="T21" fmla="*/ 2147483647 h 41"/>
                  <a:gd name="T22" fmla="*/ 2147483647 w 65"/>
                  <a:gd name="T23" fmla="*/ 2147483647 h 41"/>
                  <a:gd name="T24" fmla="*/ 2147483647 w 65"/>
                  <a:gd name="T25" fmla="*/ 2147483647 h 41"/>
                  <a:gd name="T26" fmla="*/ 2147483647 w 65"/>
                  <a:gd name="T27" fmla="*/ 2147483647 h 41"/>
                  <a:gd name="T28" fmla="*/ 2147483647 w 65"/>
                  <a:gd name="T29" fmla="*/ 2147483647 h 41"/>
                  <a:gd name="T30" fmla="*/ 2147483647 w 65"/>
                  <a:gd name="T31" fmla="*/ 2147483647 h 41"/>
                  <a:gd name="T32" fmla="*/ 2147483647 w 65"/>
                  <a:gd name="T33" fmla="*/ 2147483647 h 41"/>
                  <a:gd name="T34" fmla="*/ 2147483647 w 65"/>
                  <a:gd name="T35" fmla="*/ 2147483647 h 41"/>
                  <a:gd name="T36" fmla="*/ 2147483647 w 65"/>
                  <a:gd name="T37" fmla="*/ 2147483647 h 41"/>
                  <a:gd name="T38" fmla="*/ 2147483647 w 65"/>
                  <a:gd name="T39" fmla="*/ 2147483647 h 41"/>
                  <a:gd name="T40" fmla="*/ 2147483647 w 65"/>
                  <a:gd name="T41" fmla="*/ 2147483647 h 41"/>
                  <a:gd name="T42" fmla="*/ 2147483647 w 65"/>
                  <a:gd name="T43" fmla="*/ 2147483647 h 41"/>
                  <a:gd name="T44" fmla="*/ 2147483647 w 65"/>
                  <a:gd name="T45" fmla="*/ 2147483647 h 41"/>
                  <a:gd name="T46" fmla="*/ 2147483647 w 65"/>
                  <a:gd name="T47" fmla="*/ 2147483647 h 41"/>
                  <a:gd name="T48" fmla="*/ 2147483647 w 65"/>
                  <a:gd name="T49" fmla="*/ 2147483647 h 41"/>
                  <a:gd name="T50" fmla="*/ 2147483647 w 65"/>
                  <a:gd name="T51" fmla="*/ 2147483647 h 41"/>
                  <a:gd name="T52" fmla="*/ 2147483647 w 65"/>
                  <a:gd name="T53" fmla="*/ 2147483647 h 41"/>
                  <a:gd name="T54" fmla="*/ 2147483647 w 65"/>
                  <a:gd name="T55" fmla="*/ 2147483647 h 41"/>
                  <a:gd name="T56" fmla="*/ 2147483647 w 65"/>
                  <a:gd name="T57" fmla="*/ 2147483647 h 41"/>
                  <a:gd name="T58" fmla="*/ 2147483647 w 65"/>
                  <a:gd name="T59" fmla="*/ 2147483647 h 41"/>
                  <a:gd name="T60" fmla="*/ 2147483647 w 65"/>
                  <a:gd name="T61" fmla="*/ 2147483647 h 41"/>
                  <a:gd name="T62" fmla="*/ 2147483647 w 65"/>
                  <a:gd name="T63" fmla="*/ 2147483647 h 41"/>
                  <a:gd name="T64" fmla="*/ 2147483647 w 65"/>
                  <a:gd name="T65" fmla="*/ 2147483647 h 41"/>
                  <a:gd name="T66" fmla="*/ 2147483647 w 65"/>
                  <a:gd name="T67" fmla="*/ 2147483647 h 41"/>
                  <a:gd name="T68" fmla="*/ 2147483647 w 65"/>
                  <a:gd name="T69" fmla="*/ 2147483647 h 41"/>
                  <a:gd name="T70" fmla="*/ 2147483647 w 65"/>
                  <a:gd name="T71" fmla="*/ 2147483647 h 41"/>
                  <a:gd name="T72" fmla="*/ 2147483647 w 65"/>
                  <a:gd name="T73" fmla="*/ 2147483647 h 41"/>
                  <a:gd name="T74" fmla="*/ 2147483647 w 65"/>
                  <a:gd name="T75" fmla="*/ 2147483647 h 41"/>
                  <a:gd name="T76" fmla="*/ 2147483647 w 65"/>
                  <a:gd name="T77" fmla="*/ 2147483647 h 41"/>
                  <a:gd name="T78" fmla="*/ 2147483647 w 65"/>
                  <a:gd name="T79" fmla="*/ 2147483647 h 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5"/>
                  <a:gd name="T121" fmla="*/ 0 h 41"/>
                  <a:gd name="T122" fmla="*/ 65 w 65"/>
                  <a:gd name="T123" fmla="*/ 41 h 4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5" h="41">
                    <a:moveTo>
                      <a:pt x="65" y="4"/>
                    </a:moveTo>
                    <a:cubicBezTo>
                      <a:pt x="58" y="5"/>
                      <a:pt x="58" y="5"/>
                      <a:pt x="58" y="5"/>
                    </a:cubicBezTo>
                    <a:cubicBezTo>
                      <a:pt x="58" y="5"/>
                      <a:pt x="48" y="3"/>
                      <a:pt x="46" y="2"/>
                    </a:cubicBezTo>
                    <a:cubicBezTo>
                      <a:pt x="44" y="1"/>
                      <a:pt x="38" y="0"/>
                      <a:pt x="36" y="1"/>
                    </a:cubicBezTo>
                    <a:cubicBezTo>
                      <a:pt x="35" y="2"/>
                      <a:pt x="28" y="4"/>
                      <a:pt x="26" y="4"/>
                    </a:cubicBezTo>
                    <a:cubicBezTo>
                      <a:pt x="25" y="4"/>
                      <a:pt x="18" y="8"/>
                      <a:pt x="18" y="9"/>
                    </a:cubicBezTo>
                    <a:cubicBezTo>
                      <a:pt x="18" y="11"/>
                      <a:pt x="19" y="16"/>
                      <a:pt x="19" y="16"/>
                    </a:cubicBezTo>
                    <a:cubicBezTo>
                      <a:pt x="19" y="16"/>
                      <a:pt x="19" y="18"/>
                      <a:pt x="19" y="20"/>
                    </a:cubicBezTo>
                    <a:cubicBezTo>
                      <a:pt x="18" y="21"/>
                      <a:pt x="20" y="24"/>
                      <a:pt x="21" y="25"/>
                    </a:cubicBezTo>
                    <a:cubicBezTo>
                      <a:pt x="23" y="26"/>
                      <a:pt x="25" y="26"/>
                      <a:pt x="26" y="25"/>
                    </a:cubicBezTo>
                    <a:cubicBezTo>
                      <a:pt x="27" y="24"/>
                      <a:pt x="29" y="27"/>
                      <a:pt x="28" y="28"/>
                    </a:cubicBezTo>
                    <a:cubicBezTo>
                      <a:pt x="27" y="30"/>
                      <a:pt x="27" y="33"/>
                      <a:pt x="27" y="33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29"/>
                      <a:pt x="41" y="31"/>
                      <a:pt x="42" y="33"/>
                    </a:cubicBezTo>
                    <a:cubicBezTo>
                      <a:pt x="44" y="35"/>
                      <a:pt x="45" y="41"/>
                      <a:pt x="47" y="40"/>
                    </a:cubicBezTo>
                    <a:cubicBezTo>
                      <a:pt x="50" y="40"/>
                      <a:pt x="52" y="37"/>
                      <a:pt x="52" y="37"/>
                    </a:cubicBezTo>
                    <a:cubicBezTo>
                      <a:pt x="55" y="39"/>
                      <a:pt x="55" y="39"/>
                      <a:pt x="55" y="39"/>
                    </a:cubicBezTo>
                    <a:cubicBezTo>
                      <a:pt x="58" y="34"/>
                      <a:pt x="58" y="34"/>
                      <a:pt x="58" y="34"/>
                    </a:cubicBezTo>
                    <a:cubicBezTo>
                      <a:pt x="60" y="34"/>
                      <a:pt x="60" y="34"/>
                      <a:pt x="60" y="34"/>
                    </a:cubicBezTo>
                    <a:cubicBezTo>
                      <a:pt x="60" y="34"/>
                      <a:pt x="57" y="26"/>
                      <a:pt x="58" y="25"/>
                    </a:cubicBezTo>
                    <a:cubicBezTo>
                      <a:pt x="57" y="24"/>
                      <a:pt x="55" y="24"/>
                      <a:pt x="55" y="22"/>
                    </a:cubicBezTo>
                    <a:cubicBezTo>
                      <a:pt x="54" y="19"/>
                      <a:pt x="51" y="15"/>
                      <a:pt x="53" y="14"/>
                    </a:cubicBezTo>
                    <a:cubicBezTo>
                      <a:pt x="54" y="13"/>
                      <a:pt x="55" y="11"/>
                      <a:pt x="59" y="13"/>
                    </a:cubicBezTo>
                    <a:cubicBezTo>
                      <a:pt x="59" y="12"/>
                      <a:pt x="59" y="12"/>
                      <a:pt x="59" y="12"/>
                    </a:cubicBezTo>
                    <a:cubicBezTo>
                      <a:pt x="62" y="7"/>
                      <a:pt x="62" y="7"/>
                      <a:pt x="62" y="7"/>
                    </a:cubicBezTo>
                    <a:lnTo>
                      <a:pt x="65" y="4"/>
                    </a:lnTo>
                    <a:close/>
                    <a:moveTo>
                      <a:pt x="12" y="19"/>
                    </a:moveTo>
                    <a:cubicBezTo>
                      <a:pt x="9" y="19"/>
                      <a:pt x="8" y="20"/>
                      <a:pt x="4" y="21"/>
                    </a:cubicBezTo>
                    <a:cubicBezTo>
                      <a:pt x="0" y="22"/>
                      <a:pt x="2" y="24"/>
                      <a:pt x="3" y="26"/>
                    </a:cubicBezTo>
                    <a:cubicBezTo>
                      <a:pt x="3" y="29"/>
                      <a:pt x="4" y="29"/>
                      <a:pt x="3" y="31"/>
                    </a:cubicBezTo>
                    <a:cubicBezTo>
                      <a:pt x="3" y="33"/>
                      <a:pt x="6" y="31"/>
                      <a:pt x="6" y="31"/>
                    </a:cubicBezTo>
                    <a:cubicBezTo>
                      <a:pt x="6" y="31"/>
                      <a:pt x="7" y="26"/>
                      <a:pt x="8" y="27"/>
                    </a:cubicBezTo>
                    <a:cubicBezTo>
                      <a:pt x="9" y="28"/>
                      <a:pt x="9" y="26"/>
                      <a:pt x="13" y="24"/>
                    </a:cubicBezTo>
                    <a:cubicBezTo>
                      <a:pt x="16" y="23"/>
                      <a:pt x="17" y="22"/>
                      <a:pt x="17" y="20"/>
                    </a:cubicBezTo>
                    <a:cubicBezTo>
                      <a:pt x="18" y="18"/>
                      <a:pt x="15" y="19"/>
                      <a:pt x="12" y="19"/>
                    </a:cubicBezTo>
                    <a:close/>
                    <a:moveTo>
                      <a:pt x="10" y="17"/>
                    </a:moveTo>
                    <a:cubicBezTo>
                      <a:pt x="10" y="17"/>
                      <a:pt x="12" y="15"/>
                      <a:pt x="14" y="14"/>
                    </a:cubicBezTo>
                    <a:cubicBezTo>
                      <a:pt x="17" y="12"/>
                      <a:pt x="12" y="12"/>
                      <a:pt x="9" y="10"/>
                    </a:cubicBezTo>
                    <a:cubicBezTo>
                      <a:pt x="7" y="9"/>
                      <a:pt x="7" y="11"/>
                      <a:pt x="5" y="13"/>
                    </a:cubicBezTo>
                    <a:cubicBezTo>
                      <a:pt x="5" y="14"/>
                      <a:pt x="10" y="17"/>
                      <a:pt x="10" y="17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4" name="Freeform 16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2004177" y="3328989"/>
                <a:ext cx="287307" cy="168275"/>
              </a:xfrm>
              <a:custGeom>
                <a:avLst/>
                <a:gdLst>
                  <a:gd name="T0" fmla="*/ 2147483647 w 72"/>
                  <a:gd name="T1" fmla="*/ 2147483647 h 43"/>
                  <a:gd name="T2" fmla="*/ 2147483647 w 72"/>
                  <a:gd name="T3" fmla="*/ 2147483647 h 43"/>
                  <a:gd name="T4" fmla="*/ 2147483647 w 72"/>
                  <a:gd name="T5" fmla="*/ 2147483647 h 43"/>
                  <a:gd name="T6" fmla="*/ 2147483647 w 72"/>
                  <a:gd name="T7" fmla="*/ 2147483647 h 43"/>
                  <a:gd name="T8" fmla="*/ 2147483647 w 72"/>
                  <a:gd name="T9" fmla="*/ 2147483647 h 43"/>
                  <a:gd name="T10" fmla="*/ 2147483647 w 72"/>
                  <a:gd name="T11" fmla="*/ 2147483647 h 43"/>
                  <a:gd name="T12" fmla="*/ 2147483647 w 72"/>
                  <a:gd name="T13" fmla="*/ 2147483647 h 43"/>
                  <a:gd name="T14" fmla="*/ 2147483647 w 72"/>
                  <a:gd name="T15" fmla="*/ 0 h 43"/>
                  <a:gd name="T16" fmla="*/ 2147483647 w 72"/>
                  <a:gd name="T17" fmla="*/ 2147483647 h 43"/>
                  <a:gd name="T18" fmla="*/ 2147483647 w 72"/>
                  <a:gd name="T19" fmla="*/ 2147483647 h 43"/>
                  <a:gd name="T20" fmla="*/ 2147483647 w 72"/>
                  <a:gd name="T21" fmla="*/ 2147483647 h 43"/>
                  <a:gd name="T22" fmla="*/ 2147483647 w 72"/>
                  <a:gd name="T23" fmla="*/ 2147483647 h 43"/>
                  <a:gd name="T24" fmla="*/ 2147483647 w 72"/>
                  <a:gd name="T25" fmla="*/ 2147483647 h 43"/>
                  <a:gd name="T26" fmla="*/ 2147483647 w 72"/>
                  <a:gd name="T27" fmla="*/ 2147483647 h 43"/>
                  <a:gd name="T28" fmla="*/ 2147483647 w 72"/>
                  <a:gd name="T29" fmla="*/ 2147483647 h 43"/>
                  <a:gd name="T30" fmla="*/ 2147483647 w 72"/>
                  <a:gd name="T31" fmla="*/ 2147483647 h 43"/>
                  <a:gd name="T32" fmla="*/ 2147483647 w 72"/>
                  <a:gd name="T33" fmla="*/ 2147483647 h 43"/>
                  <a:gd name="T34" fmla="*/ 2147483647 w 72"/>
                  <a:gd name="T35" fmla="*/ 2147483647 h 43"/>
                  <a:gd name="T36" fmla="*/ 2147483647 w 72"/>
                  <a:gd name="T37" fmla="*/ 2147483647 h 43"/>
                  <a:gd name="T38" fmla="*/ 2147483647 w 72"/>
                  <a:gd name="T39" fmla="*/ 2147483647 h 43"/>
                  <a:gd name="T40" fmla="*/ 2147483647 w 72"/>
                  <a:gd name="T41" fmla="*/ 2147483647 h 43"/>
                  <a:gd name="T42" fmla="*/ 2147483647 w 72"/>
                  <a:gd name="T43" fmla="*/ 2147483647 h 43"/>
                  <a:gd name="T44" fmla="*/ 2147483647 w 72"/>
                  <a:gd name="T45" fmla="*/ 2147483647 h 43"/>
                  <a:gd name="T46" fmla="*/ 2147483647 w 72"/>
                  <a:gd name="T47" fmla="*/ 2147483647 h 43"/>
                  <a:gd name="T48" fmla="*/ 2147483647 w 72"/>
                  <a:gd name="T49" fmla="*/ 2147483647 h 43"/>
                  <a:gd name="T50" fmla="*/ 2147483647 w 72"/>
                  <a:gd name="T51" fmla="*/ 2147483647 h 43"/>
                  <a:gd name="T52" fmla="*/ 2147483647 w 72"/>
                  <a:gd name="T53" fmla="*/ 2147483647 h 43"/>
                  <a:gd name="T54" fmla="*/ 2147483647 w 72"/>
                  <a:gd name="T55" fmla="*/ 2147483647 h 43"/>
                  <a:gd name="T56" fmla="*/ 2147483647 w 72"/>
                  <a:gd name="T57" fmla="*/ 2147483647 h 43"/>
                  <a:gd name="T58" fmla="*/ 2147483647 w 72"/>
                  <a:gd name="T59" fmla="*/ 2147483647 h 43"/>
                  <a:gd name="T60" fmla="*/ 2147483647 w 72"/>
                  <a:gd name="T61" fmla="*/ 2147483647 h 43"/>
                  <a:gd name="T62" fmla="*/ 2147483647 w 72"/>
                  <a:gd name="T63" fmla="*/ 2147483647 h 43"/>
                  <a:gd name="T64" fmla="*/ 2147483647 w 72"/>
                  <a:gd name="T65" fmla="*/ 2147483647 h 43"/>
                  <a:gd name="T66" fmla="*/ 2147483647 w 72"/>
                  <a:gd name="T67" fmla="*/ 2147483647 h 4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72"/>
                  <a:gd name="T103" fmla="*/ 0 h 43"/>
                  <a:gd name="T104" fmla="*/ 72 w 72"/>
                  <a:gd name="T105" fmla="*/ 43 h 4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72" h="43">
                    <a:moveTo>
                      <a:pt x="67" y="20"/>
                    </a:moveTo>
                    <a:cubicBezTo>
                      <a:pt x="69" y="15"/>
                      <a:pt x="69" y="15"/>
                      <a:pt x="69" y="15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3" y="10"/>
                      <a:pt x="63" y="10"/>
                      <a:pt x="63" y="10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0" y="8"/>
                      <a:pt x="58" y="11"/>
                      <a:pt x="55" y="11"/>
                    </a:cubicBezTo>
                    <a:cubicBezTo>
                      <a:pt x="53" y="12"/>
                      <a:pt x="52" y="6"/>
                      <a:pt x="50" y="4"/>
                    </a:cubicBezTo>
                    <a:cubicBezTo>
                      <a:pt x="49" y="2"/>
                      <a:pt x="42" y="0"/>
                      <a:pt x="42" y="0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5"/>
                      <a:pt x="35" y="5"/>
                      <a:pt x="34" y="6"/>
                    </a:cubicBezTo>
                    <a:cubicBezTo>
                      <a:pt x="33" y="7"/>
                      <a:pt x="35" y="15"/>
                      <a:pt x="35" y="15"/>
                    </a:cubicBezTo>
                    <a:cubicBezTo>
                      <a:pt x="35" y="15"/>
                      <a:pt x="31" y="20"/>
                      <a:pt x="27" y="20"/>
                    </a:cubicBezTo>
                    <a:cubicBezTo>
                      <a:pt x="23" y="20"/>
                      <a:pt x="25" y="16"/>
                      <a:pt x="22" y="13"/>
                    </a:cubicBezTo>
                    <a:cubicBezTo>
                      <a:pt x="18" y="10"/>
                      <a:pt x="17" y="6"/>
                      <a:pt x="17" y="6"/>
                    </a:cubicBezTo>
                    <a:cubicBezTo>
                      <a:pt x="17" y="6"/>
                      <a:pt x="11" y="9"/>
                      <a:pt x="9" y="10"/>
                    </a:cubicBezTo>
                    <a:cubicBezTo>
                      <a:pt x="7" y="10"/>
                      <a:pt x="6" y="15"/>
                      <a:pt x="6" y="17"/>
                    </a:cubicBezTo>
                    <a:cubicBezTo>
                      <a:pt x="5" y="19"/>
                      <a:pt x="6" y="22"/>
                      <a:pt x="3" y="23"/>
                    </a:cubicBezTo>
                    <a:cubicBezTo>
                      <a:pt x="0" y="24"/>
                      <a:pt x="2" y="36"/>
                      <a:pt x="2" y="36"/>
                    </a:cubicBezTo>
                    <a:cubicBezTo>
                      <a:pt x="3" y="39"/>
                      <a:pt x="5" y="33"/>
                      <a:pt x="8" y="33"/>
                    </a:cubicBezTo>
                    <a:cubicBezTo>
                      <a:pt x="10" y="32"/>
                      <a:pt x="12" y="30"/>
                      <a:pt x="18" y="31"/>
                    </a:cubicBezTo>
                    <a:cubicBezTo>
                      <a:pt x="24" y="33"/>
                      <a:pt x="23" y="32"/>
                      <a:pt x="27" y="31"/>
                    </a:cubicBezTo>
                    <a:cubicBezTo>
                      <a:pt x="31" y="30"/>
                      <a:pt x="35" y="33"/>
                      <a:pt x="36" y="32"/>
                    </a:cubicBezTo>
                    <a:cubicBezTo>
                      <a:pt x="37" y="32"/>
                      <a:pt x="40" y="30"/>
                      <a:pt x="40" y="30"/>
                    </a:cubicBezTo>
                    <a:cubicBezTo>
                      <a:pt x="40" y="30"/>
                      <a:pt x="43" y="36"/>
                      <a:pt x="45" y="36"/>
                    </a:cubicBezTo>
                    <a:cubicBezTo>
                      <a:pt x="47" y="36"/>
                      <a:pt x="52" y="40"/>
                      <a:pt x="52" y="40"/>
                    </a:cubicBezTo>
                    <a:cubicBezTo>
                      <a:pt x="57" y="43"/>
                      <a:pt x="57" y="43"/>
                      <a:pt x="57" y="43"/>
                    </a:cubicBezTo>
                    <a:cubicBezTo>
                      <a:pt x="61" y="40"/>
                      <a:pt x="61" y="40"/>
                      <a:pt x="61" y="40"/>
                    </a:cubicBezTo>
                    <a:cubicBezTo>
                      <a:pt x="61" y="40"/>
                      <a:pt x="66" y="41"/>
                      <a:pt x="67" y="41"/>
                    </a:cubicBezTo>
                    <a:cubicBezTo>
                      <a:pt x="68" y="41"/>
                      <a:pt x="69" y="36"/>
                      <a:pt x="69" y="36"/>
                    </a:cubicBezTo>
                    <a:cubicBezTo>
                      <a:pt x="72" y="34"/>
                      <a:pt x="72" y="34"/>
                      <a:pt x="72" y="34"/>
                    </a:cubicBezTo>
                    <a:cubicBezTo>
                      <a:pt x="72" y="29"/>
                      <a:pt x="72" y="29"/>
                      <a:pt x="72" y="29"/>
                    </a:cubicBezTo>
                    <a:cubicBezTo>
                      <a:pt x="69" y="23"/>
                      <a:pt x="69" y="23"/>
                      <a:pt x="69" y="23"/>
                    </a:cubicBezTo>
                    <a:lnTo>
                      <a:pt x="67" y="20"/>
                    </a:ln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5" name="Freeform 17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2009687" y="3448050"/>
                <a:ext cx="227207" cy="173038"/>
              </a:xfrm>
              <a:custGeom>
                <a:avLst/>
                <a:gdLst>
                  <a:gd name="T0" fmla="*/ 2147483647 w 57"/>
                  <a:gd name="T1" fmla="*/ 2147483647 h 45"/>
                  <a:gd name="T2" fmla="*/ 2147483647 w 57"/>
                  <a:gd name="T3" fmla="*/ 2147483647 h 45"/>
                  <a:gd name="T4" fmla="*/ 2147483647 w 57"/>
                  <a:gd name="T5" fmla="*/ 2147483647 h 45"/>
                  <a:gd name="T6" fmla="*/ 2147483647 w 57"/>
                  <a:gd name="T7" fmla="*/ 2147483647 h 45"/>
                  <a:gd name="T8" fmla="*/ 2147483647 w 57"/>
                  <a:gd name="T9" fmla="*/ 0 h 45"/>
                  <a:gd name="T10" fmla="*/ 2147483647 w 57"/>
                  <a:gd name="T11" fmla="*/ 2147483647 h 45"/>
                  <a:gd name="T12" fmla="*/ 2147483647 w 57"/>
                  <a:gd name="T13" fmla="*/ 2147483647 h 45"/>
                  <a:gd name="T14" fmla="*/ 2147483647 w 57"/>
                  <a:gd name="T15" fmla="*/ 2147483647 h 45"/>
                  <a:gd name="T16" fmla="*/ 2147483647 w 57"/>
                  <a:gd name="T17" fmla="*/ 2147483647 h 45"/>
                  <a:gd name="T18" fmla="*/ 0 w 57"/>
                  <a:gd name="T19" fmla="*/ 2147483647 h 45"/>
                  <a:gd name="T20" fmla="*/ 0 w 57"/>
                  <a:gd name="T21" fmla="*/ 2147483647 h 45"/>
                  <a:gd name="T22" fmla="*/ 2147483647 w 57"/>
                  <a:gd name="T23" fmla="*/ 2147483647 h 45"/>
                  <a:gd name="T24" fmla="*/ 2147483647 w 57"/>
                  <a:gd name="T25" fmla="*/ 2147483647 h 45"/>
                  <a:gd name="T26" fmla="*/ 2147483647 w 57"/>
                  <a:gd name="T27" fmla="*/ 2147483647 h 45"/>
                  <a:gd name="T28" fmla="*/ 2147483647 w 57"/>
                  <a:gd name="T29" fmla="*/ 2147483647 h 45"/>
                  <a:gd name="T30" fmla="*/ 2147483647 w 57"/>
                  <a:gd name="T31" fmla="*/ 2147483647 h 45"/>
                  <a:gd name="T32" fmla="*/ 2147483647 w 57"/>
                  <a:gd name="T33" fmla="*/ 2147483647 h 45"/>
                  <a:gd name="T34" fmla="*/ 2147483647 w 57"/>
                  <a:gd name="T35" fmla="*/ 2147483647 h 45"/>
                  <a:gd name="T36" fmla="*/ 2147483647 w 57"/>
                  <a:gd name="T37" fmla="*/ 2147483647 h 45"/>
                  <a:gd name="T38" fmla="*/ 2147483647 w 57"/>
                  <a:gd name="T39" fmla="*/ 2147483647 h 45"/>
                  <a:gd name="T40" fmla="*/ 2147483647 w 57"/>
                  <a:gd name="T41" fmla="*/ 2147483647 h 45"/>
                  <a:gd name="T42" fmla="*/ 2147483647 w 57"/>
                  <a:gd name="T43" fmla="*/ 2147483647 h 45"/>
                  <a:gd name="T44" fmla="*/ 2147483647 w 57"/>
                  <a:gd name="T45" fmla="*/ 2147483647 h 45"/>
                  <a:gd name="T46" fmla="*/ 2147483647 w 57"/>
                  <a:gd name="T47" fmla="*/ 2147483647 h 45"/>
                  <a:gd name="T48" fmla="*/ 2147483647 w 57"/>
                  <a:gd name="T49" fmla="*/ 2147483647 h 45"/>
                  <a:gd name="T50" fmla="*/ 2147483647 w 57"/>
                  <a:gd name="T51" fmla="*/ 2147483647 h 45"/>
                  <a:gd name="T52" fmla="*/ 2147483647 w 57"/>
                  <a:gd name="T53" fmla="*/ 2147483647 h 45"/>
                  <a:gd name="T54" fmla="*/ 2147483647 w 57"/>
                  <a:gd name="T55" fmla="*/ 2147483647 h 45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57"/>
                  <a:gd name="T85" fmla="*/ 0 h 45"/>
                  <a:gd name="T86" fmla="*/ 57 w 57"/>
                  <a:gd name="T87" fmla="*/ 45 h 45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57" h="45">
                    <a:moveTo>
                      <a:pt x="54" y="19"/>
                    </a:moveTo>
                    <a:cubicBezTo>
                      <a:pt x="55" y="18"/>
                      <a:pt x="55" y="13"/>
                      <a:pt x="55" y="13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45" y="6"/>
                      <a:pt x="43" y="6"/>
                    </a:cubicBezTo>
                    <a:cubicBezTo>
                      <a:pt x="41" y="6"/>
                      <a:pt x="38" y="0"/>
                      <a:pt x="38" y="0"/>
                    </a:cubicBezTo>
                    <a:cubicBezTo>
                      <a:pt x="38" y="0"/>
                      <a:pt x="35" y="2"/>
                      <a:pt x="34" y="2"/>
                    </a:cubicBezTo>
                    <a:cubicBezTo>
                      <a:pt x="33" y="3"/>
                      <a:pt x="29" y="0"/>
                      <a:pt x="25" y="1"/>
                    </a:cubicBezTo>
                    <a:cubicBezTo>
                      <a:pt x="21" y="2"/>
                      <a:pt x="22" y="3"/>
                      <a:pt x="16" y="1"/>
                    </a:cubicBezTo>
                    <a:cubicBezTo>
                      <a:pt x="10" y="0"/>
                      <a:pt x="8" y="2"/>
                      <a:pt x="6" y="3"/>
                    </a:cubicBezTo>
                    <a:cubicBezTo>
                      <a:pt x="4" y="3"/>
                      <a:pt x="2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1" y="12"/>
                      <a:pt x="1" y="14"/>
                    </a:cubicBezTo>
                    <a:cubicBezTo>
                      <a:pt x="2" y="17"/>
                      <a:pt x="2" y="21"/>
                      <a:pt x="2" y="21"/>
                    </a:cubicBezTo>
                    <a:cubicBezTo>
                      <a:pt x="2" y="21"/>
                      <a:pt x="6" y="23"/>
                      <a:pt x="8" y="24"/>
                    </a:cubicBezTo>
                    <a:cubicBezTo>
                      <a:pt x="10" y="25"/>
                      <a:pt x="13" y="24"/>
                      <a:pt x="15" y="24"/>
                    </a:cubicBezTo>
                    <a:cubicBezTo>
                      <a:pt x="16" y="25"/>
                      <a:pt x="18" y="26"/>
                      <a:pt x="17" y="28"/>
                    </a:cubicBezTo>
                    <a:cubicBezTo>
                      <a:pt x="17" y="30"/>
                      <a:pt x="17" y="36"/>
                      <a:pt x="17" y="36"/>
                    </a:cubicBezTo>
                    <a:cubicBezTo>
                      <a:pt x="17" y="36"/>
                      <a:pt x="20" y="35"/>
                      <a:pt x="21" y="37"/>
                    </a:cubicBezTo>
                    <a:cubicBezTo>
                      <a:pt x="23" y="39"/>
                      <a:pt x="25" y="43"/>
                      <a:pt x="25" y="43"/>
                    </a:cubicBezTo>
                    <a:cubicBezTo>
                      <a:pt x="25" y="43"/>
                      <a:pt x="26" y="41"/>
                      <a:pt x="30" y="43"/>
                    </a:cubicBezTo>
                    <a:cubicBezTo>
                      <a:pt x="34" y="45"/>
                      <a:pt x="34" y="42"/>
                      <a:pt x="36" y="41"/>
                    </a:cubicBezTo>
                    <a:cubicBezTo>
                      <a:pt x="38" y="40"/>
                      <a:pt x="42" y="37"/>
                      <a:pt x="42" y="37"/>
                    </a:cubicBezTo>
                    <a:cubicBezTo>
                      <a:pt x="42" y="37"/>
                      <a:pt x="44" y="39"/>
                      <a:pt x="45" y="39"/>
                    </a:cubicBezTo>
                    <a:cubicBezTo>
                      <a:pt x="46" y="39"/>
                      <a:pt x="44" y="36"/>
                      <a:pt x="45" y="34"/>
                    </a:cubicBezTo>
                    <a:cubicBezTo>
                      <a:pt x="46" y="33"/>
                      <a:pt x="47" y="28"/>
                      <a:pt x="48" y="27"/>
                    </a:cubicBezTo>
                    <a:cubicBezTo>
                      <a:pt x="48" y="26"/>
                      <a:pt x="51" y="24"/>
                      <a:pt x="51" y="24"/>
                    </a:cubicBezTo>
                    <a:cubicBezTo>
                      <a:pt x="51" y="24"/>
                      <a:pt x="55" y="23"/>
                      <a:pt x="56" y="22"/>
                    </a:cubicBezTo>
                    <a:cubicBezTo>
                      <a:pt x="57" y="21"/>
                      <a:pt x="53" y="19"/>
                      <a:pt x="54" y="19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6" name="Freeform 18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741435" y="3559175"/>
                <a:ext cx="392849" cy="363538"/>
              </a:xfrm>
              <a:custGeom>
                <a:avLst/>
                <a:gdLst>
                  <a:gd name="T0" fmla="*/ 2147483647 w 99"/>
                  <a:gd name="T1" fmla="*/ 2147483647 h 93"/>
                  <a:gd name="T2" fmla="*/ 2147483647 w 99"/>
                  <a:gd name="T3" fmla="*/ 2147483647 h 93"/>
                  <a:gd name="T4" fmla="*/ 2147483647 w 99"/>
                  <a:gd name="T5" fmla="*/ 2147483647 h 93"/>
                  <a:gd name="T6" fmla="*/ 2147483647 w 99"/>
                  <a:gd name="T7" fmla="*/ 2147483647 h 93"/>
                  <a:gd name="T8" fmla="*/ 2147483647 w 99"/>
                  <a:gd name="T9" fmla="*/ 2147483647 h 93"/>
                  <a:gd name="T10" fmla="*/ 2147483647 w 99"/>
                  <a:gd name="T11" fmla="*/ 2147483647 h 93"/>
                  <a:gd name="T12" fmla="*/ 2147483647 w 99"/>
                  <a:gd name="T13" fmla="*/ 2147483647 h 93"/>
                  <a:gd name="T14" fmla="*/ 2147483647 w 99"/>
                  <a:gd name="T15" fmla="*/ 2147483647 h 93"/>
                  <a:gd name="T16" fmla="*/ 2147483647 w 99"/>
                  <a:gd name="T17" fmla="*/ 2147483647 h 93"/>
                  <a:gd name="T18" fmla="*/ 2147483647 w 99"/>
                  <a:gd name="T19" fmla="*/ 2147483647 h 93"/>
                  <a:gd name="T20" fmla="*/ 2147483647 w 99"/>
                  <a:gd name="T21" fmla="*/ 2147483647 h 93"/>
                  <a:gd name="T22" fmla="*/ 2147483647 w 99"/>
                  <a:gd name="T23" fmla="*/ 2147483647 h 93"/>
                  <a:gd name="T24" fmla="*/ 2147483647 w 99"/>
                  <a:gd name="T25" fmla="*/ 2147483647 h 93"/>
                  <a:gd name="T26" fmla="*/ 2147483647 w 99"/>
                  <a:gd name="T27" fmla="*/ 2147483647 h 93"/>
                  <a:gd name="T28" fmla="*/ 2147483647 w 99"/>
                  <a:gd name="T29" fmla="*/ 0 h 93"/>
                  <a:gd name="T30" fmla="*/ 2147483647 w 99"/>
                  <a:gd name="T31" fmla="*/ 2147483647 h 93"/>
                  <a:gd name="T32" fmla="*/ 2147483647 w 99"/>
                  <a:gd name="T33" fmla="*/ 2147483647 h 93"/>
                  <a:gd name="T34" fmla="*/ 2147483647 w 99"/>
                  <a:gd name="T35" fmla="*/ 2147483647 h 93"/>
                  <a:gd name="T36" fmla="*/ 0 w 99"/>
                  <a:gd name="T37" fmla="*/ 2147483647 h 93"/>
                  <a:gd name="T38" fmla="*/ 2147483647 w 99"/>
                  <a:gd name="T39" fmla="*/ 2147483647 h 93"/>
                  <a:gd name="T40" fmla="*/ 0 w 99"/>
                  <a:gd name="T41" fmla="*/ 2147483647 h 93"/>
                  <a:gd name="T42" fmla="*/ 2147483647 w 99"/>
                  <a:gd name="T43" fmla="*/ 2147483647 h 93"/>
                  <a:gd name="T44" fmla="*/ 2147483647 w 99"/>
                  <a:gd name="T45" fmla="*/ 2147483647 h 93"/>
                  <a:gd name="T46" fmla="*/ 2147483647 w 99"/>
                  <a:gd name="T47" fmla="*/ 2147483647 h 93"/>
                  <a:gd name="T48" fmla="*/ 2147483647 w 99"/>
                  <a:gd name="T49" fmla="*/ 2147483647 h 93"/>
                  <a:gd name="T50" fmla="*/ 2147483647 w 99"/>
                  <a:gd name="T51" fmla="*/ 2147483647 h 93"/>
                  <a:gd name="T52" fmla="*/ 2147483647 w 99"/>
                  <a:gd name="T53" fmla="*/ 2147483647 h 93"/>
                  <a:gd name="T54" fmla="*/ 2147483647 w 99"/>
                  <a:gd name="T55" fmla="*/ 2147483647 h 93"/>
                  <a:gd name="T56" fmla="*/ 2147483647 w 99"/>
                  <a:gd name="T57" fmla="*/ 2147483647 h 93"/>
                  <a:gd name="T58" fmla="*/ 2147483647 w 99"/>
                  <a:gd name="T59" fmla="*/ 2147483647 h 93"/>
                  <a:gd name="T60" fmla="*/ 2147483647 w 99"/>
                  <a:gd name="T61" fmla="*/ 2147483647 h 93"/>
                  <a:gd name="T62" fmla="*/ 2147483647 w 99"/>
                  <a:gd name="T63" fmla="*/ 2147483647 h 93"/>
                  <a:gd name="T64" fmla="*/ 2147483647 w 99"/>
                  <a:gd name="T65" fmla="*/ 2147483647 h 93"/>
                  <a:gd name="T66" fmla="*/ 2147483647 w 99"/>
                  <a:gd name="T67" fmla="*/ 2147483647 h 93"/>
                  <a:gd name="T68" fmla="*/ 2147483647 w 99"/>
                  <a:gd name="T69" fmla="*/ 2147483647 h 93"/>
                  <a:gd name="T70" fmla="*/ 2147483647 w 99"/>
                  <a:gd name="T71" fmla="*/ 2147483647 h 93"/>
                  <a:gd name="T72" fmla="*/ 2147483647 w 99"/>
                  <a:gd name="T73" fmla="*/ 2147483647 h 93"/>
                  <a:gd name="T74" fmla="*/ 2147483647 w 99"/>
                  <a:gd name="T75" fmla="*/ 2147483647 h 93"/>
                  <a:gd name="T76" fmla="*/ 2147483647 w 99"/>
                  <a:gd name="T77" fmla="*/ 2147483647 h 93"/>
                  <a:gd name="T78" fmla="*/ 2147483647 w 99"/>
                  <a:gd name="T79" fmla="*/ 2147483647 h 93"/>
                  <a:gd name="T80" fmla="*/ 2147483647 w 99"/>
                  <a:gd name="T81" fmla="*/ 2147483647 h 93"/>
                  <a:gd name="T82" fmla="*/ 2147483647 w 99"/>
                  <a:gd name="T83" fmla="*/ 2147483647 h 93"/>
                  <a:gd name="T84" fmla="*/ 2147483647 w 99"/>
                  <a:gd name="T85" fmla="*/ 2147483647 h 93"/>
                  <a:gd name="T86" fmla="*/ 2147483647 w 99"/>
                  <a:gd name="T87" fmla="*/ 2147483647 h 93"/>
                  <a:gd name="T88" fmla="*/ 2147483647 w 99"/>
                  <a:gd name="T89" fmla="*/ 2147483647 h 93"/>
                  <a:gd name="T90" fmla="*/ 2147483647 w 99"/>
                  <a:gd name="T91" fmla="*/ 2147483647 h 93"/>
                  <a:gd name="T92" fmla="*/ 2147483647 w 99"/>
                  <a:gd name="T93" fmla="*/ 2147483647 h 93"/>
                  <a:gd name="T94" fmla="*/ 2147483647 w 99"/>
                  <a:gd name="T95" fmla="*/ 2147483647 h 93"/>
                  <a:gd name="T96" fmla="*/ 2147483647 w 99"/>
                  <a:gd name="T97" fmla="*/ 2147483647 h 93"/>
                  <a:gd name="T98" fmla="*/ 2147483647 w 99"/>
                  <a:gd name="T99" fmla="*/ 2147483647 h 9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9"/>
                  <a:gd name="T151" fmla="*/ 0 h 93"/>
                  <a:gd name="T152" fmla="*/ 99 w 99"/>
                  <a:gd name="T153" fmla="*/ 93 h 9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9" h="93">
                    <a:moveTo>
                      <a:pt x="94" y="58"/>
                    </a:moveTo>
                    <a:cubicBezTo>
                      <a:pt x="94" y="57"/>
                      <a:pt x="93" y="53"/>
                      <a:pt x="94" y="53"/>
                    </a:cubicBezTo>
                    <a:cubicBezTo>
                      <a:pt x="94" y="53"/>
                      <a:pt x="93" y="49"/>
                      <a:pt x="94" y="47"/>
                    </a:cubicBezTo>
                    <a:cubicBezTo>
                      <a:pt x="94" y="45"/>
                      <a:pt x="91" y="43"/>
                      <a:pt x="91" y="43"/>
                    </a:cubicBezTo>
                    <a:cubicBezTo>
                      <a:pt x="91" y="43"/>
                      <a:pt x="89" y="39"/>
                      <a:pt x="92" y="38"/>
                    </a:cubicBezTo>
                    <a:cubicBezTo>
                      <a:pt x="94" y="37"/>
                      <a:pt x="96" y="36"/>
                      <a:pt x="96" y="34"/>
                    </a:cubicBezTo>
                    <a:cubicBezTo>
                      <a:pt x="96" y="31"/>
                      <a:pt x="93" y="19"/>
                      <a:pt x="93" y="19"/>
                    </a:cubicBezTo>
                    <a:cubicBezTo>
                      <a:pt x="93" y="15"/>
                      <a:pt x="93" y="15"/>
                      <a:pt x="93" y="15"/>
                    </a:cubicBezTo>
                    <a:cubicBezTo>
                      <a:pt x="93" y="15"/>
                      <a:pt x="91" y="11"/>
                      <a:pt x="89" y="9"/>
                    </a:cubicBezTo>
                    <a:cubicBezTo>
                      <a:pt x="88" y="7"/>
                      <a:pt x="85" y="8"/>
                      <a:pt x="85" y="8"/>
                    </a:cubicBezTo>
                    <a:cubicBezTo>
                      <a:pt x="85" y="8"/>
                      <a:pt x="73" y="9"/>
                      <a:pt x="71" y="9"/>
                    </a:cubicBezTo>
                    <a:cubicBezTo>
                      <a:pt x="68" y="8"/>
                      <a:pt x="56" y="6"/>
                      <a:pt x="56" y="6"/>
                    </a:cubicBezTo>
                    <a:cubicBezTo>
                      <a:pt x="56" y="6"/>
                      <a:pt x="51" y="8"/>
                      <a:pt x="50" y="8"/>
                    </a:cubicBezTo>
                    <a:cubicBezTo>
                      <a:pt x="49" y="8"/>
                      <a:pt x="43" y="9"/>
                      <a:pt x="43" y="6"/>
                    </a:cubicBezTo>
                    <a:cubicBezTo>
                      <a:pt x="43" y="3"/>
                      <a:pt x="42" y="0"/>
                      <a:pt x="40" y="0"/>
                    </a:cubicBezTo>
                    <a:cubicBezTo>
                      <a:pt x="37" y="1"/>
                      <a:pt x="29" y="1"/>
                      <a:pt x="27" y="2"/>
                    </a:cubicBezTo>
                    <a:cubicBezTo>
                      <a:pt x="25" y="3"/>
                      <a:pt x="23" y="8"/>
                      <a:pt x="21" y="9"/>
                    </a:cubicBezTo>
                    <a:cubicBezTo>
                      <a:pt x="18" y="10"/>
                      <a:pt x="4" y="14"/>
                      <a:pt x="4" y="1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3" y="23"/>
                      <a:pt x="3" y="25"/>
                    </a:cubicBezTo>
                    <a:cubicBezTo>
                      <a:pt x="2" y="27"/>
                      <a:pt x="0" y="33"/>
                      <a:pt x="0" y="33"/>
                    </a:cubicBezTo>
                    <a:cubicBezTo>
                      <a:pt x="0" y="33"/>
                      <a:pt x="4" y="36"/>
                      <a:pt x="5" y="38"/>
                    </a:cubicBezTo>
                    <a:cubicBezTo>
                      <a:pt x="5" y="40"/>
                      <a:pt x="6" y="44"/>
                      <a:pt x="6" y="46"/>
                    </a:cubicBezTo>
                    <a:cubicBezTo>
                      <a:pt x="6" y="48"/>
                      <a:pt x="6" y="53"/>
                      <a:pt x="6" y="53"/>
                    </a:cubicBezTo>
                    <a:cubicBezTo>
                      <a:pt x="6" y="53"/>
                      <a:pt x="10" y="60"/>
                      <a:pt x="10" y="62"/>
                    </a:cubicBezTo>
                    <a:cubicBezTo>
                      <a:pt x="10" y="63"/>
                      <a:pt x="12" y="65"/>
                      <a:pt x="15" y="66"/>
                    </a:cubicBezTo>
                    <a:cubicBezTo>
                      <a:pt x="17" y="66"/>
                      <a:pt x="17" y="69"/>
                      <a:pt x="19" y="69"/>
                    </a:cubicBezTo>
                    <a:cubicBezTo>
                      <a:pt x="21" y="68"/>
                      <a:pt x="24" y="67"/>
                      <a:pt x="23" y="69"/>
                    </a:cubicBezTo>
                    <a:cubicBezTo>
                      <a:pt x="22" y="71"/>
                      <a:pt x="23" y="72"/>
                      <a:pt x="23" y="73"/>
                    </a:cubicBezTo>
                    <a:cubicBezTo>
                      <a:pt x="24" y="74"/>
                      <a:pt x="25" y="77"/>
                      <a:pt x="25" y="77"/>
                    </a:cubicBezTo>
                    <a:cubicBezTo>
                      <a:pt x="25" y="77"/>
                      <a:pt x="28" y="75"/>
                      <a:pt x="28" y="73"/>
                    </a:cubicBezTo>
                    <a:cubicBezTo>
                      <a:pt x="27" y="72"/>
                      <a:pt x="29" y="70"/>
                      <a:pt x="31" y="72"/>
                    </a:cubicBezTo>
                    <a:cubicBezTo>
                      <a:pt x="32" y="74"/>
                      <a:pt x="36" y="73"/>
                      <a:pt x="36" y="73"/>
                    </a:cubicBezTo>
                    <a:cubicBezTo>
                      <a:pt x="36" y="73"/>
                      <a:pt x="35" y="76"/>
                      <a:pt x="36" y="78"/>
                    </a:cubicBezTo>
                    <a:cubicBezTo>
                      <a:pt x="37" y="79"/>
                      <a:pt x="39" y="78"/>
                      <a:pt x="41" y="79"/>
                    </a:cubicBezTo>
                    <a:cubicBezTo>
                      <a:pt x="44" y="81"/>
                      <a:pt x="47" y="83"/>
                      <a:pt x="47" y="85"/>
                    </a:cubicBezTo>
                    <a:cubicBezTo>
                      <a:pt x="47" y="86"/>
                      <a:pt x="48" y="88"/>
                      <a:pt x="50" y="87"/>
                    </a:cubicBezTo>
                    <a:cubicBezTo>
                      <a:pt x="52" y="85"/>
                      <a:pt x="52" y="84"/>
                      <a:pt x="53" y="85"/>
                    </a:cubicBezTo>
                    <a:cubicBezTo>
                      <a:pt x="55" y="86"/>
                      <a:pt x="57" y="88"/>
                      <a:pt x="56" y="89"/>
                    </a:cubicBezTo>
                    <a:cubicBezTo>
                      <a:pt x="56" y="90"/>
                      <a:pt x="58" y="91"/>
                      <a:pt x="60" y="90"/>
                    </a:cubicBezTo>
                    <a:cubicBezTo>
                      <a:pt x="61" y="88"/>
                      <a:pt x="61" y="86"/>
                      <a:pt x="64" y="87"/>
                    </a:cubicBezTo>
                    <a:cubicBezTo>
                      <a:pt x="66" y="88"/>
                      <a:pt x="68" y="88"/>
                      <a:pt x="70" y="87"/>
                    </a:cubicBezTo>
                    <a:cubicBezTo>
                      <a:pt x="72" y="86"/>
                      <a:pt x="74" y="86"/>
                      <a:pt x="77" y="88"/>
                    </a:cubicBezTo>
                    <a:cubicBezTo>
                      <a:pt x="79" y="89"/>
                      <a:pt x="81" y="93"/>
                      <a:pt x="85" y="93"/>
                    </a:cubicBezTo>
                    <a:cubicBezTo>
                      <a:pt x="84" y="86"/>
                      <a:pt x="84" y="86"/>
                      <a:pt x="84" y="86"/>
                    </a:cubicBezTo>
                    <a:cubicBezTo>
                      <a:pt x="84" y="86"/>
                      <a:pt x="86" y="82"/>
                      <a:pt x="88" y="80"/>
                    </a:cubicBezTo>
                    <a:cubicBezTo>
                      <a:pt x="90" y="79"/>
                      <a:pt x="93" y="73"/>
                      <a:pt x="95" y="73"/>
                    </a:cubicBezTo>
                    <a:cubicBezTo>
                      <a:pt x="97" y="72"/>
                      <a:pt x="99" y="70"/>
                      <a:pt x="99" y="69"/>
                    </a:cubicBezTo>
                    <a:cubicBezTo>
                      <a:pt x="98" y="67"/>
                      <a:pt x="97" y="64"/>
                      <a:pt x="97" y="64"/>
                    </a:cubicBezTo>
                    <a:cubicBezTo>
                      <a:pt x="97" y="64"/>
                      <a:pt x="94" y="59"/>
                      <a:pt x="94" y="5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7" name="Freeform 19"/>
              <p:cNvSpPr>
                <a:spLocks noEditPoint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964245" y="3532189"/>
                <a:ext cx="128995" cy="58737"/>
              </a:xfrm>
              <a:custGeom>
                <a:avLst/>
                <a:gdLst>
                  <a:gd name="T0" fmla="*/ 2147483647 w 33"/>
                  <a:gd name="T1" fmla="*/ 2147483647 h 16"/>
                  <a:gd name="T2" fmla="*/ 2147483647 w 33"/>
                  <a:gd name="T3" fmla="*/ 2147483647 h 16"/>
                  <a:gd name="T4" fmla="*/ 2147483647 w 33"/>
                  <a:gd name="T5" fmla="*/ 2147483647 h 16"/>
                  <a:gd name="T6" fmla="*/ 2147483647 w 33"/>
                  <a:gd name="T7" fmla="*/ 2147483647 h 16"/>
                  <a:gd name="T8" fmla="*/ 2147483647 w 33"/>
                  <a:gd name="T9" fmla="*/ 2147483647 h 16"/>
                  <a:gd name="T10" fmla="*/ 2147483647 w 33"/>
                  <a:gd name="T11" fmla="*/ 2147483647 h 16"/>
                  <a:gd name="T12" fmla="*/ 2147483647 w 33"/>
                  <a:gd name="T13" fmla="*/ 0 h 16"/>
                  <a:gd name="T14" fmla="*/ 2147483647 w 33"/>
                  <a:gd name="T15" fmla="*/ 0 h 16"/>
                  <a:gd name="T16" fmla="*/ 2147483647 w 33"/>
                  <a:gd name="T17" fmla="*/ 2147483647 h 16"/>
                  <a:gd name="T18" fmla="*/ 2147483647 w 33"/>
                  <a:gd name="T19" fmla="*/ 2147483647 h 16"/>
                  <a:gd name="T20" fmla="*/ 2147483647 w 33"/>
                  <a:gd name="T21" fmla="*/ 2147483647 h 16"/>
                  <a:gd name="T22" fmla="*/ 2147483647 w 33"/>
                  <a:gd name="T23" fmla="*/ 2147483647 h 16"/>
                  <a:gd name="T24" fmla="*/ 0 w 33"/>
                  <a:gd name="T25" fmla="*/ 2147483647 h 16"/>
                  <a:gd name="T26" fmla="*/ 2147483647 w 33"/>
                  <a:gd name="T27" fmla="*/ 2147483647 h 16"/>
                  <a:gd name="T28" fmla="*/ 2147483647 w 33"/>
                  <a:gd name="T29" fmla="*/ 2147483647 h 16"/>
                  <a:gd name="T30" fmla="*/ 2147483647 w 33"/>
                  <a:gd name="T31" fmla="*/ 2147483647 h 16"/>
                  <a:gd name="T32" fmla="*/ 2147483647 w 33"/>
                  <a:gd name="T33" fmla="*/ 2147483647 h 1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3"/>
                  <a:gd name="T52" fmla="*/ 0 h 16"/>
                  <a:gd name="T53" fmla="*/ 33 w 33"/>
                  <a:gd name="T54" fmla="*/ 16 h 1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3" h="16">
                    <a:moveTo>
                      <a:pt x="33" y="16"/>
                    </a:move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16"/>
                      <a:pt x="33" y="16"/>
                      <a:pt x="33" y="16"/>
                    </a:cubicBezTo>
                    <a:close/>
                    <a:moveTo>
                      <a:pt x="27" y="3"/>
                    </a:moveTo>
                    <a:cubicBezTo>
                      <a:pt x="25" y="3"/>
                      <a:pt x="22" y="4"/>
                      <a:pt x="20" y="3"/>
                    </a:cubicBezTo>
                    <a:cubicBezTo>
                      <a:pt x="18" y="2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2" y="2"/>
                      <a:pt x="14" y="5"/>
                      <a:pt x="14" y="5"/>
                    </a:cubicBezTo>
                    <a:cubicBezTo>
                      <a:pt x="14" y="5"/>
                      <a:pt x="7" y="6"/>
                      <a:pt x="6" y="6"/>
                    </a:cubicBezTo>
                    <a:cubicBezTo>
                      <a:pt x="4" y="5"/>
                      <a:pt x="2" y="5"/>
                      <a:pt x="2" y="8"/>
                    </a:cubicBezTo>
                    <a:cubicBezTo>
                      <a:pt x="2" y="11"/>
                      <a:pt x="4" y="9"/>
                      <a:pt x="5" y="10"/>
                    </a:cubicBezTo>
                    <a:cubicBezTo>
                      <a:pt x="6" y="12"/>
                      <a:pt x="0" y="13"/>
                      <a:pt x="0" y="13"/>
                    </a:cubicBezTo>
                    <a:cubicBezTo>
                      <a:pt x="0" y="13"/>
                      <a:pt x="12" y="15"/>
                      <a:pt x="15" y="16"/>
                    </a:cubicBezTo>
                    <a:cubicBezTo>
                      <a:pt x="17" y="16"/>
                      <a:pt x="29" y="15"/>
                      <a:pt x="29" y="15"/>
                    </a:cubicBezTo>
                    <a:cubicBezTo>
                      <a:pt x="29" y="15"/>
                      <a:pt x="29" y="9"/>
                      <a:pt x="29" y="7"/>
                    </a:cubicBezTo>
                    <a:cubicBezTo>
                      <a:pt x="30" y="5"/>
                      <a:pt x="28" y="4"/>
                      <a:pt x="27" y="3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8" name="Freeform 20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2449443" y="4619625"/>
                <a:ext cx="85020" cy="52388"/>
              </a:xfrm>
              <a:custGeom>
                <a:avLst/>
                <a:gdLst>
                  <a:gd name="T0" fmla="*/ 2147483647 w 22"/>
                  <a:gd name="T1" fmla="*/ 2147483647 h 14"/>
                  <a:gd name="T2" fmla="*/ 2147483647 w 22"/>
                  <a:gd name="T3" fmla="*/ 2147483647 h 14"/>
                  <a:gd name="T4" fmla="*/ 0 w 22"/>
                  <a:gd name="T5" fmla="*/ 2147483647 h 14"/>
                  <a:gd name="T6" fmla="*/ 2147483647 w 22"/>
                  <a:gd name="T7" fmla="*/ 2147483647 h 14"/>
                  <a:gd name="T8" fmla="*/ 2147483647 w 22"/>
                  <a:gd name="T9" fmla="*/ 2147483647 h 14"/>
                  <a:gd name="T10" fmla="*/ 2147483647 w 22"/>
                  <a:gd name="T11" fmla="*/ 2147483647 h 14"/>
                  <a:gd name="T12" fmla="*/ 2147483647 w 22"/>
                  <a:gd name="T13" fmla="*/ 2147483647 h 14"/>
                  <a:gd name="T14" fmla="*/ 2147483647 w 22"/>
                  <a:gd name="T15" fmla="*/ 2147483647 h 14"/>
                  <a:gd name="T16" fmla="*/ 2147483647 w 22"/>
                  <a:gd name="T17" fmla="*/ 2147483647 h 14"/>
                  <a:gd name="T18" fmla="*/ 2147483647 w 22"/>
                  <a:gd name="T19" fmla="*/ 2147483647 h 14"/>
                  <a:gd name="T20" fmla="*/ 2147483647 w 22"/>
                  <a:gd name="T21" fmla="*/ 2147483647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2"/>
                  <a:gd name="T34" fmla="*/ 0 h 14"/>
                  <a:gd name="T35" fmla="*/ 22 w 22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2" h="14">
                    <a:moveTo>
                      <a:pt x="8" y="13"/>
                    </a:moveTo>
                    <a:cubicBezTo>
                      <a:pt x="8" y="13"/>
                      <a:pt x="1" y="14"/>
                      <a:pt x="1" y="12"/>
                    </a:cubicBezTo>
                    <a:cubicBezTo>
                      <a:pt x="0" y="10"/>
                      <a:pt x="0" y="7"/>
                      <a:pt x="0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11" y="4"/>
                      <a:pt x="12" y="4"/>
                    </a:cubicBezTo>
                    <a:cubicBezTo>
                      <a:pt x="14" y="3"/>
                      <a:pt x="16" y="2"/>
                      <a:pt x="16" y="2"/>
                    </a:cubicBezTo>
                    <a:cubicBezTo>
                      <a:pt x="16" y="2"/>
                      <a:pt x="22" y="0"/>
                      <a:pt x="19" y="2"/>
                    </a:cubicBezTo>
                    <a:cubicBezTo>
                      <a:pt x="17" y="4"/>
                      <a:pt x="16" y="4"/>
                      <a:pt x="16" y="5"/>
                    </a:cubicBezTo>
                    <a:cubicBezTo>
                      <a:pt x="16" y="6"/>
                      <a:pt x="17" y="8"/>
                      <a:pt x="17" y="8"/>
                    </a:cubicBezTo>
                    <a:cubicBezTo>
                      <a:pt x="17" y="8"/>
                      <a:pt x="10" y="13"/>
                      <a:pt x="8" y="1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49" name="Freeform 21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2066855" y="4184650"/>
                <a:ext cx="238935" cy="158750"/>
              </a:xfrm>
              <a:custGeom>
                <a:avLst/>
                <a:gdLst>
                  <a:gd name="T0" fmla="*/ 2147483647 w 61"/>
                  <a:gd name="T1" fmla="*/ 2147483647 h 41"/>
                  <a:gd name="T2" fmla="*/ 2147483647 w 61"/>
                  <a:gd name="T3" fmla="*/ 2147483647 h 41"/>
                  <a:gd name="T4" fmla="*/ 2147483647 w 61"/>
                  <a:gd name="T5" fmla="*/ 2147483647 h 41"/>
                  <a:gd name="T6" fmla="*/ 2147483647 w 61"/>
                  <a:gd name="T7" fmla="*/ 2147483647 h 41"/>
                  <a:gd name="T8" fmla="*/ 2147483647 w 61"/>
                  <a:gd name="T9" fmla="*/ 2147483647 h 41"/>
                  <a:gd name="T10" fmla="*/ 2147483647 w 61"/>
                  <a:gd name="T11" fmla="*/ 2147483647 h 41"/>
                  <a:gd name="T12" fmla="*/ 2147483647 w 61"/>
                  <a:gd name="T13" fmla="*/ 2147483647 h 41"/>
                  <a:gd name="T14" fmla="*/ 2147483647 w 61"/>
                  <a:gd name="T15" fmla="*/ 2147483647 h 41"/>
                  <a:gd name="T16" fmla="*/ 2147483647 w 61"/>
                  <a:gd name="T17" fmla="*/ 2147483647 h 41"/>
                  <a:gd name="T18" fmla="*/ 2147483647 w 61"/>
                  <a:gd name="T19" fmla="*/ 2147483647 h 41"/>
                  <a:gd name="T20" fmla="*/ 2147483647 w 61"/>
                  <a:gd name="T21" fmla="*/ 2147483647 h 41"/>
                  <a:gd name="T22" fmla="*/ 0 w 61"/>
                  <a:gd name="T23" fmla="*/ 2147483647 h 41"/>
                  <a:gd name="T24" fmla="*/ 2147483647 w 61"/>
                  <a:gd name="T25" fmla="*/ 2147483647 h 41"/>
                  <a:gd name="T26" fmla="*/ 2147483647 w 61"/>
                  <a:gd name="T27" fmla="*/ 2147483647 h 41"/>
                  <a:gd name="T28" fmla="*/ 2147483647 w 61"/>
                  <a:gd name="T29" fmla="*/ 2147483647 h 41"/>
                  <a:gd name="T30" fmla="*/ 2147483647 w 61"/>
                  <a:gd name="T31" fmla="*/ 2147483647 h 41"/>
                  <a:gd name="T32" fmla="*/ 0 w 61"/>
                  <a:gd name="T33" fmla="*/ 2147483647 h 41"/>
                  <a:gd name="T34" fmla="*/ 2147483647 w 61"/>
                  <a:gd name="T35" fmla="*/ 2147483647 h 41"/>
                  <a:gd name="T36" fmla="*/ 2147483647 w 61"/>
                  <a:gd name="T37" fmla="*/ 2147483647 h 41"/>
                  <a:gd name="T38" fmla="*/ 2147483647 w 61"/>
                  <a:gd name="T39" fmla="*/ 2147483647 h 41"/>
                  <a:gd name="T40" fmla="*/ 2147483647 w 61"/>
                  <a:gd name="T41" fmla="*/ 2147483647 h 41"/>
                  <a:gd name="T42" fmla="*/ 2147483647 w 61"/>
                  <a:gd name="T43" fmla="*/ 2147483647 h 41"/>
                  <a:gd name="T44" fmla="*/ 2147483647 w 61"/>
                  <a:gd name="T45" fmla="*/ 2147483647 h 41"/>
                  <a:gd name="T46" fmla="*/ 2147483647 w 61"/>
                  <a:gd name="T47" fmla="*/ 2147483647 h 41"/>
                  <a:gd name="T48" fmla="*/ 2147483647 w 61"/>
                  <a:gd name="T49" fmla="*/ 2147483647 h 41"/>
                  <a:gd name="T50" fmla="*/ 2147483647 w 61"/>
                  <a:gd name="T51" fmla="*/ 2147483647 h 41"/>
                  <a:gd name="T52" fmla="*/ 2147483647 w 61"/>
                  <a:gd name="T53" fmla="*/ 2147483647 h 41"/>
                  <a:gd name="T54" fmla="*/ 2147483647 w 61"/>
                  <a:gd name="T55" fmla="*/ 2147483647 h 41"/>
                  <a:gd name="T56" fmla="*/ 2147483647 w 61"/>
                  <a:gd name="T57" fmla="*/ 2147483647 h 41"/>
                  <a:gd name="T58" fmla="*/ 2147483647 w 61"/>
                  <a:gd name="T59" fmla="*/ 2147483647 h 41"/>
                  <a:gd name="T60" fmla="*/ 2147483647 w 61"/>
                  <a:gd name="T61" fmla="*/ 2147483647 h 41"/>
                  <a:gd name="T62" fmla="*/ 2147483647 w 61"/>
                  <a:gd name="T63" fmla="*/ 2147483647 h 41"/>
                  <a:gd name="T64" fmla="*/ 2147483647 w 61"/>
                  <a:gd name="T65" fmla="*/ 2147483647 h 41"/>
                  <a:gd name="T66" fmla="*/ 2147483647 w 61"/>
                  <a:gd name="T67" fmla="*/ 2147483647 h 41"/>
                  <a:gd name="T68" fmla="*/ 2147483647 w 61"/>
                  <a:gd name="T69" fmla="*/ 2147483647 h 41"/>
                  <a:gd name="T70" fmla="*/ 2147483647 w 61"/>
                  <a:gd name="T71" fmla="*/ 2147483647 h 41"/>
                  <a:gd name="T72" fmla="*/ 2147483647 w 61"/>
                  <a:gd name="T73" fmla="*/ 2147483647 h 41"/>
                  <a:gd name="T74" fmla="*/ 2147483647 w 61"/>
                  <a:gd name="T75" fmla="*/ 2147483647 h 41"/>
                  <a:gd name="T76" fmla="*/ 2147483647 w 61"/>
                  <a:gd name="T77" fmla="*/ 2147483647 h 41"/>
                  <a:gd name="T78" fmla="*/ 2147483647 w 61"/>
                  <a:gd name="T79" fmla="*/ 2147483647 h 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1"/>
                  <a:gd name="T121" fmla="*/ 0 h 41"/>
                  <a:gd name="T122" fmla="*/ 61 w 61"/>
                  <a:gd name="T123" fmla="*/ 41 h 4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1" h="41">
                    <a:moveTo>
                      <a:pt x="60" y="8"/>
                    </a:moveTo>
                    <a:cubicBezTo>
                      <a:pt x="60" y="8"/>
                      <a:pt x="58" y="8"/>
                      <a:pt x="57" y="7"/>
                    </a:cubicBezTo>
                    <a:cubicBezTo>
                      <a:pt x="56" y="7"/>
                      <a:pt x="53" y="5"/>
                      <a:pt x="51" y="5"/>
                    </a:cubicBezTo>
                    <a:cubicBezTo>
                      <a:pt x="49" y="5"/>
                      <a:pt x="44" y="3"/>
                      <a:pt x="43" y="2"/>
                    </a:cubicBezTo>
                    <a:cubicBezTo>
                      <a:pt x="42" y="2"/>
                      <a:pt x="37" y="3"/>
                      <a:pt x="36" y="5"/>
                    </a:cubicBezTo>
                    <a:cubicBezTo>
                      <a:pt x="34" y="8"/>
                      <a:pt x="31" y="9"/>
                      <a:pt x="30" y="9"/>
                    </a:cubicBezTo>
                    <a:cubicBezTo>
                      <a:pt x="29" y="9"/>
                      <a:pt x="22" y="8"/>
                      <a:pt x="21" y="8"/>
                    </a:cubicBezTo>
                    <a:cubicBezTo>
                      <a:pt x="20" y="8"/>
                      <a:pt x="18" y="9"/>
                      <a:pt x="13" y="8"/>
                    </a:cubicBezTo>
                    <a:cubicBezTo>
                      <a:pt x="9" y="7"/>
                      <a:pt x="5" y="7"/>
                      <a:pt x="5" y="7"/>
                    </a:cubicBezTo>
                    <a:cubicBezTo>
                      <a:pt x="5" y="7"/>
                      <a:pt x="5" y="5"/>
                      <a:pt x="6" y="4"/>
                    </a:cubicBezTo>
                    <a:cubicBezTo>
                      <a:pt x="7" y="4"/>
                      <a:pt x="3" y="2"/>
                      <a:pt x="2" y="1"/>
                    </a:cubicBezTo>
                    <a:cubicBezTo>
                      <a:pt x="2" y="0"/>
                      <a:pt x="0" y="4"/>
                      <a:pt x="0" y="4"/>
                    </a:cubicBezTo>
                    <a:cubicBezTo>
                      <a:pt x="0" y="4"/>
                      <a:pt x="0" y="6"/>
                      <a:pt x="1" y="10"/>
                    </a:cubicBezTo>
                    <a:cubicBezTo>
                      <a:pt x="1" y="13"/>
                      <a:pt x="3" y="13"/>
                      <a:pt x="5" y="14"/>
                    </a:cubicBezTo>
                    <a:cubicBezTo>
                      <a:pt x="6" y="15"/>
                      <a:pt x="5" y="17"/>
                      <a:pt x="3" y="18"/>
                    </a:cubicBezTo>
                    <a:cubicBezTo>
                      <a:pt x="1" y="20"/>
                      <a:pt x="1" y="21"/>
                      <a:pt x="1" y="2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30"/>
                      <a:pt x="3" y="31"/>
                    </a:cubicBezTo>
                    <a:cubicBezTo>
                      <a:pt x="5" y="31"/>
                      <a:pt x="6" y="34"/>
                      <a:pt x="5" y="36"/>
                    </a:cubicBezTo>
                    <a:cubicBezTo>
                      <a:pt x="5" y="37"/>
                      <a:pt x="5" y="39"/>
                      <a:pt x="6" y="40"/>
                    </a:cubicBezTo>
                    <a:cubicBezTo>
                      <a:pt x="7" y="40"/>
                      <a:pt x="8" y="40"/>
                      <a:pt x="9" y="39"/>
                    </a:cubicBezTo>
                    <a:cubicBezTo>
                      <a:pt x="12" y="39"/>
                      <a:pt x="17" y="38"/>
                      <a:pt x="19" y="38"/>
                    </a:cubicBezTo>
                    <a:cubicBezTo>
                      <a:pt x="21" y="37"/>
                      <a:pt x="22" y="40"/>
                      <a:pt x="22" y="40"/>
                    </a:cubicBezTo>
                    <a:cubicBezTo>
                      <a:pt x="22" y="40"/>
                      <a:pt x="26" y="41"/>
                      <a:pt x="28" y="41"/>
                    </a:cubicBezTo>
                    <a:cubicBezTo>
                      <a:pt x="31" y="41"/>
                      <a:pt x="35" y="40"/>
                      <a:pt x="36" y="38"/>
                    </a:cubicBezTo>
                    <a:cubicBezTo>
                      <a:pt x="37" y="37"/>
                      <a:pt x="36" y="35"/>
                      <a:pt x="37" y="34"/>
                    </a:cubicBezTo>
                    <a:cubicBezTo>
                      <a:pt x="38" y="34"/>
                      <a:pt x="39" y="35"/>
                      <a:pt x="41" y="36"/>
                    </a:cubicBezTo>
                    <a:cubicBezTo>
                      <a:pt x="41" y="36"/>
                      <a:pt x="41" y="35"/>
                      <a:pt x="41" y="35"/>
                    </a:cubicBezTo>
                    <a:cubicBezTo>
                      <a:pt x="41" y="34"/>
                      <a:pt x="41" y="31"/>
                      <a:pt x="42" y="31"/>
                    </a:cubicBezTo>
                    <a:cubicBezTo>
                      <a:pt x="43" y="30"/>
                      <a:pt x="47" y="30"/>
                      <a:pt x="48" y="30"/>
                    </a:cubicBezTo>
                    <a:cubicBezTo>
                      <a:pt x="49" y="31"/>
                      <a:pt x="49" y="33"/>
                      <a:pt x="51" y="32"/>
                    </a:cubicBezTo>
                    <a:cubicBezTo>
                      <a:pt x="52" y="31"/>
                      <a:pt x="54" y="32"/>
                      <a:pt x="54" y="32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54" y="32"/>
                      <a:pt x="54" y="31"/>
                      <a:pt x="54" y="31"/>
                    </a:cubicBezTo>
                    <a:cubicBezTo>
                      <a:pt x="54" y="31"/>
                      <a:pt x="53" y="29"/>
                      <a:pt x="52" y="27"/>
                    </a:cubicBezTo>
                    <a:cubicBezTo>
                      <a:pt x="51" y="25"/>
                      <a:pt x="49" y="25"/>
                      <a:pt x="49" y="25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54" y="21"/>
                      <a:pt x="54" y="16"/>
                      <a:pt x="55" y="14"/>
                    </a:cubicBezTo>
                    <a:cubicBezTo>
                      <a:pt x="56" y="13"/>
                      <a:pt x="57" y="13"/>
                      <a:pt x="59" y="13"/>
                    </a:cubicBezTo>
                    <a:cubicBezTo>
                      <a:pt x="61" y="13"/>
                      <a:pt x="60" y="8"/>
                      <a:pt x="60" y="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0" name="Freeform 22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924668" y="4081463"/>
                <a:ext cx="167107" cy="222250"/>
              </a:xfrm>
              <a:custGeom>
                <a:avLst/>
                <a:gdLst>
                  <a:gd name="T0" fmla="*/ 2147483647 w 42"/>
                  <a:gd name="T1" fmla="*/ 2147483647 h 57"/>
                  <a:gd name="T2" fmla="*/ 2147483647 w 42"/>
                  <a:gd name="T3" fmla="*/ 2147483647 h 57"/>
                  <a:gd name="T4" fmla="*/ 2147483647 w 42"/>
                  <a:gd name="T5" fmla="*/ 2147483647 h 57"/>
                  <a:gd name="T6" fmla="*/ 2147483647 w 42"/>
                  <a:gd name="T7" fmla="*/ 2147483647 h 57"/>
                  <a:gd name="T8" fmla="*/ 2147483647 w 42"/>
                  <a:gd name="T9" fmla="*/ 2147483647 h 57"/>
                  <a:gd name="T10" fmla="*/ 2147483647 w 42"/>
                  <a:gd name="T11" fmla="*/ 2147483647 h 57"/>
                  <a:gd name="T12" fmla="*/ 2147483647 w 42"/>
                  <a:gd name="T13" fmla="*/ 2147483647 h 57"/>
                  <a:gd name="T14" fmla="*/ 2147483647 w 42"/>
                  <a:gd name="T15" fmla="*/ 2147483647 h 57"/>
                  <a:gd name="T16" fmla="*/ 2147483647 w 42"/>
                  <a:gd name="T17" fmla="*/ 2147483647 h 57"/>
                  <a:gd name="T18" fmla="*/ 2147483647 w 42"/>
                  <a:gd name="T19" fmla="*/ 2147483647 h 57"/>
                  <a:gd name="T20" fmla="*/ 2147483647 w 42"/>
                  <a:gd name="T21" fmla="*/ 0 h 57"/>
                  <a:gd name="T22" fmla="*/ 2147483647 w 42"/>
                  <a:gd name="T23" fmla="*/ 2147483647 h 57"/>
                  <a:gd name="T24" fmla="*/ 0 w 42"/>
                  <a:gd name="T25" fmla="*/ 2147483647 h 57"/>
                  <a:gd name="T26" fmla="*/ 2147483647 w 42"/>
                  <a:gd name="T27" fmla="*/ 2147483647 h 57"/>
                  <a:gd name="T28" fmla="*/ 2147483647 w 42"/>
                  <a:gd name="T29" fmla="*/ 2147483647 h 57"/>
                  <a:gd name="T30" fmla="*/ 2147483647 w 42"/>
                  <a:gd name="T31" fmla="*/ 2147483647 h 57"/>
                  <a:gd name="T32" fmla="*/ 2147483647 w 42"/>
                  <a:gd name="T33" fmla="*/ 2147483647 h 57"/>
                  <a:gd name="T34" fmla="*/ 2147483647 w 42"/>
                  <a:gd name="T35" fmla="*/ 2147483647 h 57"/>
                  <a:gd name="T36" fmla="*/ 2147483647 w 42"/>
                  <a:gd name="T37" fmla="*/ 2147483647 h 57"/>
                  <a:gd name="T38" fmla="*/ 2147483647 w 42"/>
                  <a:gd name="T39" fmla="*/ 2147483647 h 57"/>
                  <a:gd name="T40" fmla="*/ 2147483647 w 42"/>
                  <a:gd name="T41" fmla="*/ 2147483647 h 57"/>
                  <a:gd name="T42" fmla="*/ 2147483647 w 42"/>
                  <a:gd name="T43" fmla="*/ 2147483647 h 57"/>
                  <a:gd name="T44" fmla="*/ 2147483647 w 42"/>
                  <a:gd name="T45" fmla="*/ 2147483647 h 57"/>
                  <a:gd name="T46" fmla="*/ 2147483647 w 42"/>
                  <a:gd name="T47" fmla="*/ 2147483647 h 57"/>
                  <a:gd name="T48" fmla="*/ 2147483647 w 42"/>
                  <a:gd name="T49" fmla="*/ 2147483647 h 57"/>
                  <a:gd name="T50" fmla="*/ 2147483647 w 42"/>
                  <a:gd name="T51" fmla="*/ 2147483647 h 57"/>
                  <a:gd name="T52" fmla="*/ 2147483647 w 42"/>
                  <a:gd name="T53" fmla="*/ 2147483647 h 57"/>
                  <a:gd name="T54" fmla="*/ 2147483647 w 42"/>
                  <a:gd name="T55" fmla="*/ 2147483647 h 57"/>
                  <a:gd name="T56" fmla="*/ 2147483647 w 42"/>
                  <a:gd name="T57" fmla="*/ 2147483647 h 57"/>
                  <a:gd name="T58" fmla="*/ 2147483647 w 42"/>
                  <a:gd name="T59" fmla="*/ 2147483647 h 57"/>
                  <a:gd name="T60" fmla="*/ 2147483647 w 42"/>
                  <a:gd name="T61" fmla="*/ 2147483647 h 57"/>
                  <a:gd name="T62" fmla="*/ 2147483647 w 42"/>
                  <a:gd name="T63" fmla="*/ 2147483647 h 57"/>
                  <a:gd name="T64" fmla="*/ 2147483647 w 42"/>
                  <a:gd name="T65" fmla="*/ 2147483647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2"/>
                  <a:gd name="T100" fmla="*/ 0 h 57"/>
                  <a:gd name="T101" fmla="*/ 42 w 42"/>
                  <a:gd name="T102" fmla="*/ 57 h 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2" h="57">
                    <a:moveTo>
                      <a:pt x="37" y="36"/>
                    </a:moveTo>
                    <a:cubicBezTo>
                      <a:pt x="36" y="32"/>
                      <a:pt x="36" y="30"/>
                      <a:pt x="36" y="30"/>
                    </a:cubicBezTo>
                    <a:cubicBezTo>
                      <a:pt x="36" y="30"/>
                      <a:pt x="38" y="26"/>
                      <a:pt x="38" y="27"/>
                    </a:cubicBezTo>
                    <a:cubicBezTo>
                      <a:pt x="38" y="27"/>
                      <a:pt x="38" y="22"/>
                      <a:pt x="37" y="22"/>
                    </a:cubicBezTo>
                    <a:cubicBezTo>
                      <a:pt x="35" y="21"/>
                      <a:pt x="33" y="23"/>
                      <a:pt x="33" y="23"/>
                    </a:cubicBezTo>
                    <a:cubicBezTo>
                      <a:pt x="33" y="23"/>
                      <a:pt x="30" y="21"/>
                      <a:pt x="28" y="21"/>
                    </a:cubicBezTo>
                    <a:cubicBezTo>
                      <a:pt x="26" y="20"/>
                      <a:pt x="24" y="18"/>
                      <a:pt x="25" y="17"/>
                    </a:cubicBezTo>
                    <a:cubicBezTo>
                      <a:pt x="27" y="16"/>
                      <a:pt x="25" y="13"/>
                      <a:pt x="23" y="12"/>
                    </a:cubicBezTo>
                    <a:cubicBezTo>
                      <a:pt x="21" y="11"/>
                      <a:pt x="17" y="4"/>
                      <a:pt x="17" y="3"/>
                    </a:cubicBezTo>
                    <a:cubicBezTo>
                      <a:pt x="16" y="2"/>
                      <a:pt x="14" y="1"/>
                      <a:pt x="14" y="1"/>
                    </a:cubicBezTo>
                    <a:cubicBezTo>
                      <a:pt x="14" y="1"/>
                      <a:pt x="10" y="0"/>
                      <a:pt x="9" y="0"/>
                    </a:cubicBezTo>
                    <a:cubicBezTo>
                      <a:pt x="8" y="0"/>
                      <a:pt x="4" y="1"/>
                      <a:pt x="3" y="2"/>
                    </a:cubicBezTo>
                    <a:cubicBezTo>
                      <a:pt x="2" y="3"/>
                      <a:pt x="0" y="4"/>
                      <a:pt x="0" y="4"/>
                    </a:cubicBezTo>
                    <a:cubicBezTo>
                      <a:pt x="0" y="4"/>
                      <a:pt x="2" y="11"/>
                      <a:pt x="3" y="12"/>
                    </a:cubicBezTo>
                    <a:cubicBezTo>
                      <a:pt x="4" y="13"/>
                      <a:pt x="5" y="14"/>
                      <a:pt x="5" y="14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4" y="36"/>
                      <a:pt x="7" y="42"/>
                      <a:pt x="9" y="42"/>
                    </a:cubicBezTo>
                    <a:cubicBezTo>
                      <a:pt x="11" y="43"/>
                      <a:pt x="16" y="46"/>
                      <a:pt x="16" y="46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18" y="57"/>
                      <a:pt x="18" y="57"/>
                      <a:pt x="18" y="57"/>
                    </a:cubicBezTo>
                    <a:cubicBezTo>
                      <a:pt x="18" y="57"/>
                      <a:pt x="20" y="53"/>
                      <a:pt x="23" y="54"/>
                    </a:cubicBezTo>
                    <a:cubicBezTo>
                      <a:pt x="26" y="55"/>
                      <a:pt x="33" y="54"/>
                      <a:pt x="36" y="53"/>
                    </a:cubicBezTo>
                    <a:cubicBezTo>
                      <a:pt x="36" y="53"/>
                      <a:pt x="36" y="52"/>
                      <a:pt x="36" y="52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7" y="47"/>
                      <a:pt x="37" y="46"/>
                      <a:pt x="39" y="44"/>
                    </a:cubicBezTo>
                    <a:cubicBezTo>
                      <a:pt x="41" y="43"/>
                      <a:pt x="42" y="41"/>
                      <a:pt x="41" y="40"/>
                    </a:cubicBezTo>
                    <a:cubicBezTo>
                      <a:pt x="39" y="39"/>
                      <a:pt x="37" y="39"/>
                      <a:pt x="37" y="36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1" name="Freeform 23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995029" y="4287838"/>
                <a:ext cx="96746" cy="80962"/>
              </a:xfrm>
              <a:custGeom>
                <a:avLst/>
                <a:gdLst>
                  <a:gd name="T0" fmla="*/ 2147483647 w 24"/>
                  <a:gd name="T1" fmla="*/ 2147483647 h 20"/>
                  <a:gd name="T2" fmla="*/ 2147483647 w 24"/>
                  <a:gd name="T3" fmla="*/ 2147483647 h 20"/>
                  <a:gd name="T4" fmla="*/ 2147483647 w 24"/>
                  <a:gd name="T5" fmla="*/ 0 h 20"/>
                  <a:gd name="T6" fmla="*/ 2147483647 w 24"/>
                  <a:gd name="T7" fmla="*/ 0 h 20"/>
                  <a:gd name="T8" fmla="*/ 2147483647 w 24"/>
                  <a:gd name="T9" fmla="*/ 2147483647 h 20"/>
                  <a:gd name="T10" fmla="*/ 0 w 24"/>
                  <a:gd name="T11" fmla="*/ 2147483647 h 20"/>
                  <a:gd name="T12" fmla="*/ 0 w 24"/>
                  <a:gd name="T13" fmla="*/ 2147483647 h 20"/>
                  <a:gd name="T14" fmla="*/ 0 w 24"/>
                  <a:gd name="T15" fmla="*/ 2147483647 h 20"/>
                  <a:gd name="T16" fmla="*/ 2147483647 w 24"/>
                  <a:gd name="T17" fmla="*/ 2147483647 h 20"/>
                  <a:gd name="T18" fmla="*/ 2147483647 w 24"/>
                  <a:gd name="T19" fmla="*/ 2147483647 h 20"/>
                  <a:gd name="T20" fmla="*/ 2147483647 w 24"/>
                  <a:gd name="T21" fmla="*/ 2147483647 h 20"/>
                  <a:gd name="T22" fmla="*/ 2147483647 w 24"/>
                  <a:gd name="T23" fmla="*/ 2147483647 h 20"/>
                  <a:gd name="T24" fmla="*/ 2147483647 w 24"/>
                  <a:gd name="T25" fmla="*/ 2147483647 h 20"/>
                  <a:gd name="T26" fmla="*/ 2147483647 w 24"/>
                  <a:gd name="T27" fmla="*/ 2147483647 h 2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4"/>
                  <a:gd name="T43" fmla="*/ 0 h 20"/>
                  <a:gd name="T44" fmla="*/ 24 w 24"/>
                  <a:gd name="T45" fmla="*/ 20 h 2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4" h="20">
                    <a:moveTo>
                      <a:pt x="23" y="9"/>
                    </a:moveTo>
                    <a:cubicBezTo>
                      <a:pt x="24" y="7"/>
                      <a:pt x="23" y="4"/>
                      <a:pt x="21" y="4"/>
                    </a:cubicBezTo>
                    <a:cubicBezTo>
                      <a:pt x="20" y="4"/>
                      <a:pt x="19" y="2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5" y="1"/>
                      <a:pt x="8" y="2"/>
                      <a:pt x="5" y="1"/>
                    </a:cubicBezTo>
                    <a:cubicBezTo>
                      <a:pt x="2" y="0"/>
                      <a:pt x="0" y="4"/>
                      <a:pt x="0" y="4"/>
                    </a:cubicBezTo>
                    <a:cubicBezTo>
                      <a:pt x="0" y="4"/>
                      <a:pt x="0" y="9"/>
                      <a:pt x="0" y="11"/>
                    </a:cubicBezTo>
                    <a:cubicBezTo>
                      <a:pt x="0" y="12"/>
                      <a:pt x="0" y="16"/>
                      <a:pt x="0" y="16"/>
                    </a:cubicBezTo>
                    <a:cubicBezTo>
                      <a:pt x="0" y="16"/>
                      <a:pt x="1" y="19"/>
                      <a:pt x="3" y="20"/>
                    </a:cubicBezTo>
                    <a:cubicBezTo>
                      <a:pt x="4" y="19"/>
                      <a:pt x="5" y="18"/>
                      <a:pt x="5" y="18"/>
                    </a:cubicBezTo>
                    <a:cubicBezTo>
                      <a:pt x="5" y="18"/>
                      <a:pt x="11" y="16"/>
                      <a:pt x="14" y="16"/>
                    </a:cubicBezTo>
                    <a:cubicBezTo>
                      <a:pt x="17" y="16"/>
                      <a:pt x="20" y="16"/>
                      <a:pt x="21" y="15"/>
                    </a:cubicBezTo>
                    <a:cubicBezTo>
                      <a:pt x="21" y="14"/>
                      <a:pt x="22" y="14"/>
                      <a:pt x="24" y="13"/>
                    </a:cubicBezTo>
                    <a:cubicBezTo>
                      <a:pt x="23" y="12"/>
                      <a:pt x="23" y="10"/>
                      <a:pt x="23" y="9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2" name="Freeform 24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940792" y="4260850"/>
                <a:ext cx="68896" cy="160338"/>
              </a:xfrm>
              <a:custGeom>
                <a:avLst/>
                <a:gdLst>
                  <a:gd name="T0" fmla="*/ 2147483647 w 18"/>
                  <a:gd name="T1" fmla="*/ 2147483647 h 41"/>
                  <a:gd name="T2" fmla="*/ 2147483647 w 18"/>
                  <a:gd name="T3" fmla="*/ 2147483647 h 41"/>
                  <a:gd name="T4" fmla="*/ 2147483647 w 18"/>
                  <a:gd name="T5" fmla="*/ 2147483647 h 41"/>
                  <a:gd name="T6" fmla="*/ 2147483647 w 18"/>
                  <a:gd name="T7" fmla="*/ 2147483647 h 41"/>
                  <a:gd name="T8" fmla="*/ 2147483647 w 18"/>
                  <a:gd name="T9" fmla="*/ 2147483647 h 41"/>
                  <a:gd name="T10" fmla="*/ 2147483647 w 18"/>
                  <a:gd name="T11" fmla="*/ 2147483647 h 41"/>
                  <a:gd name="T12" fmla="*/ 2147483647 w 18"/>
                  <a:gd name="T13" fmla="*/ 2147483647 h 41"/>
                  <a:gd name="T14" fmla="*/ 2147483647 w 18"/>
                  <a:gd name="T15" fmla="*/ 2147483647 h 41"/>
                  <a:gd name="T16" fmla="*/ 2147483647 w 18"/>
                  <a:gd name="T17" fmla="*/ 2147483647 h 41"/>
                  <a:gd name="T18" fmla="*/ 2147483647 w 18"/>
                  <a:gd name="T19" fmla="*/ 2147483647 h 41"/>
                  <a:gd name="T20" fmla="*/ 2147483647 w 18"/>
                  <a:gd name="T21" fmla="*/ 2147483647 h 41"/>
                  <a:gd name="T22" fmla="*/ 2147483647 w 18"/>
                  <a:gd name="T23" fmla="*/ 2147483647 h 41"/>
                  <a:gd name="T24" fmla="*/ 2147483647 w 18"/>
                  <a:gd name="T25" fmla="*/ 2147483647 h 41"/>
                  <a:gd name="T26" fmla="*/ 2147483647 w 18"/>
                  <a:gd name="T27" fmla="*/ 2147483647 h 41"/>
                  <a:gd name="T28" fmla="*/ 2147483647 w 18"/>
                  <a:gd name="T29" fmla="*/ 2147483647 h 41"/>
                  <a:gd name="T30" fmla="*/ 2147483647 w 18"/>
                  <a:gd name="T31" fmla="*/ 2147483647 h 41"/>
                  <a:gd name="T32" fmla="*/ 2147483647 w 18"/>
                  <a:gd name="T33" fmla="*/ 2147483647 h 41"/>
                  <a:gd name="T34" fmla="*/ 2147483647 w 18"/>
                  <a:gd name="T35" fmla="*/ 2147483647 h 41"/>
                  <a:gd name="T36" fmla="*/ 2147483647 w 18"/>
                  <a:gd name="T37" fmla="*/ 2147483647 h 41"/>
                  <a:gd name="T38" fmla="*/ 2147483647 w 18"/>
                  <a:gd name="T39" fmla="*/ 2147483647 h 4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41"/>
                  <a:gd name="T62" fmla="*/ 18 w 18"/>
                  <a:gd name="T63" fmla="*/ 41 h 4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41">
                    <a:moveTo>
                      <a:pt x="17" y="27"/>
                    </a:moveTo>
                    <a:cubicBezTo>
                      <a:pt x="15" y="26"/>
                      <a:pt x="14" y="23"/>
                      <a:pt x="14" y="23"/>
                    </a:cubicBezTo>
                    <a:cubicBezTo>
                      <a:pt x="14" y="23"/>
                      <a:pt x="14" y="19"/>
                      <a:pt x="14" y="18"/>
                    </a:cubicBezTo>
                    <a:cubicBezTo>
                      <a:pt x="14" y="16"/>
                      <a:pt x="14" y="11"/>
                      <a:pt x="14" y="11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5"/>
                      <a:pt x="7" y="5"/>
                      <a:pt x="7" y="5"/>
                    </a:cubicBezTo>
                    <a:cubicBezTo>
                      <a:pt x="7" y="5"/>
                      <a:pt x="5" y="5"/>
                      <a:pt x="5" y="3"/>
                    </a:cubicBezTo>
                    <a:cubicBezTo>
                      <a:pt x="6" y="0"/>
                      <a:pt x="3" y="3"/>
                      <a:pt x="3" y="3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2"/>
                      <a:pt x="4" y="13"/>
                      <a:pt x="3" y="15"/>
                    </a:cubicBezTo>
                    <a:cubicBezTo>
                      <a:pt x="3" y="17"/>
                      <a:pt x="1" y="21"/>
                      <a:pt x="1" y="23"/>
                    </a:cubicBezTo>
                    <a:cubicBezTo>
                      <a:pt x="0" y="25"/>
                      <a:pt x="1" y="32"/>
                      <a:pt x="1" y="32"/>
                    </a:cubicBezTo>
                    <a:cubicBezTo>
                      <a:pt x="1" y="32"/>
                      <a:pt x="6" y="38"/>
                      <a:pt x="6" y="39"/>
                    </a:cubicBezTo>
                    <a:cubicBezTo>
                      <a:pt x="7" y="39"/>
                      <a:pt x="8" y="40"/>
                      <a:pt x="9" y="41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37"/>
                      <a:pt x="14" y="35"/>
                      <a:pt x="16" y="32"/>
                    </a:cubicBezTo>
                    <a:cubicBezTo>
                      <a:pt x="17" y="30"/>
                      <a:pt x="18" y="31"/>
                      <a:pt x="17" y="29"/>
                    </a:cubicBezTo>
                    <a:cubicBezTo>
                      <a:pt x="16" y="29"/>
                      <a:pt x="17" y="28"/>
                      <a:pt x="17" y="2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3" name="Freeform 25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896816" y="4225926"/>
                <a:ext cx="87951" cy="873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2147483647 h 22"/>
                  <a:gd name="T6" fmla="*/ 2147483647 w 23"/>
                  <a:gd name="T7" fmla="*/ 2147483647 h 22"/>
                  <a:gd name="T8" fmla="*/ 2147483647 w 23"/>
                  <a:gd name="T9" fmla="*/ 2147483647 h 22"/>
                  <a:gd name="T10" fmla="*/ 2147483647 w 23"/>
                  <a:gd name="T11" fmla="*/ 2147483647 h 22"/>
                  <a:gd name="T12" fmla="*/ 2147483647 w 23"/>
                  <a:gd name="T13" fmla="*/ 2147483647 h 22"/>
                  <a:gd name="T14" fmla="*/ 2147483647 w 23"/>
                  <a:gd name="T15" fmla="*/ 2147483647 h 22"/>
                  <a:gd name="T16" fmla="*/ 2147483647 w 23"/>
                  <a:gd name="T17" fmla="*/ 2147483647 h 22"/>
                  <a:gd name="T18" fmla="*/ 2147483647 w 23"/>
                  <a:gd name="T19" fmla="*/ 0 h 22"/>
                  <a:gd name="T20" fmla="*/ 2147483647 w 23"/>
                  <a:gd name="T21" fmla="*/ 0 h 22"/>
                  <a:gd name="T22" fmla="*/ 2147483647 w 23"/>
                  <a:gd name="T23" fmla="*/ 2147483647 h 22"/>
                  <a:gd name="T24" fmla="*/ 2147483647 w 23"/>
                  <a:gd name="T25" fmla="*/ 2147483647 h 22"/>
                  <a:gd name="T26" fmla="*/ 2147483647 w 23"/>
                  <a:gd name="T27" fmla="*/ 2147483647 h 22"/>
                  <a:gd name="T28" fmla="*/ 0 w 23"/>
                  <a:gd name="T29" fmla="*/ 2147483647 h 22"/>
                  <a:gd name="T30" fmla="*/ 2147483647 w 23"/>
                  <a:gd name="T31" fmla="*/ 2147483647 h 22"/>
                  <a:gd name="T32" fmla="*/ 2147483647 w 23"/>
                  <a:gd name="T33" fmla="*/ 2147483647 h 22"/>
                  <a:gd name="T34" fmla="*/ 2147483647 w 23"/>
                  <a:gd name="T35" fmla="*/ 2147483647 h 22"/>
                  <a:gd name="T36" fmla="*/ 2147483647 w 23"/>
                  <a:gd name="T37" fmla="*/ 2147483647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3"/>
                  <a:gd name="T58" fmla="*/ 0 h 22"/>
                  <a:gd name="T59" fmla="*/ 23 w 23"/>
                  <a:gd name="T60" fmla="*/ 22 h 2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3" h="22">
                    <a:moveTo>
                      <a:pt x="13" y="21"/>
                    </a:moveTo>
                    <a:cubicBezTo>
                      <a:pt x="12" y="16"/>
                      <a:pt x="12" y="16"/>
                      <a:pt x="12" y="16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7" y="9"/>
                      <a:pt x="16" y="12"/>
                    </a:cubicBezTo>
                    <a:cubicBezTo>
                      <a:pt x="16" y="14"/>
                      <a:pt x="18" y="14"/>
                      <a:pt x="18" y="14"/>
                    </a:cubicBezTo>
                    <a:cubicBezTo>
                      <a:pt x="18" y="14"/>
                      <a:pt x="19" y="14"/>
                      <a:pt x="20" y="14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9"/>
                      <a:pt x="18" y="6"/>
                      <a:pt x="16" y="5"/>
                    </a:cubicBezTo>
                    <a:cubicBezTo>
                      <a:pt x="15" y="5"/>
                      <a:pt x="13" y="1"/>
                      <a:pt x="1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6" y="4"/>
                      <a:pt x="5" y="5"/>
                    </a:cubicBezTo>
                    <a:cubicBezTo>
                      <a:pt x="4" y="6"/>
                      <a:pt x="5" y="10"/>
                      <a:pt x="3" y="11"/>
                    </a:cubicBezTo>
                    <a:cubicBezTo>
                      <a:pt x="2" y="11"/>
                      <a:pt x="0" y="10"/>
                      <a:pt x="0" y="10"/>
                    </a:cubicBezTo>
                    <a:cubicBezTo>
                      <a:pt x="0" y="10"/>
                      <a:pt x="2" y="13"/>
                      <a:pt x="3" y="14"/>
                    </a:cubicBezTo>
                    <a:cubicBezTo>
                      <a:pt x="4" y="15"/>
                      <a:pt x="10" y="22"/>
                      <a:pt x="10" y="22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3" y="21"/>
                      <a:pt x="13" y="21"/>
                      <a:pt x="13" y="2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4" name="Freeform 26"/>
              <p:cNvSpPr>
                <a:spLocks noEditPoint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17981" y="4062413"/>
                <a:ext cx="224276" cy="207962"/>
              </a:xfrm>
              <a:custGeom>
                <a:avLst/>
                <a:gdLst>
                  <a:gd name="T0" fmla="*/ 2147483647 w 57"/>
                  <a:gd name="T1" fmla="*/ 2147483647 h 53"/>
                  <a:gd name="T2" fmla="*/ 2147483647 w 57"/>
                  <a:gd name="T3" fmla="*/ 2147483647 h 53"/>
                  <a:gd name="T4" fmla="*/ 2147483647 w 57"/>
                  <a:gd name="T5" fmla="*/ 2147483647 h 53"/>
                  <a:gd name="T6" fmla="*/ 2147483647 w 57"/>
                  <a:gd name="T7" fmla="*/ 2147483647 h 53"/>
                  <a:gd name="T8" fmla="*/ 2147483647 w 57"/>
                  <a:gd name="T9" fmla="*/ 2147483647 h 53"/>
                  <a:gd name="T10" fmla="*/ 2147483647 w 57"/>
                  <a:gd name="T11" fmla="*/ 2147483647 h 53"/>
                  <a:gd name="T12" fmla="*/ 2147483647 w 57"/>
                  <a:gd name="T13" fmla="*/ 2147483647 h 53"/>
                  <a:gd name="T14" fmla="*/ 2147483647 w 57"/>
                  <a:gd name="T15" fmla="*/ 2147483647 h 53"/>
                  <a:gd name="T16" fmla="*/ 2147483647 w 57"/>
                  <a:gd name="T17" fmla="*/ 2147483647 h 53"/>
                  <a:gd name="T18" fmla="*/ 2147483647 w 57"/>
                  <a:gd name="T19" fmla="*/ 2147483647 h 53"/>
                  <a:gd name="T20" fmla="*/ 2147483647 w 57"/>
                  <a:gd name="T21" fmla="*/ 2147483647 h 53"/>
                  <a:gd name="T22" fmla="*/ 2147483647 w 57"/>
                  <a:gd name="T23" fmla="*/ 2147483647 h 53"/>
                  <a:gd name="T24" fmla="*/ 2147483647 w 57"/>
                  <a:gd name="T25" fmla="*/ 2147483647 h 53"/>
                  <a:gd name="T26" fmla="*/ 0 w 57"/>
                  <a:gd name="T27" fmla="*/ 2147483647 h 53"/>
                  <a:gd name="T28" fmla="*/ 2147483647 w 57"/>
                  <a:gd name="T29" fmla="*/ 2147483647 h 53"/>
                  <a:gd name="T30" fmla="*/ 2147483647 w 57"/>
                  <a:gd name="T31" fmla="*/ 2147483647 h 53"/>
                  <a:gd name="T32" fmla="*/ 2147483647 w 57"/>
                  <a:gd name="T33" fmla="*/ 2147483647 h 53"/>
                  <a:gd name="T34" fmla="*/ 2147483647 w 57"/>
                  <a:gd name="T35" fmla="*/ 2147483647 h 53"/>
                  <a:gd name="T36" fmla="*/ 2147483647 w 57"/>
                  <a:gd name="T37" fmla="*/ 2147483647 h 53"/>
                  <a:gd name="T38" fmla="*/ 2147483647 w 57"/>
                  <a:gd name="T39" fmla="*/ 2147483647 h 53"/>
                  <a:gd name="T40" fmla="*/ 2147483647 w 57"/>
                  <a:gd name="T41" fmla="*/ 2147483647 h 53"/>
                  <a:gd name="T42" fmla="*/ 2147483647 w 57"/>
                  <a:gd name="T43" fmla="*/ 2147483647 h 53"/>
                  <a:gd name="T44" fmla="*/ 2147483647 w 57"/>
                  <a:gd name="T45" fmla="*/ 2147483647 h 53"/>
                  <a:gd name="T46" fmla="*/ 2147483647 w 57"/>
                  <a:gd name="T47" fmla="*/ 2147483647 h 53"/>
                  <a:gd name="T48" fmla="*/ 2147483647 w 57"/>
                  <a:gd name="T49" fmla="*/ 2147483647 h 53"/>
                  <a:gd name="T50" fmla="*/ 2147483647 w 57"/>
                  <a:gd name="T51" fmla="*/ 2147483647 h 53"/>
                  <a:gd name="T52" fmla="*/ 2147483647 w 57"/>
                  <a:gd name="T53" fmla="*/ 2147483647 h 53"/>
                  <a:gd name="T54" fmla="*/ 2147483647 w 57"/>
                  <a:gd name="T55" fmla="*/ 2147483647 h 53"/>
                  <a:gd name="T56" fmla="*/ 2147483647 w 57"/>
                  <a:gd name="T57" fmla="*/ 2147483647 h 53"/>
                  <a:gd name="T58" fmla="*/ 2147483647 w 57"/>
                  <a:gd name="T59" fmla="*/ 2147483647 h 53"/>
                  <a:gd name="T60" fmla="*/ 2147483647 w 57"/>
                  <a:gd name="T61" fmla="*/ 2147483647 h 53"/>
                  <a:gd name="T62" fmla="*/ 2147483647 w 57"/>
                  <a:gd name="T63" fmla="*/ 2147483647 h 53"/>
                  <a:gd name="T64" fmla="*/ 2147483647 w 57"/>
                  <a:gd name="T65" fmla="*/ 2147483647 h 53"/>
                  <a:gd name="T66" fmla="*/ 2147483647 w 57"/>
                  <a:gd name="T67" fmla="*/ 2147483647 h 53"/>
                  <a:gd name="T68" fmla="*/ 2147483647 w 57"/>
                  <a:gd name="T69" fmla="*/ 2147483647 h 53"/>
                  <a:gd name="T70" fmla="*/ 2147483647 w 57"/>
                  <a:gd name="T71" fmla="*/ 2147483647 h 53"/>
                  <a:gd name="T72" fmla="*/ 2147483647 w 57"/>
                  <a:gd name="T73" fmla="*/ 2147483647 h 53"/>
                  <a:gd name="T74" fmla="*/ 2147483647 w 57"/>
                  <a:gd name="T75" fmla="*/ 2147483647 h 53"/>
                  <a:gd name="T76" fmla="*/ 2147483647 w 57"/>
                  <a:gd name="T77" fmla="*/ 2147483647 h 53"/>
                  <a:gd name="T78" fmla="*/ 2147483647 w 57"/>
                  <a:gd name="T79" fmla="*/ 2147483647 h 53"/>
                  <a:gd name="T80" fmla="*/ 2147483647 w 57"/>
                  <a:gd name="T81" fmla="*/ 2147483647 h 53"/>
                  <a:gd name="T82" fmla="*/ 2147483647 w 57"/>
                  <a:gd name="T83" fmla="*/ 2147483647 h 53"/>
                  <a:gd name="T84" fmla="*/ 2147483647 w 57"/>
                  <a:gd name="T85" fmla="*/ 2147483647 h 53"/>
                  <a:gd name="T86" fmla="*/ 2147483647 w 57"/>
                  <a:gd name="T87" fmla="*/ 2147483647 h 53"/>
                  <a:gd name="T88" fmla="*/ 2147483647 w 57"/>
                  <a:gd name="T89" fmla="*/ 2147483647 h 53"/>
                  <a:gd name="T90" fmla="*/ 2147483647 w 57"/>
                  <a:gd name="T91" fmla="*/ 2147483647 h 53"/>
                  <a:gd name="T92" fmla="*/ 2147483647 w 57"/>
                  <a:gd name="T93" fmla="*/ 2147483647 h 53"/>
                  <a:gd name="T94" fmla="*/ 2147483647 w 57"/>
                  <a:gd name="T95" fmla="*/ 2147483647 h 53"/>
                  <a:gd name="T96" fmla="*/ 2147483647 w 57"/>
                  <a:gd name="T97" fmla="*/ 2147483647 h 53"/>
                  <a:gd name="T98" fmla="*/ 2147483647 w 57"/>
                  <a:gd name="T99" fmla="*/ 2147483647 h 53"/>
                  <a:gd name="T100" fmla="*/ 2147483647 w 57"/>
                  <a:gd name="T101" fmla="*/ 2147483647 h 5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57"/>
                  <a:gd name="T154" fmla="*/ 0 h 53"/>
                  <a:gd name="T155" fmla="*/ 57 w 57"/>
                  <a:gd name="T156" fmla="*/ 53 h 53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57" h="53">
                    <a:moveTo>
                      <a:pt x="55" y="17"/>
                    </a:moveTo>
                    <a:cubicBezTo>
                      <a:pt x="54" y="16"/>
                      <a:pt x="53" y="12"/>
                      <a:pt x="53" y="10"/>
                    </a:cubicBezTo>
                    <a:cubicBezTo>
                      <a:pt x="51" y="10"/>
                      <a:pt x="52" y="10"/>
                      <a:pt x="52" y="9"/>
                    </a:cubicBezTo>
                    <a:cubicBezTo>
                      <a:pt x="52" y="10"/>
                      <a:pt x="49" y="11"/>
                      <a:pt x="47" y="11"/>
                    </a:cubicBezTo>
                    <a:cubicBezTo>
                      <a:pt x="46" y="11"/>
                      <a:pt x="38" y="9"/>
                      <a:pt x="37" y="8"/>
                    </a:cubicBezTo>
                    <a:cubicBezTo>
                      <a:pt x="37" y="6"/>
                      <a:pt x="32" y="1"/>
                      <a:pt x="31" y="1"/>
                    </a:cubicBezTo>
                    <a:cubicBezTo>
                      <a:pt x="29" y="1"/>
                      <a:pt x="27" y="0"/>
                      <a:pt x="26" y="2"/>
                    </a:cubicBezTo>
                    <a:cubicBezTo>
                      <a:pt x="24" y="4"/>
                      <a:pt x="22" y="5"/>
                      <a:pt x="22" y="7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9" y="11"/>
                      <a:pt x="19" y="15"/>
                      <a:pt x="18" y="16"/>
                    </a:cubicBezTo>
                    <a:cubicBezTo>
                      <a:pt x="17" y="16"/>
                      <a:pt x="13" y="15"/>
                      <a:pt x="13" y="15"/>
                    </a:cubicBezTo>
                    <a:cubicBezTo>
                      <a:pt x="13" y="15"/>
                      <a:pt x="11" y="11"/>
                      <a:pt x="10" y="13"/>
                    </a:cubicBezTo>
                    <a:cubicBezTo>
                      <a:pt x="9" y="15"/>
                      <a:pt x="6" y="16"/>
                      <a:pt x="4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0" y="15"/>
                      <a:pt x="3" y="24"/>
                      <a:pt x="4" y="24"/>
                    </a:cubicBezTo>
                    <a:cubicBezTo>
                      <a:pt x="5" y="24"/>
                      <a:pt x="7" y="22"/>
                      <a:pt x="8" y="22"/>
                    </a:cubicBezTo>
                    <a:cubicBezTo>
                      <a:pt x="10" y="22"/>
                      <a:pt x="13" y="21"/>
                      <a:pt x="13" y="22"/>
                    </a:cubicBezTo>
                    <a:cubicBezTo>
                      <a:pt x="13" y="23"/>
                      <a:pt x="14" y="28"/>
                      <a:pt x="15" y="30"/>
                    </a:cubicBezTo>
                    <a:cubicBezTo>
                      <a:pt x="17" y="32"/>
                      <a:pt x="14" y="34"/>
                      <a:pt x="18" y="36"/>
                    </a:cubicBezTo>
                    <a:cubicBezTo>
                      <a:pt x="21" y="38"/>
                      <a:pt x="25" y="41"/>
                      <a:pt x="27" y="41"/>
                    </a:cubicBezTo>
                    <a:cubicBezTo>
                      <a:pt x="29" y="42"/>
                      <a:pt x="34" y="45"/>
                      <a:pt x="36" y="47"/>
                    </a:cubicBezTo>
                    <a:cubicBezTo>
                      <a:pt x="37" y="49"/>
                      <a:pt x="40" y="51"/>
                      <a:pt x="43" y="51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1" y="49"/>
                      <a:pt x="35" y="40"/>
                      <a:pt x="34" y="40"/>
                    </a:cubicBezTo>
                    <a:cubicBezTo>
                      <a:pt x="33" y="40"/>
                      <a:pt x="28" y="34"/>
                      <a:pt x="27" y="33"/>
                    </a:cubicBezTo>
                    <a:cubicBezTo>
                      <a:pt x="27" y="31"/>
                      <a:pt x="23" y="24"/>
                      <a:pt x="23" y="24"/>
                    </a:cubicBezTo>
                    <a:cubicBezTo>
                      <a:pt x="23" y="24"/>
                      <a:pt x="22" y="20"/>
                      <a:pt x="23" y="20"/>
                    </a:cubicBezTo>
                    <a:cubicBezTo>
                      <a:pt x="24" y="20"/>
                      <a:pt x="25" y="24"/>
                      <a:pt x="28" y="22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31" y="19"/>
                      <a:pt x="35" y="18"/>
                      <a:pt x="37" y="19"/>
                    </a:cubicBezTo>
                    <a:cubicBezTo>
                      <a:pt x="38" y="20"/>
                      <a:pt x="42" y="21"/>
                      <a:pt x="44" y="21"/>
                    </a:cubicBezTo>
                    <a:cubicBezTo>
                      <a:pt x="46" y="21"/>
                      <a:pt x="49" y="20"/>
                      <a:pt x="50" y="21"/>
                    </a:cubicBezTo>
                    <a:cubicBezTo>
                      <a:pt x="51" y="22"/>
                      <a:pt x="49" y="25"/>
                      <a:pt x="54" y="23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57" y="19"/>
                      <a:pt x="56" y="18"/>
                      <a:pt x="55" y="17"/>
                    </a:cubicBezTo>
                    <a:close/>
                    <a:moveTo>
                      <a:pt x="8" y="24"/>
                    </a:moveTo>
                    <a:cubicBezTo>
                      <a:pt x="8" y="24"/>
                      <a:pt x="10" y="29"/>
                      <a:pt x="11" y="30"/>
                    </a:cubicBezTo>
                    <a:cubicBezTo>
                      <a:pt x="11" y="31"/>
                      <a:pt x="10" y="24"/>
                      <a:pt x="10" y="24"/>
                    </a:cubicBezTo>
                    <a:lnTo>
                      <a:pt x="8" y="24"/>
                    </a:lnTo>
                    <a:close/>
                    <a:moveTo>
                      <a:pt x="14" y="36"/>
                    </a:moveTo>
                    <a:cubicBezTo>
                      <a:pt x="14" y="36"/>
                      <a:pt x="16" y="38"/>
                      <a:pt x="18" y="40"/>
                    </a:cubicBezTo>
                    <a:cubicBezTo>
                      <a:pt x="20" y="41"/>
                      <a:pt x="18" y="38"/>
                      <a:pt x="18" y="38"/>
                    </a:cubicBezTo>
                    <a:lnTo>
                      <a:pt x="14" y="36"/>
                    </a:lnTo>
                    <a:close/>
                    <a:moveTo>
                      <a:pt x="26" y="43"/>
                    </a:moveTo>
                    <a:cubicBezTo>
                      <a:pt x="26" y="43"/>
                      <a:pt x="29" y="46"/>
                      <a:pt x="31" y="48"/>
                    </a:cubicBezTo>
                    <a:cubicBezTo>
                      <a:pt x="33" y="49"/>
                      <a:pt x="31" y="45"/>
                      <a:pt x="31" y="45"/>
                    </a:cubicBezTo>
                    <a:lnTo>
                      <a:pt x="26" y="43"/>
                    </a:lnTo>
                    <a:close/>
                    <a:moveTo>
                      <a:pt x="37" y="49"/>
                    </a:moveTo>
                    <a:cubicBezTo>
                      <a:pt x="34" y="50"/>
                      <a:pt x="34" y="50"/>
                      <a:pt x="34" y="50"/>
                    </a:cubicBezTo>
                    <a:cubicBezTo>
                      <a:pt x="35" y="50"/>
                      <a:pt x="38" y="52"/>
                      <a:pt x="39" y="53"/>
                    </a:cubicBezTo>
                    <a:cubicBezTo>
                      <a:pt x="41" y="53"/>
                      <a:pt x="37" y="49"/>
                      <a:pt x="37" y="49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5" name="Freeform 27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15050" y="4037014"/>
                <a:ext cx="123132" cy="85725"/>
              </a:xfrm>
              <a:custGeom>
                <a:avLst/>
                <a:gdLst>
                  <a:gd name="T0" fmla="*/ 2147483647 w 31"/>
                  <a:gd name="T1" fmla="*/ 2147483647 h 22"/>
                  <a:gd name="T2" fmla="*/ 2147483647 w 31"/>
                  <a:gd name="T3" fmla="*/ 2147483647 h 22"/>
                  <a:gd name="T4" fmla="*/ 2147483647 w 31"/>
                  <a:gd name="T5" fmla="*/ 2147483647 h 22"/>
                  <a:gd name="T6" fmla="*/ 2147483647 w 31"/>
                  <a:gd name="T7" fmla="*/ 2147483647 h 22"/>
                  <a:gd name="T8" fmla="*/ 2147483647 w 31"/>
                  <a:gd name="T9" fmla="*/ 2147483647 h 22"/>
                  <a:gd name="T10" fmla="*/ 2147483647 w 31"/>
                  <a:gd name="T11" fmla="*/ 2147483647 h 22"/>
                  <a:gd name="T12" fmla="*/ 2147483647 w 31"/>
                  <a:gd name="T13" fmla="*/ 2147483647 h 22"/>
                  <a:gd name="T14" fmla="*/ 2147483647 w 31"/>
                  <a:gd name="T15" fmla="*/ 2147483647 h 22"/>
                  <a:gd name="T16" fmla="*/ 2147483647 w 31"/>
                  <a:gd name="T17" fmla="*/ 2147483647 h 22"/>
                  <a:gd name="T18" fmla="*/ 2147483647 w 31"/>
                  <a:gd name="T19" fmla="*/ 2147483647 h 22"/>
                  <a:gd name="T20" fmla="*/ 2147483647 w 31"/>
                  <a:gd name="T21" fmla="*/ 2147483647 h 22"/>
                  <a:gd name="T22" fmla="*/ 2147483647 w 31"/>
                  <a:gd name="T23" fmla="*/ 2147483647 h 22"/>
                  <a:gd name="T24" fmla="*/ 2147483647 w 31"/>
                  <a:gd name="T25" fmla="*/ 2147483647 h 22"/>
                  <a:gd name="T26" fmla="*/ 2147483647 w 31"/>
                  <a:gd name="T27" fmla="*/ 2147483647 h 22"/>
                  <a:gd name="T28" fmla="*/ 2147483647 w 31"/>
                  <a:gd name="T29" fmla="*/ 2147483647 h 22"/>
                  <a:gd name="T30" fmla="*/ 2147483647 w 31"/>
                  <a:gd name="T31" fmla="*/ 2147483647 h 22"/>
                  <a:gd name="T32" fmla="*/ 2147483647 w 31"/>
                  <a:gd name="T33" fmla="*/ 2147483647 h 22"/>
                  <a:gd name="T34" fmla="*/ 2147483647 w 31"/>
                  <a:gd name="T35" fmla="*/ 2147483647 h 22"/>
                  <a:gd name="T36" fmla="*/ 2147483647 w 31"/>
                  <a:gd name="T37" fmla="*/ 2147483647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22"/>
                  <a:gd name="T59" fmla="*/ 31 w 31"/>
                  <a:gd name="T60" fmla="*/ 22 h 2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22">
                    <a:moveTo>
                      <a:pt x="4" y="18"/>
                    </a:moveTo>
                    <a:cubicBezTo>
                      <a:pt x="5" y="19"/>
                      <a:pt x="3" y="21"/>
                      <a:pt x="3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4" y="21"/>
                      <a:pt x="4" y="21"/>
                      <a:pt x="5" y="21"/>
                    </a:cubicBezTo>
                    <a:cubicBezTo>
                      <a:pt x="7" y="22"/>
                      <a:pt x="10" y="21"/>
                      <a:pt x="11" y="19"/>
                    </a:cubicBezTo>
                    <a:cubicBezTo>
                      <a:pt x="12" y="17"/>
                      <a:pt x="14" y="21"/>
                      <a:pt x="14" y="21"/>
                    </a:cubicBezTo>
                    <a:cubicBezTo>
                      <a:pt x="14" y="21"/>
                      <a:pt x="18" y="22"/>
                      <a:pt x="19" y="22"/>
                    </a:cubicBezTo>
                    <a:cubicBezTo>
                      <a:pt x="20" y="21"/>
                      <a:pt x="20" y="17"/>
                      <a:pt x="21" y="17"/>
                    </a:cubicBezTo>
                    <a:cubicBezTo>
                      <a:pt x="22" y="16"/>
                      <a:pt x="23" y="15"/>
                      <a:pt x="23" y="13"/>
                    </a:cubicBezTo>
                    <a:cubicBezTo>
                      <a:pt x="23" y="11"/>
                      <a:pt x="25" y="10"/>
                      <a:pt x="27" y="8"/>
                    </a:cubicBezTo>
                    <a:cubicBezTo>
                      <a:pt x="28" y="7"/>
                      <a:pt x="30" y="7"/>
                      <a:pt x="31" y="7"/>
                    </a:cubicBezTo>
                    <a:cubicBezTo>
                      <a:pt x="30" y="5"/>
                      <a:pt x="29" y="3"/>
                      <a:pt x="29" y="2"/>
                    </a:cubicBezTo>
                    <a:cubicBezTo>
                      <a:pt x="28" y="0"/>
                      <a:pt x="26" y="3"/>
                      <a:pt x="26" y="3"/>
                    </a:cubicBezTo>
                    <a:cubicBezTo>
                      <a:pt x="26" y="3"/>
                      <a:pt x="22" y="5"/>
                      <a:pt x="19" y="4"/>
                    </a:cubicBezTo>
                    <a:cubicBezTo>
                      <a:pt x="17" y="4"/>
                      <a:pt x="16" y="4"/>
                      <a:pt x="15" y="5"/>
                    </a:cubicBezTo>
                    <a:cubicBezTo>
                      <a:pt x="13" y="7"/>
                      <a:pt x="14" y="7"/>
                      <a:pt x="10" y="7"/>
                    </a:cubicBezTo>
                    <a:cubicBezTo>
                      <a:pt x="6" y="7"/>
                      <a:pt x="4" y="7"/>
                      <a:pt x="2" y="7"/>
                    </a:cubicBezTo>
                    <a:cubicBezTo>
                      <a:pt x="0" y="8"/>
                      <a:pt x="1" y="11"/>
                      <a:pt x="1" y="12"/>
                    </a:cubicBezTo>
                    <a:cubicBezTo>
                      <a:pt x="1" y="14"/>
                      <a:pt x="2" y="17"/>
                      <a:pt x="4" y="1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6" name="Freeform 28"/>
              <p:cNvSpPr>
                <a:spLocks noEditPoint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827922" y="3949701"/>
                <a:ext cx="253592" cy="195263"/>
              </a:xfrm>
              <a:custGeom>
                <a:avLst/>
                <a:gdLst>
                  <a:gd name="T0" fmla="*/ 2147483647 w 64"/>
                  <a:gd name="T1" fmla="*/ 2147483647 h 50"/>
                  <a:gd name="T2" fmla="*/ 2147483647 w 64"/>
                  <a:gd name="T3" fmla="*/ 2147483647 h 50"/>
                  <a:gd name="T4" fmla="*/ 2147483647 w 64"/>
                  <a:gd name="T5" fmla="*/ 2147483647 h 50"/>
                  <a:gd name="T6" fmla="*/ 2147483647 w 64"/>
                  <a:gd name="T7" fmla="*/ 2147483647 h 50"/>
                  <a:gd name="T8" fmla="*/ 2147483647 w 64"/>
                  <a:gd name="T9" fmla="*/ 2147483647 h 50"/>
                  <a:gd name="T10" fmla="*/ 2147483647 w 64"/>
                  <a:gd name="T11" fmla="*/ 2147483647 h 50"/>
                  <a:gd name="T12" fmla="*/ 2147483647 w 64"/>
                  <a:gd name="T13" fmla="*/ 2147483647 h 50"/>
                  <a:gd name="T14" fmla="*/ 2147483647 w 64"/>
                  <a:gd name="T15" fmla="*/ 2147483647 h 50"/>
                  <a:gd name="T16" fmla="*/ 2147483647 w 64"/>
                  <a:gd name="T17" fmla="*/ 2147483647 h 50"/>
                  <a:gd name="T18" fmla="*/ 2147483647 w 64"/>
                  <a:gd name="T19" fmla="*/ 2147483647 h 50"/>
                  <a:gd name="T20" fmla="*/ 2147483647 w 64"/>
                  <a:gd name="T21" fmla="*/ 2147483647 h 50"/>
                  <a:gd name="T22" fmla="*/ 2147483647 w 64"/>
                  <a:gd name="T23" fmla="*/ 2147483647 h 50"/>
                  <a:gd name="T24" fmla="*/ 2147483647 w 64"/>
                  <a:gd name="T25" fmla="*/ 2147483647 h 50"/>
                  <a:gd name="T26" fmla="*/ 2147483647 w 64"/>
                  <a:gd name="T27" fmla="*/ 2147483647 h 50"/>
                  <a:gd name="T28" fmla="*/ 2147483647 w 64"/>
                  <a:gd name="T29" fmla="*/ 2147483647 h 50"/>
                  <a:gd name="T30" fmla="*/ 2147483647 w 64"/>
                  <a:gd name="T31" fmla="*/ 2147483647 h 50"/>
                  <a:gd name="T32" fmla="*/ 2147483647 w 64"/>
                  <a:gd name="T33" fmla="*/ 2147483647 h 50"/>
                  <a:gd name="T34" fmla="*/ 2147483647 w 64"/>
                  <a:gd name="T35" fmla="*/ 2147483647 h 50"/>
                  <a:gd name="T36" fmla="*/ 2147483647 w 64"/>
                  <a:gd name="T37" fmla="*/ 2147483647 h 50"/>
                  <a:gd name="T38" fmla="*/ 2147483647 w 64"/>
                  <a:gd name="T39" fmla="*/ 2147483647 h 50"/>
                  <a:gd name="T40" fmla="*/ 0 w 64"/>
                  <a:gd name="T41" fmla="*/ 2147483647 h 50"/>
                  <a:gd name="T42" fmla="*/ 2147483647 w 64"/>
                  <a:gd name="T43" fmla="*/ 2147483647 h 50"/>
                  <a:gd name="T44" fmla="*/ 2147483647 w 64"/>
                  <a:gd name="T45" fmla="*/ 2147483647 h 50"/>
                  <a:gd name="T46" fmla="*/ 2147483647 w 64"/>
                  <a:gd name="T47" fmla="*/ 2147483647 h 50"/>
                  <a:gd name="T48" fmla="*/ 2147483647 w 64"/>
                  <a:gd name="T49" fmla="*/ 2147483647 h 50"/>
                  <a:gd name="T50" fmla="*/ 2147483647 w 64"/>
                  <a:gd name="T51" fmla="*/ 2147483647 h 50"/>
                  <a:gd name="T52" fmla="*/ 2147483647 w 64"/>
                  <a:gd name="T53" fmla="*/ 2147483647 h 50"/>
                  <a:gd name="T54" fmla="*/ 2147483647 w 64"/>
                  <a:gd name="T55" fmla="*/ 2147483647 h 50"/>
                  <a:gd name="T56" fmla="*/ 2147483647 w 64"/>
                  <a:gd name="T57" fmla="*/ 2147483647 h 50"/>
                  <a:gd name="T58" fmla="*/ 2147483647 w 64"/>
                  <a:gd name="T59" fmla="*/ 2147483647 h 50"/>
                  <a:gd name="T60" fmla="*/ 2147483647 w 64"/>
                  <a:gd name="T61" fmla="*/ 2147483647 h 50"/>
                  <a:gd name="T62" fmla="*/ 2147483647 w 64"/>
                  <a:gd name="T63" fmla="*/ 2147483647 h 50"/>
                  <a:gd name="T64" fmla="*/ 2147483647 w 64"/>
                  <a:gd name="T65" fmla="*/ 2147483647 h 50"/>
                  <a:gd name="T66" fmla="*/ 2147483647 w 64"/>
                  <a:gd name="T67" fmla="*/ 2147483647 h 50"/>
                  <a:gd name="T68" fmla="*/ 2147483647 w 64"/>
                  <a:gd name="T69" fmla="*/ 2147483647 h 50"/>
                  <a:gd name="T70" fmla="*/ 2147483647 w 64"/>
                  <a:gd name="T71" fmla="*/ 2147483647 h 50"/>
                  <a:gd name="T72" fmla="*/ 2147483647 w 64"/>
                  <a:gd name="T73" fmla="*/ 2147483647 h 50"/>
                  <a:gd name="T74" fmla="*/ 2147483647 w 64"/>
                  <a:gd name="T75" fmla="*/ 2147483647 h 50"/>
                  <a:gd name="T76" fmla="*/ 2147483647 w 64"/>
                  <a:gd name="T77" fmla="*/ 2147483647 h 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64"/>
                  <a:gd name="T118" fmla="*/ 0 h 50"/>
                  <a:gd name="T119" fmla="*/ 64 w 64"/>
                  <a:gd name="T120" fmla="*/ 50 h 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64" h="50">
                    <a:moveTo>
                      <a:pt x="50" y="50"/>
                    </a:moveTo>
                    <a:cubicBezTo>
                      <a:pt x="50" y="50"/>
                      <a:pt x="50" y="50"/>
                      <a:pt x="50" y="50"/>
                    </a:cubicBezTo>
                    <a:cubicBezTo>
                      <a:pt x="50" y="49"/>
                      <a:pt x="49" y="48"/>
                      <a:pt x="49" y="48"/>
                    </a:cubicBezTo>
                    <a:cubicBezTo>
                      <a:pt x="49" y="48"/>
                      <a:pt x="50" y="49"/>
                      <a:pt x="50" y="50"/>
                    </a:cubicBezTo>
                    <a:close/>
                    <a:moveTo>
                      <a:pt x="1" y="30"/>
                    </a:move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lose/>
                    <a:moveTo>
                      <a:pt x="62" y="7"/>
                    </a:moveTo>
                    <a:cubicBezTo>
                      <a:pt x="61" y="7"/>
                      <a:pt x="56" y="3"/>
                      <a:pt x="56" y="2"/>
                    </a:cubicBezTo>
                    <a:cubicBezTo>
                      <a:pt x="56" y="1"/>
                      <a:pt x="56" y="1"/>
                      <a:pt x="57" y="1"/>
                    </a:cubicBezTo>
                    <a:cubicBezTo>
                      <a:pt x="56" y="1"/>
                      <a:pt x="55" y="2"/>
                      <a:pt x="53" y="1"/>
                    </a:cubicBezTo>
                    <a:cubicBezTo>
                      <a:pt x="50" y="1"/>
                      <a:pt x="50" y="0"/>
                      <a:pt x="47" y="1"/>
                    </a:cubicBezTo>
                    <a:cubicBezTo>
                      <a:pt x="43" y="2"/>
                      <a:pt x="41" y="1"/>
                      <a:pt x="41" y="1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6" y="5"/>
                      <a:pt x="33" y="5"/>
                      <a:pt x="31" y="6"/>
                    </a:cubicBezTo>
                    <a:cubicBezTo>
                      <a:pt x="29" y="7"/>
                      <a:pt x="25" y="8"/>
                      <a:pt x="22" y="9"/>
                    </a:cubicBezTo>
                    <a:cubicBezTo>
                      <a:pt x="20" y="11"/>
                      <a:pt x="14" y="12"/>
                      <a:pt x="12" y="10"/>
                    </a:cubicBezTo>
                    <a:cubicBezTo>
                      <a:pt x="9" y="9"/>
                      <a:pt x="8" y="7"/>
                      <a:pt x="7" y="10"/>
                    </a:cubicBezTo>
                    <a:cubicBezTo>
                      <a:pt x="5" y="13"/>
                      <a:pt x="4" y="15"/>
                      <a:pt x="3" y="16"/>
                    </a:cubicBezTo>
                    <a:cubicBezTo>
                      <a:pt x="1" y="16"/>
                      <a:pt x="0" y="24"/>
                      <a:pt x="0" y="25"/>
                    </a:cubicBezTo>
                    <a:cubicBezTo>
                      <a:pt x="0" y="26"/>
                      <a:pt x="1" y="28"/>
                      <a:pt x="2" y="30"/>
                    </a:cubicBezTo>
                    <a:cubicBezTo>
                      <a:pt x="2" y="30"/>
                      <a:pt x="2" y="30"/>
                      <a:pt x="3" y="30"/>
                    </a:cubicBezTo>
                    <a:cubicBezTo>
                      <a:pt x="4" y="30"/>
                      <a:pt x="9" y="35"/>
                      <a:pt x="9" y="37"/>
                    </a:cubicBezTo>
                    <a:cubicBezTo>
                      <a:pt x="10" y="38"/>
                      <a:pt x="18" y="40"/>
                      <a:pt x="19" y="40"/>
                    </a:cubicBezTo>
                    <a:cubicBezTo>
                      <a:pt x="21" y="40"/>
                      <a:pt x="24" y="39"/>
                      <a:pt x="24" y="38"/>
                    </a:cubicBezTo>
                    <a:cubicBezTo>
                      <a:pt x="24" y="39"/>
                      <a:pt x="23" y="39"/>
                      <a:pt x="25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8"/>
                      <a:pt x="26" y="37"/>
                      <a:pt x="27" y="36"/>
                    </a:cubicBezTo>
                    <a:cubicBezTo>
                      <a:pt x="28" y="35"/>
                      <a:pt x="32" y="34"/>
                      <a:pt x="33" y="34"/>
                    </a:cubicBezTo>
                    <a:cubicBezTo>
                      <a:pt x="34" y="34"/>
                      <a:pt x="38" y="35"/>
                      <a:pt x="38" y="35"/>
                    </a:cubicBezTo>
                    <a:cubicBezTo>
                      <a:pt x="38" y="35"/>
                      <a:pt x="42" y="33"/>
                      <a:pt x="43" y="33"/>
                    </a:cubicBezTo>
                    <a:cubicBezTo>
                      <a:pt x="45" y="33"/>
                      <a:pt x="47" y="32"/>
                      <a:pt x="48" y="30"/>
                    </a:cubicBezTo>
                    <a:cubicBezTo>
                      <a:pt x="48" y="28"/>
                      <a:pt x="51" y="24"/>
                      <a:pt x="51" y="23"/>
                    </a:cubicBezTo>
                    <a:cubicBezTo>
                      <a:pt x="52" y="22"/>
                      <a:pt x="52" y="18"/>
                      <a:pt x="56" y="15"/>
                    </a:cubicBezTo>
                    <a:cubicBezTo>
                      <a:pt x="59" y="13"/>
                      <a:pt x="62" y="11"/>
                      <a:pt x="62" y="11"/>
                    </a:cubicBezTo>
                    <a:cubicBezTo>
                      <a:pt x="62" y="11"/>
                      <a:pt x="63" y="10"/>
                      <a:pt x="64" y="9"/>
                    </a:cubicBezTo>
                    <a:cubicBezTo>
                      <a:pt x="64" y="8"/>
                      <a:pt x="63" y="7"/>
                      <a:pt x="62" y="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7" name="Freeform 29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848443" y="3886200"/>
                <a:ext cx="233070" cy="109538"/>
              </a:xfrm>
              <a:custGeom>
                <a:avLst/>
                <a:gdLst>
                  <a:gd name="T0" fmla="*/ 2147483647 w 59"/>
                  <a:gd name="T1" fmla="*/ 2147483647 h 28"/>
                  <a:gd name="T2" fmla="*/ 2147483647 w 59"/>
                  <a:gd name="T3" fmla="*/ 2147483647 h 28"/>
                  <a:gd name="T4" fmla="*/ 2147483647 w 59"/>
                  <a:gd name="T5" fmla="*/ 2147483647 h 28"/>
                  <a:gd name="T6" fmla="*/ 2147483647 w 59"/>
                  <a:gd name="T7" fmla="*/ 2147483647 h 28"/>
                  <a:gd name="T8" fmla="*/ 2147483647 w 59"/>
                  <a:gd name="T9" fmla="*/ 2147483647 h 28"/>
                  <a:gd name="T10" fmla="*/ 2147483647 w 59"/>
                  <a:gd name="T11" fmla="*/ 2147483647 h 28"/>
                  <a:gd name="T12" fmla="*/ 2147483647 w 59"/>
                  <a:gd name="T13" fmla="*/ 2147483647 h 28"/>
                  <a:gd name="T14" fmla="*/ 2147483647 w 59"/>
                  <a:gd name="T15" fmla="*/ 2147483647 h 28"/>
                  <a:gd name="T16" fmla="*/ 2147483647 w 59"/>
                  <a:gd name="T17" fmla="*/ 2147483647 h 28"/>
                  <a:gd name="T18" fmla="*/ 2147483647 w 59"/>
                  <a:gd name="T19" fmla="*/ 0 h 28"/>
                  <a:gd name="T20" fmla="*/ 2147483647 w 59"/>
                  <a:gd name="T21" fmla="*/ 2147483647 h 28"/>
                  <a:gd name="T22" fmla="*/ 2147483647 w 59"/>
                  <a:gd name="T23" fmla="*/ 2147483647 h 28"/>
                  <a:gd name="T24" fmla="*/ 2147483647 w 59"/>
                  <a:gd name="T25" fmla="*/ 2147483647 h 28"/>
                  <a:gd name="T26" fmla="*/ 2147483647 w 59"/>
                  <a:gd name="T27" fmla="*/ 2147483647 h 28"/>
                  <a:gd name="T28" fmla="*/ 0 w 59"/>
                  <a:gd name="T29" fmla="*/ 2147483647 h 28"/>
                  <a:gd name="T30" fmla="*/ 2147483647 w 59"/>
                  <a:gd name="T31" fmla="*/ 2147483647 h 28"/>
                  <a:gd name="T32" fmla="*/ 2147483647 w 59"/>
                  <a:gd name="T33" fmla="*/ 2147483647 h 28"/>
                  <a:gd name="T34" fmla="*/ 2147483647 w 59"/>
                  <a:gd name="T35" fmla="*/ 2147483647 h 28"/>
                  <a:gd name="T36" fmla="*/ 2147483647 w 59"/>
                  <a:gd name="T37" fmla="*/ 2147483647 h 28"/>
                  <a:gd name="T38" fmla="*/ 2147483647 w 59"/>
                  <a:gd name="T39" fmla="*/ 2147483647 h 28"/>
                  <a:gd name="T40" fmla="*/ 2147483647 w 59"/>
                  <a:gd name="T41" fmla="*/ 2147483647 h 28"/>
                  <a:gd name="T42" fmla="*/ 2147483647 w 59"/>
                  <a:gd name="T43" fmla="*/ 2147483647 h 28"/>
                  <a:gd name="T44" fmla="*/ 2147483647 w 59"/>
                  <a:gd name="T45" fmla="*/ 2147483647 h 28"/>
                  <a:gd name="T46" fmla="*/ 2147483647 w 59"/>
                  <a:gd name="T47" fmla="*/ 2147483647 h 28"/>
                  <a:gd name="T48" fmla="*/ 2147483647 w 59"/>
                  <a:gd name="T49" fmla="*/ 2147483647 h 28"/>
                  <a:gd name="T50" fmla="*/ 2147483647 w 59"/>
                  <a:gd name="T51" fmla="*/ 2147483647 h 28"/>
                  <a:gd name="T52" fmla="*/ 2147483647 w 59"/>
                  <a:gd name="T53" fmla="*/ 2147483647 h 28"/>
                  <a:gd name="T54" fmla="*/ 2147483647 w 59"/>
                  <a:gd name="T55" fmla="*/ 2147483647 h 2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59"/>
                  <a:gd name="T85" fmla="*/ 0 h 28"/>
                  <a:gd name="T86" fmla="*/ 59 w 59"/>
                  <a:gd name="T87" fmla="*/ 28 h 28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59" h="28">
                    <a:moveTo>
                      <a:pt x="58" y="9"/>
                    </a:moveTo>
                    <a:cubicBezTo>
                      <a:pt x="54" y="9"/>
                      <a:pt x="52" y="5"/>
                      <a:pt x="50" y="4"/>
                    </a:cubicBezTo>
                    <a:cubicBezTo>
                      <a:pt x="47" y="2"/>
                      <a:pt x="45" y="2"/>
                      <a:pt x="43" y="3"/>
                    </a:cubicBezTo>
                    <a:cubicBezTo>
                      <a:pt x="41" y="4"/>
                      <a:pt x="39" y="4"/>
                      <a:pt x="37" y="3"/>
                    </a:cubicBezTo>
                    <a:cubicBezTo>
                      <a:pt x="34" y="2"/>
                      <a:pt x="34" y="4"/>
                      <a:pt x="33" y="6"/>
                    </a:cubicBezTo>
                    <a:cubicBezTo>
                      <a:pt x="31" y="7"/>
                      <a:pt x="29" y="6"/>
                      <a:pt x="29" y="5"/>
                    </a:cubicBezTo>
                    <a:cubicBezTo>
                      <a:pt x="30" y="4"/>
                      <a:pt x="28" y="2"/>
                      <a:pt x="26" y="1"/>
                    </a:cubicBezTo>
                    <a:cubicBezTo>
                      <a:pt x="25" y="0"/>
                      <a:pt x="25" y="1"/>
                      <a:pt x="23" y="3"/>
                    </a:cubicBezTo>
                    <a:cubicBezTo>
                      <a:pt x="21" y="4"/>
                      <a:pt x="20" y="2"/>
                      <a:pt x="20" y="1"/>
                    </a:cubicBezTo>
                    <a:cubicBezTo>
                      <a:pt x="20" y="1"/>
                      <a:pt x="20" y="0"/>
                      <a:pt x="20" y="0"/>
                    </a:cubicBezTo>
                    <a:cubicBezTo>
                      <a:pt x="18" y="1"/>
                      <a:pt x="16" y="2"/>
                      <a:pt x="16" y="2"/>
                    </a:cubicBezTo>
                    <a:cubicBezTo>
                      <a:pt x="15" y="3"/>
                      <a:pt x="14" y="5"/>
                      <a:pt x="12" y="7"/>
                    </a:cubicBezTo>
                    <a:cubicBezTo>
                      <a:pt x="11" y="9"/>
                      <a:pt x="9" y="11"/>
                      <a:pt x="6" y="12"/>
                    </a:cubicBezTo>
                    <a:cubicBezTo>
                      <a:pt x="4" y="12"/>
                      <a:pt x="3" y="11"/>
                      <a:pt x="1" y="13"/>
                    </a:cubicBezTo>
                    <a:cubicBezTo>
                      <a:pt x="0" y="15"/>
                      <a:pt x="0" y="18"/>
                      <a:pt x="0" y="19"/>
                    </a:cubicBezTo>
                    <a:cubicBezTo>
                      <a:pt x="0" y="20"/>
                      <a:pt x="1" y="22"/>
                      <a:pt x="2" y="25"/>
                    </a:cubicBezTo>
                    <a:cubicBezTo>
                      <a:pt x="3" y="23"/>
                      <a:pt x="4" y="25"/>
                      <a:pt x="7" y="26"/>
                    </a:cubicBezTo>
                    <a:cubicBezTo>
                      <a:pt x="9" y="28"/>
                      <a:pt x="15" y="27"/>
                      <a:pt x="17" y="25"/>
                    </a:cubicBezTo>
                    <a:cubicBezTo>
                      <a:pt x="20" y="24"/>
                      <a:pt x="24" y="23"/>
                      <a:pt x="26" y="22"/>
                    </a:cubicBezTo>
                    <a:cubicBezTo>
                      <a:pt x="28" y="21"/>
                      <a:pt x="31" y="21"/>
                      <a:pt x="31" y="21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7"/>
                      <a:pt x="38" y="18"/>
                      <a:pt x="42" y="17"/>
                    </a:cubicBezTo>
                    <a:cubicBezTo>
                      <a:pt x="45" y="16"/>
                      <a:pt x="45" y="17"/>
                      <a:pt x="48" y="17"/>
                    </a:cubicBezTo>
                    <a:cubicBezTo>
                      <a:pt x="50" y="18"/>
                      <a:pt x="51" y="17"/>
                      <a:pt x="52" y="17"/>
                    </a:cubicBez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15"/>
                      <a:pt x="54" y="14"/>
                      <a:pt x="55" y="12"/>
                    </a:cubicBezTo>
                    <a:cubicBezTo>
                      <a:pt x="56" y="10"/>
                      <a:pt x="59" y="10"/>
                      <a:pt x="59" y="10"/>
                    </a:cubicBezTo>
                    <a:lnTo>
                      <a:pt x="58" y="9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8" name="Freeform 30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62279" y="3803651"/>
                <a:ext cx="265320" cy="142875"/>
              </a:xfrm>
              <a:custGeom>
                <a:avLst/>
                <a:gdLst>
                  <a:gd name="T0" fmla="*/ 2147483647 w 67"/>
                  <a:gd name="T1" fmla="*/ 2147483647 h 36"/>
                  <a:gd name="T2" fmla="*/ 2147483647 w 67"/>
                  <a:gd name="T3" fmla="*/ 2147483647 h 36"/>
                  <a:gd name="T4" fmla="*/ 2147483647 w 67"/>
                  <a:gd name="T5" fmla="*/ 2147483647 h 36"/>
                  <a:gd name="T6" fmla="*/ 2147483647 w 67"/>
                  <a:gd name="T7" fmla="*/ 2147483647 h 36"/>
                  <a:gd name="T8" fmla="*/ 2147483647 w 67"/>
                  <a:gd name="T9" fmla="*/ 2147483647 h 36"/>
                  <a:gd name="T10" fmla="*/ 2147483647 w 67"/>
                  <a:gd name="T11" fmla="*/ 2147483647 h 36"/>
                  <a:gd name="T12" fmla="*/ 2147483647 w 67"/>
                  <a:gd name="T13" fmla="*/ 2147483647 h 36"/>
                  <a:gd name="T14" fmla="*/ 2147483647 w 67"/>
                  <a:gd name="T15" fmla="*/ 2147483647 h 36"/>
                  <a:gd name="T16" fmla="*/ 2147483647 w 67"/>
                  <a:gd name="T17" fmla="*/ 2147483647 h 36"/>
                  <a:gd name="T18" fmla="*/ 2147483647 w 67"/>
                  <a:gd name="T19" fmla="*/ 2147483647 h 36"/>
                  <a:gd name="T20" fmla="*/ 2147483647 w 67"/>
                  <a:gd name="T21" fmla="*/ 2147483647 h 36"/>
                  <a:gd name="T22" fmla="*/ 2147483647 w 67"/>
                  <a:gd name="T23" fmla="*/ 2147483647 h 36"/>
                  <a:gd name="T24" fmla="*/ 2147483647 w 67"/>
                  <a:gd name="T25" fmla="*/ 2147483647 h 36"/>
                  <a:gd name="T26" fmla="*/ 2147483647 w 67"/>
                  <a:gd name="T27" fmla="*/ 2147483647 h 36"/>
                  <a:gd name="T28" fmla="*/ 2147483647 w 67"/>
                  <a:gd name="T29" fmla="*/ 2147483647 h 36"/>
                  <a:gd name="T30" fmla="*/ 2147483647 w 67"/>
                  <a:gd name="T31" fmla="*/ 2147483647 h 36"/>
                  <a:gd name="T32" fmla="*/ 2147483647 w 67"/>
                  <a:gd name="T33" fmla="*/ 0 h 36"/>
                  <a:gd name="T34" fmla="*/ 2147483647 w 67"/>
                  <a:gd name="T35" fmla="*/ 2147483647 h 36"/>
                  <a:gd name="T36" fmla="*/ 2147483647 w 67"/>
                  <a:gd name="T37" fmla="*/ 2147483647 h 36"/>
                  <a:gd name="T38" fmla="*/ 2147483647 w 67"/>
                  <a:gd name="T39" fmla="*/ 2147483647 h 36"/>
                  <a:gd name="T40" fmla="*/ 2147483647 w 67"/>
                  <a:gd name="T41" fmla="*/ 2147483647 h 36"/>
                  <a:gd name="T42" fmla="*/ 2147483647 w 67"/>
                  <a:gd name="T43" fmla="*/ 2147483647 h 36"/>
                  <a:gd name="T44" fmla="*/ 2147483647 w 67"/>
                  <a:gd name="T45" fmla="*/ 2147483647 h 36"/>
                  <a:gd name="T46" fmla="*/ 2147483647 w 67"/>
                  <a:gd name="T47" fmla="*/ 2147483647 h 36"/>
                  <a:gd name="T48" fmla="*/ 2147483647 w 67"/>
                  <a:gd name="T49" fmla="*/ 2147483647 h 36"/>
                  <a:gd name="T50" fmla="*/ 2147483647 w 67"/>
                  <a:gd name="T51" fmla="*/ 2147483647 h 36"/>
                  <a:gd name="T52" fmla="*/ 2147483647 w 67"/>
                  <a:gd name="T53" fmla="*/ 2147483647 h 36"/>
                  <a:gd name="T54" fmla="*/ 2147483647 w 67"/>
                  <a:gd name="T55" fmla="*/ 2147483647 h 36"/>
                  <a:gd name="T56" fmla="*/ 2147483647 w 67"/>
                  <a:gd name="T57" fmla="*/ 2147483647 h 36"/>
                  <a:gd name="T58" fmla="*/ 2147483647 w 67"/>
                  <a:gd name="T59" fmla="*/ 2147483647 h 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7"/>
                  <a:gd name="T91" fmla="*/ 0 h 36"/>
                  <a:gd name="T92" fmla="*/ 67 w 67"/>
                  <a:gd name="T93" fmla="*/ 36 h 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7" h="36">
                    <a:moveTo>
                      <a:pt x="48" y="35"/>
                    </a:moveTo>
                    <a:cubicBezTo>
                      <a:pt x="48" y="35"/>
                      <a:pt x="48" y="34"/>
                      <a:pt x="48" y="34"/>
                    </a:cubicBezTo>
                    <a:cubicBezTo>
                      <a:pt x="50" y="32"/>
                      <a:pt x="51" y="33"/>
                      <a:pt x="53" y="33"/>
                    </a:cubicBezTo>
                    <a:cubicBezTo>
                      <a:pt x="56" y="32"/>
                      <a:pt x="58" y="30"/>
                      <a:pt x="59" y="28"/>
                    </a:cubicBezTo>
                    <a:cubicBezTo>
                      <a:pt x="61" y="26"/>
                      <a:pt x="62" y="24"/>
                      <a:pt x="63" y="23"/>
                    </a:cubicBezTo>
                    <a:cubicBezTo>
                      <a:pt x="63" y="23"/>
                      <a:pt x="65" y="22"/>
                      <a:pt x="67" y="21"/>
                    </a:cubicBezTo>
                    <a:cubicBezTo>
                      <a:pt x="66" y="20"/>
                      <a:pt x="64" y="18"/>
                      <a:pt x="61" y="16"/>
                    </a:cubicBezTo>
                    <a:cubicBezTo>
                      <a:pt x="59" y="15"/>
                      <a:pt x="57" y="16"/>
                      <a:pt x="56" y="15"/>
                    </a:cubicBezTo>
                    <a:cubicBezTo>
                      <a:pt x="55" y="13"/>
                      <a:pt x="56" y="10"/>
                      <a:pt x="56" y="10"/>
                    </a:cubicBezTo>
                    <a:cubicBezTo>
                      <a:pt x="56" y="10"/>
                      <a:pt x="52" y="11"/>
                      <a:pt x="51" y="9"/>
                    </a:cubicBezTo>
                    <a:cubicBezTo>
                      <a:pt x="49" y="7"/>
                      <a:pt x="47" y="9"/>
                      <a:pt x="48" y="10"/>
                    </a:cubicBezTo>
                    <a:cubicBezTo>
                      <a:pt x="48" y="12"/>
                      <a:pt x="45" y="14"/>
                      <a:pt x="45" y="14"/>
                    </a:cubicBezTo>
                    <a:cubicBezTo>
                      <a:pt x="45" y="14"/>
                      <a:pt x="44" y="11"/>
                      <a:pt x="43" y="10"/>
                    </a:cubicBezTo>
                    <a:cubicBezTo>
                      <a:pt x="43" y="9"/>
                      <a:pt x="42" y="8"/>
                      <a:pt x="43" y="6"/>
                    </a:cubicBezTo>
                    <a:cubicBezTo>
                      <a:pt x="44" y="4"/>
                      <a:pt x="41" y="5"/>
                      <a:pt x="39" y="6"/>
                    </a:cubicBezTo>
                    <a:cubicBezTo>
                      <a:pt x="37" y="6"/>
                      <a:pt x="37" y="3"/>
                      <a:pt x="35" y="3"/>
                    </a:cubicBezTo>
                    <a:cubicBezTo>
                      <a:pt x="33" y="2"/>
                      <a:pt x="31" y="1"/>
                      <a:pt x="30" y="0"/>
                    </a:cubicBezTo>
                    <a:cubicBezTo>
                      <a:pt x="29" y="0"/>
                      <a:pt x="28" y="1"/>
                      <a:pt x="27" y="1"/>
                    </a:cubicBezTo>
                    <a:cubicBezTo>
                      <a:pt x="25" y="1"/>
                      <a:pt x="22" y="2"/>
                      <a:pt x="19" y="3"/>
                    </a:cubicBezTo>
                    <a:cubicBezTo>
                      <a:pt x="16" y="4"/>
                      <a:pt x="13" y="6"/>
                      <a:pt x="11" y="7"/>
                    </a:cubicBezTo>
                    <a:cubicBezTo>
                      <a:pt x="8" y="9"/>
                      <a:pt x="6" y="9"/>
                      <a:pt x="5" y="10"/>
                    </a:cubicBezTo>
                    <a:cubicBezTo>
                      <a:pt x="3" y="12"/>
                      <a:pt x="0" y="11"/>
                      <a:pt x="1" y="12"/>
                    </a:cubicBezTo>
                    <a:cubicBezTo>
                      <a:pt x="2" y="14"/>
                      <a:pt x="5" y="16"/>
                      <a:pt x="5" y="19"/>
                    </a:cubicBezTo>
                    <a:cubicBezTo>
                      <a:pt x="5" y="22"/>
                      <a:pt x="7" y="25"/>
                      <a:pt x="8" y="25"/>
                    </a:cubicBezTo>
                    <a:cubicBezTo>
                      <a:pt x="9" y="26"/>
                      <a:pt x="15" y="32"/>
                      <a:pt x="17" y="33"/>
                    </a:cubicBezTo>
                    <a:cubicBezTo>
                      <a:pt x="18" y="34"/>
                      <a:pt x="22" y="36"/>
                      <a:pt x="24" y="36"/>
                    </a:cubicBezTo>
                    <a:cubicBezTo>
                      <a:pt x="27" y="36"/>
                      <a:pt x="28" y="34"/>
                      <a:pt x="28" y="31"/>
                    </a:cubicBezTo>
                    <a:cubicBezTo>
                      <a:pt x="29" y="28"/>
                      <a:pt x="34" y="31"/>
                      <a:pt x="35" y="32"/>
                    </a:cubicBezTo>
                    <a:cubicBezTo>
                      <a:pt x="37" y="34"/>
                      <a:pt x="40" y="34"/>
                      <a:pt x="42" y="33"/>
                    </a:cubicBezTo>
                    <a:cubicBezTo>
                      <a:pt x="45" y="33"/>
                      <a:pt x="48" y="35"/>
                      <a:pt x="48" y="3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59" name="Freeform 31"/>
              <p:cNvSpPr>
                <a:spLocks noEditPoint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564067" y="3913188"/>
                <a:ext cx="338612" cy="152400"/>
              </a:xfrm>
              <a:custGeom>
                <a:avLst/>
                <a:gdLst>
                  <a:gd name="T0" fmla="*/ 2147483647 w 86"/>
                  <a:gd name="T1" fmla="*/ 2147483647 h 39"/>
                  <a:gd name="T2" fmla="*/ 2147483647 w 86"/>
                  <a:gd name="T3" fmla="*/ 2147483647 h 39"/>
                  <a:gd name="T4" fmla="*/ 2147483647 w 86"/>
                  <a:gd name="T5" fmla="*/ 2147483647 h 39"/>
                  <a:gd name="T6" fmla="*/ 2147483647 w 86"/>
                  <a:gd name="T7" fmla="*/ 2147483647 h 39"/>
                  <a:gd name="T8" fmla="*/ 2147483647 w 86"/>
                  <a:gd name="T9" fmla="*/ 2147483647 h 39"/>
                  <a:gd name="T10" fmla="*/ 2147483647 w 86"/>
                  <a:gd name="T11" fmla="*/ 2147483647 h 39"/>
                  <a:gd name="T12" fmla="*/ 2147483647 w 86"/>
                  <a:gd name="T13" fmla="*/ 2147483647 h 39"/>
                  <a:gd name="T14" fmla="*/ 2147483647 w 86"/>
                  <a:gd name="T15" fmla="*/ 2147483647 h 39"/>
                  <a:gd name="T16" fmla="*/ 2147483647 w 86"/>
                  <a:gd name="T17" fmla="*/ 2147483647 h 39"/>
                  <a:gd name="T18" fmla="*/ 2147483647 w 86"/>
                  <a:gd name="T19" fmla="*/ 2147483647 h 39"/>
                  <a:gd name="T20" fmla="*/ 2147483647 w 86"/>
                  <a:gd name="T21" fmla="*/ 2147483647 h 39"/>
                  <a:gd name="T22" fmla="*/ 2147483647 w 86"/>
                  <a:gd name="T23" fmla="*/ 2147483647 h 39"/>
                  <a:gd name="T24" fmla="*/ 2147483647 w 86"/>
                  <a:gd name="T25" fmla="*/ 2147483647 h 39"/>
                  <a:gd name="T26" fmla="*/ 2147483647 w 86"/>
                  <a:gd name="T27" fmla="*/ 2147483647 h 39"/>
                  <a:gd name="T28" fmla="*/ 2147483647 w 86"/>
                  <a:gd name="T29" fmla="*/ 2147483647 h 39"/>
                  <a:gd name="T30" fmla="*/ 2147483647 w 86"/>
                  <a:gd name="T31" fmla="*/ 2147483647 h 39"/>
                  <a:gd name="T32" fmla="*/ 2147483647 w 86"/>
                  <a:gd name="T33" fmla="*/ 2147483647 h 39"/>
                  <a:gd name="T34" fmla="*/ 2147483647 w 86"/>
                  <a:gd name="T35" fmla="*/ 2147483647 h 39"/>
                  <a:gd name="T36" fmla="*/ 2147483647 w 86"/>
                  <a:gd name="T37" fmla="*/ 2147483647 h 39"/>
                  <a:gd name="T38" fmla="*/ 2147483647 w 86"/>
                  <a:gd name="T39" fmla="*/ 2147483647 h 39"/>
                  <a:gd name="T40" fmla="*/ 2147483647 w 86"/>
                  <a:gd name="T41" fmla="*/ 2147483647 h 39"/>
                  <a:gd name="T42" fmla="*/ 0 w 86"/>
                  <a:gd name="T43" fmla="*/ 2147483647 h 39"/>
                  <a:gd name="T44" fmla="*/ 2147483647 w 86"/>
                  <a:gd name="T45" fmla="*/ 2147483647 h 39"/>
                  <a:gd name="T46" fmla="*/ 2147483647 w 86"/>
                  <a:gd name="T47" fmla="*/ 2147483647 h 39"/>
                  <a:gd name="T48" fmla="*/ 2147483647 w 86"/>
                  <a:gd name="T49" fmla="*/ 2147483647 h 39"/>
                  <a:gd name="T50" fmla="*/ 2147483647 w 86"/>
                  <a:gd name="T51" fmla="*/ 2147483647 h 39"/>
                  <a:gd name="T52" fmla="*/ 2147483647 w 86"/>
                  <a:gd name="T53" fmla="*/ 2147483647 h 39"/>
                  <a:gd name="T54" fmla="*/ 2147483647 w 86"/>
                  <a:gd name="T55" fmla="*/ 2147483647 h 39"/>
                  <a:gd name="T56" fmla="*/ 2147483647 w 86"/>
                  <a:gd name="T57" fmla="*/ 2147483647 h 39"/>
                  <a:gd name="T58" fmla="*/ 2147483647 w 86"/>
                  <a:gd name="T59" fmla="*/ 2147483647 h 39"/>
                  <a:gd name="T60" fmla="*/ 2147483647 w 86"/>
                  <a:gd name="T61" fmla="*/ 2147483647 h 39"/>
                  <a:gd name="T62" fmla="*/ 2147483647 w 86"/>
                  <a:gd name="T63" fmla="*/ 2147483647 h 39"/>
                  <a:gd name="T64" fmla="*/ 2147483647 w 86"/>
                  <a:gd name="T65" fmla="*/ 2147483647 h 39"/>
                  <a:gd name="T66" fmla="*/ 2147483647 w 86"/>
                  <a:gd name="T67" fmla="*/ 2147483647 h 39"/>
                  <a:gd name="T68" fmla="*/ 2147483647 w 86"/>
                  <a:gd name="T69" fmla="*/ 2147483647 h 39"/>
                  <a:gd name="T70" fmla="*/ 2147483647 w 86"/>
                  <a:gd name="T71" fmla="*/ 2147483647 h 39"/>
                  <a:gd name="T72" fmla="*/ 2147483647 w 86"/>
                  <a:gd name="T73" fmla="*/ 2147483647 h 39"/>
                  <a:gd name="T74" fmla="*/ 2147483647 w 86"/>
                  <a:gd name="T75" fmla="*/ 2147483647 h 39"/>
                  <a:gd name="T76" fmla="*/ 2147483647 w 86"/>
                  <a:gd name="T77" fmla="*/ 2147483647 h 39"/>
                  <a:gd name="T78" fmla="*/ 2147483647 w 86"/>
                  <a:gd name="T79" fmla="*/ 2147483647 h 39"/>
                  <a:gd name="T80" fmla="*/ 2147483647 w 86"/>
                  <a:gd name="T81" fmla="*/ 2147483647 h 39"/>
                  <a:gd name="T82" fmla="*/ 2147483647 w 86"/>
                  <a:gd name="T83" fmla="*/ 2147483647 h 39"/>
                  <a:gd name="T84" fmla="*/ 2147483647 w 86"/>
                  <a:gd name="T85" fmla="*/ 2147483647 h 39"/>
                  <a:gd name="T86" fmla="*/ 2147483647 w 86"/>
                  <a:gd name="T87" fmla="*/ 2147483647 h 3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86"/>
                  <a:gd name="T133" fmla="*/ 0 h 39"/>
                  <a:gd name="T134" fmla="*/ 86 w 86"/>
                  <a:gd name="T135" fmla="*/ 39 h 3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86" h="39">
                    <a:moveTo>
                      <a:pt x="72" y="12"/>
                    </a:moveTo>
                    <a:cubicBezTo>
                      <a:pt x="72" y="11"/>
                      <a:pt x="72" y="8"/>
                      <a:pt x="73" y="6"/>
                    </a:cubicBezTo>
                    <a:cubicBezTo>
                      <a:pt x="73" y="6"/>
                      <a:pt x="73" y="7"/>
                      <a:pt x="73" y="7"/>
                    </a:cubicBezTo>
                    <a:cubicBezTo>
                      <a:pt x="73" y="7"/>
                      <a:pt x="73" y="7"/>
                      <a:pt x="73" y="7"/>
                    </a:cubicBezTo>
                    <a:cubicBezTo>
                      <a:pt x="73" y="7"/>
                      <a:pt x="70" y="5"/>
                      <a:pt x="67" y="5"/>
                    </a:cubicBezTo>
                    <a:cubicBezTo>
                      <a:pt x="65" y="6"/>
                      <a:pt x="62" y="6"/>
                      <a:pt x="60" y="4"/>
                    </a:cubicBezTo>
                    <a:cubicBezTo>
                      <a:pt x="59" y="3"/>
                      <a:pt x="54" y="0"/>
                      <a:pt x="53" y="3"/>
                    </a:cubicBezTo>
                    <a:cubicBezTo>
                      <a:pt x="53" y="6"/>
                      <a:pt x="52" y="8"/>
                      <a:pt x="49" y="8"/>
                    </a:cubicBezTo>
                    <a:cubicBezTo>
                      <a:pt x="47" y="8"/>
                      <a:pt x="44" y="7"/>
                      <a:pt x="42" y="6"/>
                    </a:cubicBezTo>
                    <a:cubicBezTo>
                      <a:pt x="43" y="7"/>
                      <a:pt x="43" y="7"/>
                      <a:pt x="42" y="8"/>
                    </a:cubicBezTo>
                    <a:cubicBezTo>
                      <a:pt x="41" y="10"/>
                      <a:pt x="41" y="9"/>
                      <a:pt x="40" y="9"/>
                    </a:cubicBezTo>
                    <a:cubicBezTo>
                      <a:pt x="38" y="8"/>
                      <a:pt x="39" y="11"/>
                      <a:pt x="38" y="11"/>
                    </a:cubicBezTo>
                    <a:cubicBezTo>
                      <a:pt x="36" y="12"/>
                      <a:pt x="34" y="14"/>
                      <a:pt x="32" y="14"/>
                    </a:cubicBezTo>
                    <a:cubicBezTo>
                      <a:pt x="30" y="14"/>
                      <a:pt x="34" y="20"/>
                      <a:pt x="34" y="20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34" y="25"/>
                      <a:pt x="29" y="22"/>
                      <a:pt x="28" y="22"/>
                    </a:cubicBezTo>
                    <a:cubicBezTo>
                      <a:pt x="26" y="22"/>
                      <a:pt x="20" y="24"/>
                      <a:pt x="20" y="24"/>
                    </a:cubicBezTo>
                    <a:cubicBezTo>
                      <a:pt x="20" y="24"/>
                      <a:pt x="15" y="27"/>
                      <a:pt x="15" y="24"/>
                    </a:cubicBezTo>
                    <a:cubicBezTo>
                      <a:pt x="14" y="22"/>
                      <a:pt x="12" y="23"/>
                      <a:pt x="10" y="23"/>
                    </a:cubicBezTo>
                    <a:cubicBezTo>
                      <a:pt x="8" y="23"/>
                      <a:pt x="7" y="27"/>
                      <a:pt x="7" y="27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9" y="34"/>
                      <a:pt x="11" y="33"/>
                      <a:pt x="13" y="34"/>
                    </a:cubicBezTo>
                    <a:cubicBezTo>
                      <a:pt x="14" y="35"/>
                      <a:pt x="14" y="34"/>
                      <a:pt x="16" y="32"/>
                    </a:cubicBezTo>
                    <a:cubicBezTo>
                      <a:pt x="17" y="31"/>
                      <a:pt x="21" y="32"/>
                      <a:pt x="24" y="31"/>
                    </a:cubicBezTo>
                    <a:cubicBezTo>
                      <a:pt x="27" y="30"/>
                      <a:pt x="27" y="33"/>
                      <a:pt x="27" y="34"/>
                    </a:cubicBezTo>
                    <a:cubicBezTo>
                      <a:pt x="26" y="35"/>
                      <a:pt x="28" y="36"/>
                      <a:pt x="31" y="37"/>
                    </a:cubicBezTo>
                    <a:cubicBezTo>
                      <a:pt x="34" y="38"/>
                      <a:pt x="40" y="39"/>
                      <a:pt x="40" y="39"/>
                    </a:cubicBezTo>
                    <a:cubicBezTo>
                      <a:pt x="42" y="39"/>
                      <a:pt x="44" y="39"/>
                      <a:pt x="48" y="39"/>
                    </a:cubicBezTo>
                    <a:cubicBezTo>
                      <a:pt x="52" y="39"/>
                      <a:pt x="51" y="39"/>
                      <a:pt x="53" y="37"/>
                    </a:cubicBezTo>
                    <a:cubicBezTo>
                      <a:pt x="54" y="36"/>
                      <a:pt x="55" y="36"/>
                      <a:pt x="57" y="36"/>
                    </a:cubicBezTo>
                    <a:cubicBezTo>
                      <a:pt x="60" y="37"/>
                      <a:pt x="64" y="35"/>
                      <a:pt x="64" y="35"/>
                    </a:cubicBezTo>
                    <a:cubicBezTo>
                      <a:pt x="64" y="35"/>
                      <a:pt x="66" y="32"/>
                      <a:pt x="67" y="34"/>
                    </a:cubicBezTo>
                    <a:cubicBezTo>
                      <a:pt x="67" y="33"/>
                      <a:pt x="68" y="25"/>
                      <a:pt x="70" y="25"/>
                    </a:cubicBezTo>
                    <a:cubicBezTo>
                      <a:pt x="71" y="24"/>
                      <a:pt x="72" y="22"/>
                      <a:pt x="74" y="19"/>
                    </a:cubicBezTo>
                    <a:cubicBezTo>
                      <a:pt x="74" y="19"/>
                      <a:pt x="74" y="19"/>
                      <a:pt x="74" y="18"/>
                    </a:cubicBezTo>
                    <a:cubicBezTo>
                      <a:pt x="74" y="18"/>
                      <a:pt x="74" y="18"/>
                      <a:pt x="74" y="18"/>
                    </a:cubicBezTo>
                    <a:cubicBezTo>
                      <a:pt x="73" y="15"/>
                      <a:pt x="72" y="13"/>
                      <a:pt x="72" y="12"/>
                    </a:cubicBezTo>
                    <a:close/>
                    <a:moveTo>
                      <a:pt x="82" y="20"/>
                    </a:moveTo>
                    <a:cubicBezTo>
                      <a:pt x="83" y="20"/>
                      <a:pt x="85" y="20"/>
                      <a:pt x="86" y="20"/>
                    </a:cubicBezTo>
                    <a:cubicBezTo>
                      <a:pt x="85" y="20"/>
                      <a:pt x="83" y="20"/>
                      <a:pt x="82" y="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0" name="Freeform 32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449731" y="4030663"/>
                <a:ext cx="466142" cy="487362"/>
              </a:xfrm>
              <a:custGeom>
                <a:avLst/>
                <a:gdLst>
                  <a:gd name="T0" fmla="*/ 2147483647 w 118"/>
                  <a:gd name="T1" fmla="*/ 2147483647 h 124"/>
                  <a:gd name="T2" fmla="*/ 2147483647 w 118"/>
                  <a:gd name="T3" fmla="*/ 2147483647 h 124"/>
                  <a:gd name="T4" fmla="*/ 2147483647 w 118"/>
                  <a:gd name="T5" fmla="*/ 2147483647 h 124"/>
                  <a:gd name="T6" fmla="*/ 2147483647 w 118"/>
                  <a:gd name="T7" fmla="*/ 2147483647 h 124"/>
                  <a:gd name="T8" fmla="*/ 2147483647 w 118"/>
                  <a:gd name="T9" fmla="*/ 2147483647 h 124"/>
                  <a:gd name="T10" fmla="*/ 2147483647 w 118"/>
                  <a:gd name="T11" fmla="*/ 2147483647 h 124"/>
                  <a:gd name="T12" fmla="*/ 2147483647 w 118"/>
                  <a:gd name="T13" fmla="*/ 2147483647 h 124"/>
                  <a:gd name="T14" fmla="*/ 2147483647 w 118"/>
                  <a:gd name="T15" fmla="*/ 2147483647 h 124"/>
                  <a:gd name="T16" fmla="*/ 2147483647 w 118"/>
                  <a:gd name="T17" fmla="*/ 2147483647 h 124"/>
                  <a:gd name="T18" fmla="*/ 2147483647 w 118"/>
                  <a:gd name="T19" fmla="*/ 2147483647 h 124"/>
                  <a:gd name="T20" fmla="*/ 2147483647 w 118"/>
                  <a:gd name="T21" fmla="*/ 2147483647 h 124"/>
                  <a:gd name="T22" fmla="*/ 2147483647 w 118"/>
                  <a:gd name="T23" fmla="*/ 2147483647 h 124"/>
                  <a:gd name="T24" fmla="*/ 2147483647 w 118"/>
                  <a:gd name="T25" fmla="*/ 2147483647 h 124"/>
                  <a:gd name="T26" fmla="*/ 2147483647 w 118"/>
                  <a:gd name="T27" fmla="*/ 2147483647 h 124"/>
                  <a:gd name="T28" fmla="*/ 2147483647 w 118"/>
                  <a:gd name="T29" fmla="*/ 2147483647 h 124"/>
                  <a:gd name="T30" fmla="*/ 2147483647 w 118"/>
                  <a:gd name="T31" fmla="*/ 2147483647 h 124"/>
                  <a:gd name="T32" fmla="*/ 2147483647 w 118"/>
                  <a:gd name="T33" fmla="*/ 2147483647 h 124"/>
                  <a:gd name="T34" fmla="*/ 2147483647 w 118"/>
                  <a:gd name="T35" fmla="*/ 2147483647 h 124"/>
                  <a:gd name="T36" fmla="*/ 2147483647 w 118"/>
                  <a:gd name="T37" fmla="*/ 2147483647 h 124"/>
                  <a:gd name="T38" fmla="*/ 2147483647 w 118"/>
                  <a:gd name="T39" fmla="*/ 2147483647 h 124"/>
                  <a:gd name="T40" fmla="*/ 2147483647 w 118"/>
                  <a:gd name="T41" fmla="*/ 2147483647 h 124"/>
                  <a:gd name="T42" fmla="*/ 2147483647 w 118"/>
                  <a:gd name="T43" fmla="*/ 2147483647 h 124"/>
                  <a:gd name="T44" fmla="*/ 2147483647 w 118"/>
                  <a:gd name="T45" fmla="*/ 2147483647 h 124"/>
                  <a:gd name="T46" fmla="*/ 2147483647 w 118"/>
                  <a:gd name="T47" fmla="*/ 2147483647 h 124"/>
                  <a:gd name="T48" fmla="*/ 2147483647 w 118"/>
                  <a:gd name="T49" fmla="*/ 2147483647 h 124"/>
                  <a:gd name="T50" fmla="*/ 2147483647 w 118"/>
                  <a:gd name="T51" fmla="*/ 2147483647 h 124"/>
                  <a:gd name="T52" fmla="*/ 2147483647 w 118"/>
                  <a:gd name="T53" fmla="*/ 2147483647 h 124"/>
                  <a:gd name="T54" fmla="*/ 2147483647 w 118"/>
                  <a:gd name="T55" fmla="*/ 2147483647 h 124"/>
                  <a:gd name="T56" fmla="*/ 2147483647 w 118"/>
                  <a:gd name="T57" fmla="*/ 2147483647 h 124"/>
                  <a:gd name="T58" fmla="*/ 2147483647 w 118"/>
                  <a:gd name="T59" fmla="*/ 2147483647 h 124"/>
                  <a:gd name="T60" fmla="*/ 2147483647 w 118"/>
                  <a:gd name="T61" fmla="*/ 2147483647 h 124"/>
                  <a:gd name="T62" fmla="*/ 2147483647 w 118"/>
                  <a:gd name="T63" fmla="*/ 2147483647 h 124"/>
                  <a:gd name="T64" fmla="*/ 2147483647 w 118"/>
                  <a:gd name="T65" fmla="*/ 2147483647 h 124"/>
                  <a:gd name="T66" fmla="*/ 2147483647 w 118"/>
                  <a:gd name="T67" fmla="*/ 2147483647 h 124"/>
                  <a:gd name="T68" fmla="*/ 2147483647 w 118"/>
                  <a:gd name="T69" fmla="*/ 2147483647 h 12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8"/>
                  <a:gd name="T106" fmla="*/ 0 h 124"/>
                  <a:gd name="T107" fmla="*/ 118 w 118"/>
                  <a:gd name="T108" fmla="*/ 124 h 12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8" h="124">
                    <a:moveTo>
                      <a:pt x="113" y="88"/>
                    </a:moveTo>
                    <a:cubicBezTo>
                      <a:pt x="112" y="87"/>
                      <a:pt x="105" y="83"/>
                      <a:pt x="103" y="82"/>
                    </a:cubicBezTo>
                    <a:cubicBezTo>
                      <a:pt x="101" y="81"/>
                      <a:pt x="95" y="79"/>
                      <a:pt x="93" y="78"/>
                    </a:cubicBezTo>
                    <a:cubicBezTo>
                      <a:pt x="91" y="77"/>
                      <a:pt x="80" y="69"/>
                      <a:pt x="79" y="68"/>
                    </a:cubicBezTo>
                    <a:cubicBezTo>
                      <a:pt x="78" y="67"/>
                      <a:pt x="73" y="65"/>
                      <a:pt x="72" y="60"/>
                    </a:cubicBezTo>
                    <a:cubicBezTo>
                      <a:pt x="72" y="56"/>
                      <a:pt x="73" y="52"/>
                      <a:pt x="69" y="49"/>
                    </a:cubicBezTo>
                    <a:cubicBezTo>
                      <a:pt x="65" y="46"/>
                      <a:pt x="62" y="45"/>
                      <a:pt x="60" y="43"/>
                    </a:cubicBezTo>
                    <a:cubicBezTo>
                      <a:pt x="59" y="42"/>
                      <a:pt x="57" y="40"/>
                      <a:pt x="57" y="37"/>
                    </a:cubicBezTo>
                    <a:cubicBezTo>
                      <a:pt x="57" y="34"/>
                      <a:pt x="57" y="28"/>
                      <a:pt x="57" y="28"/>
                    </a:cubicBezTo>
                    <a:cubicBezTo>
                      <a:pt x="57" y="28"/>
                      <a:pt x="55" y="23"/>
                      <a:pt x="57" y="23"/>
                    </a:cubicBezTo>
                    <a:cubicBezTo>
                      <a:pt x="58" y="22"/>
                      <a:pt x="63" y="20"/>
                      <a:pt x="63" y="20"/>
                    </a:cubicBezTo>
                    <a:cubicBezTo>
                      <a:pt x="63" y="20"/>
                      <a:pt x="67" y="20"/>
                      <a:pt x="70" y="19"/>
                    </a:cubicBezTo>
                    <a:cubicBezTo>
                      <a:pt x="69" y="18"/>
                      <a:pt x="68" y="16"/>
                      <a:pt x="68" y="14"/>
                    </a:cubicBezTo>
                    <a:cubicBezTo>
                      <a:pt x="68" y="13"/>
                      <a:pt x="67" y="10"/>
                      <a:pt x="69" y="9"/>
                    </a:cubicBezTo>
                    <a:cubicBezTo>
                      <a:pt x="69" y="9"/>
                      <a:pt x="63" y="8"/>
                      <a:pt x="60" y="7"/>
                    </a:cubicBezTo>
                    <a:cubicBezTo>
                      <a:pt x="57" y="6"/>
                      <a:pt x="55" y="5"/>
                      <a:pt x="56" y="4"/>
                    </a:cubicBezTo>
                    <a:cubicBezTo>
                      <a:pt x="56" y="3"/>
                      <a:pt x="56" y="0"/>
                      <a:pt x="53" y="1"/>
                    </a:cubicBezTo>
                    <a:cubicBezTo>
                      <a:pt x="50" y="2"/>
                      <a:pt x="46" y="1"/>
                      <a:pt x="45" y="2"/>
                    </a:cubicBezTo>
                    <a:cubicBezTo>
                      <a:pt x="43" y="4"/>
                      <a:pt x="43" y="5"/>
                      <a:pt x="42" y="4"/>
                    </a:cubicBezTo>
                    <a:cubicBezTo>
                      <a:pt x="41" y="4"/>
                      <a:pt x="40" y="4"/>
                      <a:pt x="39" y="4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9" y="5"/>
                      <a:pt x="39" y="7"/>
                      <a:pt x="37" y="7"/>
                    </a:cubicBezTo>
                    <a:cubicBezTo>
                      <a:pt x="36" y="7"/>
                      <a:pt x="33" y="8"/>
                      <a:pt x="33" y="9"/>
                    </a:cubicBezTo>
                    <a:cubicBezTo>
                      <a:pt x="34" y="11"/>
                      <a:pt x="35" y="13"/>
                      <a:pt x="34" y="13"/>
                    </a:cubicBezTo>
                    <a:cubicBezTo>
                      <a:pt x="33" y="12"/>
                      <a:pt x="30" y="11"/>
                      <a:pt x="30" y="11"/>
                    </a:cubicBezTo>
                    <a:cubicBezTo>
                      <a:pt x="30" y="11"/>
                      <a:pt x="26" y="8"/>
                      <a:pt x="26" y="10"/>
                    </a:cubicBezTo>
                    <a:cubicBezTo>
                      <a:pt x="25" y="11"/>
                      <a:pt x="24" y="13"/>
                      <a:pt x="23" y="13"/>
                    </a:cubicBezTo>
                    <a:cubicBezTo>
                      <a:pt x="22" y="13"/>
                      <a:pt x="19" y="12"/>
                      <a:pt x="19" y="11"/>
                    </a:cubicBezTo>
                    <a:cubicBezTo>
                      <a:pt x="19" y="10"/>
                      <a:pt x="16" y="11"/>
                      <a:pt x="16" y="11"/>
                    </a:cubicBezTo>
                    <a:cubicBezTo>
                      <a:pt x="16" y="11"/>
                      <a:pt x="16" y="14"/>
                      <a:pt x="13" y="15"/>
                    </a:cubicBezTo>
                    <a:cubicBezTo>
                      <a:pt x="10" y="17"/>
                      <a:pt x="6" y="18"/>
                      <a:pt x="6" y="18"/>
                    </a:cubicBezTo>
                    <a:cubicBezTo>
                      <a:pt x="6" y="18"/>
                      <a:pt x="2" y="18"/>
                      <a:pt x="3" y="20"/>
                    </a:cubicBezTo>
                    <a:cubicBezTo>
                      <a:pt x="4" y="23"/>
                      <a:pt x="6" y="25"/>
                      <a:pt x="5" y="26"/>
                    </a:cubicBezTo>
                    <a:cubicBezTo>
                      <a:pt x="4" y="27"/>
                      <a:pt x="0" y="28"/>
                      <a:pt x="1" y="30"/>
                    </a:cubicBezTo>
                    <a:cubicBezTo>
                      <a:pt x="3" y="32"/>
                      <a:pt x="5" y="31"/>
                      <a:pt x="4" y="33"/>
                    </a:cubicBezTo>
                    <a:cubicBezTo>
                      <a:pt x="3" y="34"/>
                      <a:pt x="2" y="35"/>
                      <a:pt x="3" y="37"/>
                    </a:cubicBezTo>
                    <a:cubicBezTo>
                      <a:pt x="4" y="39"/>
                      <a:pt x="5" y="41"/>
                      <a:pt x="7" y="41"/>
                    </a:cubicBezTo>
                    <a:cubicBezTo>
                      <a:pt x="9" y="41"/>
                      <a:pt x="11" y="41"/>
                      <a:pt x="11" y="42"/>
                    </a:cubicBezTo>
                    <a:cubicBezTo>
                      <a:pt x="11" y="43"/>
                      <a:pt x="9" y="47"/>
                      <a:pt x="9" y="47"/>
                    </a:cubicBezTo>
                    <a:cubicBezTo>
                      <a:pt x="9" y="47"/>
                      <a:pt x="13" y="47"/>
                      <a:pt x="15" y="45"/>
                    </a:cubicBezTo>
                    <a:cubicBezTo>
                      <a:pt x="17" y="42"/>
                      <a:pt x="18" y="39"/>
                      <a:pt x="20" y="39"/>
                    </a:cubicBezTo>
                    <a:cubicBezTo>
                      <a:pt x="22" y="40"/>
                      <a:pt x="27" y="39"/>
                      <a:pt x="29" y="40"/>
                    </a:cubicBezTo>
                    <a:cubicBezTo>
                      <a:pt x="30" y="42"/>
                      <a:pt x="33" y="41"/>
                      <a:pt x="35" y="46"/>
                    </a:cubicBezTo>
                    <a:cubicBezTo>
                      <a:pt x="37" y="51"/>
                      <a:pt x="40" y="55"/>
                      <a:pt x="39" y="56"/>
                    </a:cubicBezTo>
                    <a:cubicBezTo>
                      <a:pt x="39" y="57"/>
                      <a:pt x="40" y="58"/>
                      <a:pt x="42" y="60"/>
                    </a:cubicBezTo>
                    <a:cubicBezTo>
                      <a:pt x="43" y="63"/>
                      <a:pt x="50" y="66"/>
                      <a:pt x="53" y="70"/>
                    </a:cubicBezTo>
                    <a:cubicBezTo>
                      <a:pt x="55" y="73"/>
                      <a:pt x="62" y="79"/>
                      <a:pt x="62" y="79"/>
                    </a:cubicBezTo>
                    <a:cubicBezTo>
                      <a:pt x="62" y="79"/>
                      <a:pt x="67" y="83"/>
                      <a:pt x="69" y="83"/>
                    </a:cubicBezTo>
                    <a:cubicBezTo>
                      <a:pt x="71" y="83"/>
                      <a:pt x="73" y="82"/>
                      <a:pt x="74" y="85"/>
                    </a:cubicBezTo>
                    <a:cubicBezTo>
                      <a:pt x="76" y="88"/>
                      <a:pt x="77" y="89"/>
                      <a:pt x="77" y="89"/>
                    </a:cubicBezTo>
                    <a:cubicBezTo>
                      <a:pt x="77" y="89"/>
                      <a:pt x="78" y="84"/>
                      <a:pt x="81" y="90"/>
                    </a:cubicBezTo>
                    <a:cubicBezTo>
                      <a:pt x="84" y="96"/>
                      <a:pt x="84" y="95"/>
                      <a:pt x="86" y="96"/>
                    </a:cubicBezTo>
                    <a:cubicBezTo>
                      <a:pt x="89" y="96"/>
                      <a:pt x="89" y="96"/>
                      <a:pt x="90" y="99"/>
                    </a:cubicBezTo>
                    <a:cubicBezTo>
                      <a:pt x="91" y="102"/>
                      <a:pt x="94" y="104"/>
                      <a:pt x="94" y="106"/>
                    </a:cubicBezTo>
                    <a:cubicBezTo>
                      <a:pt x="94" y="108"/>
                      <a:pt x="96" y="111"/>
                      <a:pt x="94" y="112"/>
                    </a:cubicBezTo>
                    <a:cubicBezTo>
                      <a:pt x="92" y="113"/>
                      <a:pt x="88" y="114"/>
                      <a:pt x="88" y="115"/>
                    </a:cubicBezTo>
                    <a:cubicBezTo>
                      <a:pt x="88" y="116"/>
                      <a:pt x="90" y="119"/>
                      <a:pt x="90" y="119"/>
                    </a:cubicBezTo>
                    <a:cubicBezTo>
                      <a:pt x="90" y="119"/>
                      <a:pt x="88" y="124"/>
                      <a:pt x="90" y="123"/>
                    </a:cubicBezTo>
                    <a:cubicBezTo>
                      <a:pt x="93" y="123"/>
                      <a:pt x="93" y="122"/>
                      <a:pt x="94" y="121"/>
                    </a:cubicBezTo>
                    <a:cubicBezTo>
                      <a:pt x="96" y="119"/>
                      <a:pt x="98" y="116"/>
                      <a:pt x="99" y="115"/>
                    </a:cubicBezTo>
                    <a:cubicBezTo>
                      <a:pt x="99" y="113"/>
                      <a:pt x="99" y="111"/>
                      <a:pt x="99" y="111"/>
                    </a:cubicBezTo>
                    <a:cubicBezTo>
                      <a:pt x="99" y="111"/>
                      <a:pt x="105" y="110"/>
                      <a:pt x="106" y="109"/>
                    </a:cubicBezTo>
                    <a:cubicBezTo>
                      <a:pt x="107" y="107"/>
                      <a:pt x="105" y="104"/>
                      <a:pt x="103" y="103"/>
                    </a:cubicBezTo>
                    <a:cubicBezTo>
                      <a:pt x="101" y="103"/>
                      <a:pt x="97" y="100"/>
                      <a:pt x="98" y="99"/>
                    </a:cubicBezTo>
                    <a:cubicBezTo>
                      <a:pt x="99" y="98"/>
                      <a:pt x="102" y="92"/>
                      <a:pt x="102" y="91"/>
                    </a:cubicBezTo>
                    <a:cubicBezTo>
                      <a:pt x="103" y="90"/>
                      <a:pt x="104" y="88"/>
                      <a:pt x="105" y="90"/>
                    </a:cubicBezTo>
                    <a:cubicBezTo>
                      <a:pt x="107" y="91"/>
                      <a:pt x="111" y="93"/>
                      <a:pt x="112" y="95"/>
                    </a:cubicBezTo>
                    <a:cubicBezTo>
                      <a:pt x="112" y="97"/>
                      <a:pt x="114" y="99"/>
                      <a:pt x="115" y="98"/>
                    </a:cubicBezTo>
                    <a:cubicBezTo>
                      <a:pt x="116" y="98"/>
                      <a:pt x="117" y="96"/>
                      <a:pt x="117" y="94"/>
                    </a:cubicBezTo>
                    <a:cubicBezTo>
                      <a:pt x="118" y="91"/>
                      <a:pt x="114" y="88"/>
                      <a:pt x="113" y="8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1" name="Freeform 33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72540" y="4495801"/>
                <a:ext cx="128995" cy="92075"/>
              </a:xfrm>
              <a:custGeom>
                <a:avLst/>
                <a:gdLst>
                  <a:gd name="T0" fmla="*/ 2147483647 w 33"/>
                  <a:gd name="T1" fmla="*/ 2147483647 h 23"/>
                  <a:gd name="T2" fmla="*/ 2147483647 w 33"/>
                  <a:gd name="T3" fmla="*/ 2147483647 h 23"/>
                  <a:gd name="T4" fmla="*/ 2147483647 w 33"/>
                  <a:gd name="T5" fmla="*/ 2147483647 h 23"/>
                  <a:gd name="T6" fmla="*/ 2147483647 w 33"/>
                  <a:gd name="T7" fmla="*/ 2147483647 h 23"/>
                  <a:gd name="T8" fmla="*/ 2147483647 w 33"/>
                  <a:gd name="T9" fmla="*/ 2147483647 h 23"/>
                  <a:gd name="T10" fmla="*/ 2147483647 w 33"/>
                  <a:gd name="T11" fmla="*/ 2147483647 h 23"/>
                  <a:gd name="T12" fmla="*/ 2147483647 w 33"/>
                  <a:gd name="T13" fmla="*/ 2147483647 h 23"/>
                  <a:gd name="T14" fmla="*/ 2147483647 w 33"/>
                  <a:gd name="T15" fmla="*/ 0 h 23"/>
                  <a:gd name="T16" fmla="*/ 2147483647 w 33"/>
                  <a:gd name="T17" fmla="*/ 2147483647 h 23"/>
                  <a:gd name="T18" fmla="*/ 2147483647 w 33"/>
                  <a:gd name="T19" fmla="*/ 2147483647 h 23"/>
                  <a:gd name="T20" fmla="*/ 2147483647 w 33"/>
                  <a:gd name="T21" fmla="*/ 2147483647 h 23"/>
                  <a:gd name="T22" fmla="*/ 2147483647 w 33"/>
                  <a:gd name="T23" fmla="*/ 2147483647 h 23"/>
                  <a:gd name="T24" fmla="*/ 2147483647 w 33"/>
                  <a:gd name="T25" fmla="*/ 2147483647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3"/>
                  <a:gd name="T40" fmla="*/ 0 h 23"/>
                  <a:gd name="T41" fmla="*/ 33 w 33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3" h="23">
                    <a:moveTo>
                      <a:pt x="26" y="22"/>
                    </a:moveTo>
                    <a:cubicBezTo>
                      <a:pt x="22" y="20"/>
                      <a:pt x="23" y="18"/>
                      <a:pt x="20" y="16"/>
                    </a:cubicBezTo>
                    <a:cubicBezTo>
                      <a:pt x="16" y="14"/>
                      <a:pt x="13" y="14"/>
                      <a:pt x="10" y="11"/>
                    </a:cubicBezTo>
                    <a:cubicBezTo>
                      <a:pt x="7" y="9"/>
                      <a:pt x="0" y="7"/>
                      <a:pt x="1" y="5"/>
                    </a:cubicBezTo>
                    <a:cubicBezTo>
                      <a:pt x="2" y="2"/>
                      <a:pt x="6" y="0"/>
                      <a:pt x="8" y="1"/>
                    </a:cubicBezTo>
                    <a:cubicBezTo>
                      <a:pt x="9" y="1"/>
                      <a:pt x="10" y="0"/>
                      <a:pt x="14" y="2"/>
                    </a:cubicBezTo>
                    <a:cubicBezTo>
                      <a:pt x="18" y="4"/>
                      <a:pt x="22" y="1"/>
                      <a:pt x="24" y="2"/>
                    </a:cubicBezTo>
                    <a:cubicBezTo>
                      <a:pt x="27" y="2"/>
                      <a:pt x="29" y="1"/>
                      <a:pt x="30" y="0"/>
                    </a:cubicBezTo>
                    <a:cubicBezTo>
                      <a:pt x="31" y="0"/>
                      <a:pt x="33" y="0"/>
                      <a:pt x="31" y="2"/>
                    </a:cubicBezTo>
                    <a:cubicBezTo>
                      <a:pt x="29" y="4"/>
                      <a:pt x="27" y="7"/>
                      <a:pt x="28" y="9"/>
                    </a:cubicBezTo>
                    <a:cubicBezTo>
                      <a:pt x="29" y="11"/>
                      <a:pt x="32" y="10"/>
                      <a:pt x="30" y="13"/>
                    </a:cubicBezTo>
                    <a:cubicBezTo>
                      <a:pt x="28" y="15"/>
                      <a:pt x="28" y="16"/>
                      <a:pt x="28" y="17"/>
                    </a:cubicBezTo>
                    <a:cubicBezTo>
                      <a:pt x="29" y="18"/>
                      <a:pt x="28" y="23"/>
                      <a:pt x="26" y="2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2" name="Freeform 34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511296" y="4337051"/>
                <a:ext cx="64498" cy="125413"/>
              </a:xfrm>
              <a:custGeom>
                <a:avLst/>
                <a:gdLst>
                  <a:gd name="T0" fmla="*/ 0 w 16"/>
                  <a:gd name="T1" fmla="*/ 2147483647 h 32"/>
                  <a:gd name="T2" fmla="*/ 2147483647 w 16"/>
                  <a:gd name="T3" fmla="*/ 2147483647 h 32"/>
                  <a:gd name="T4" fmla="*/ 2147483647 w 16"/>
                  <a:gd name="T5" fmla="*/ 2147483647 h 32"/>
                  <a:gd name="T6" fmla="*/ 2147483647 w 16"/>
                  <a:gd name="T7" fmla="*/ 2147483647 h 32"/>
                  <a:gd name="T8" fmla="*/ 2147483647 w 16"/>
                  <a:gd name="T9" fmla="*/ 2147483647 h 32"/>
                  <a:gd name="T10" fmla="*/ 2147483647 w 16"/>
                  <a:gd name="T11" fmla="*/ 2147483647 h 32"/>
                  <a:gd name="T12" fmla="*/ 2147483647 w 16"/>
                  <a:gd name="T13" fmla="*/ 2147483647 h 32"/>
                  <a:gd name="T14" fmla="*/ 2147483647 w 16"/>
                  <a:gd name="T15" fmla="*/ 2147483647 h 32"/>
                  <a:gd name="T16" fmla="*/ 2147483647 w 16"/>
                  <a:gd name="T17" fmla="*/ 2147483647 h 32"/>
                  <a:gd name="T18" fmla="*/ 2147483647 w 16"/>
                  <a:gd name="T19" fmla="*/ 2147483647 h 32"/>
                  <a:gd name="T20" fmla="*/ 2147483647 w 16"/>
                  <a:gd name="T21" fmla="*/ 2147483647 h 32"/>
                  <a:gd name="T22" fmla="*/ 2147483647 w 16"/>
                  <a:gd name="T23" fmla="*/ 2147483647 h 32"/>
                  <a:gd name="T24" fmla="*/ 0 w 16"/>
                  <a:gd name="T25" fmla="*/ 2147483647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32"/>
                  <a:gd name="T41" fmla="*/ 16 w 16"/>
                  <a:gd name="T42" fmla="*/ 32 h 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32">
                    <a:moveTo>
                      <a:pt x="0" y="8"/>
                    </a:moveTo>
                    <a:cubicBezTo>
                      <a:pt x="0" y="13"/>
                      <a:pt x="3" y="13"/>
                      <a:pt x="3" y="16"/>
                    </a:cubicBezTo>
                    <a:cubicBezTo>
                      <a:pt x="3" y="20"/>
                      <a:pt x="3" y="21"/>
                      <a:pt x="3" y="23"/>
                    </a:cubicBezTo>
                    <a:cubicBezTo>
                      <a:pt x="2" y="25"/>
                      <a:pt x="1" y="28"/>
                      <a:pt x="2" y="29"/>
                    </a:cubicBezTo>
                    <a:cubicBezTo>
                      <a:pt x="3" y="31"/>
                      <a:pt x="6" y="32"/>
                      <a:pt x="6" y="32"/>
                    </a:cubicBezTo>
                    <a:cubicBezTo>
                      <a:pt x="6" y="32"/>
                      <a:pt x="9" y="28"/>
                      <a:pt x="10" y="29"/>
                    </a:cubicBezTo>
                    <a:cubicBezTo>
                      <a:pt x="12" y="30"/>
                      <a:pt x="13" y="31"/>
                      <a:pt x="14" y="29"/>
                    </a:cubicBezTo>
                    <a:cubicBezTo>
                      <a:pt x="15" y="27"/>
                      <a:pt x="15" y="18"/>
                      <a:pt x="15" y="18"/>
                    </a:cubicBezTo>
                    <a:cubicBezTo>
                      <a:pt x="15" y="18"/>
                      <a:pt x="15" y="14"/>
                      <a:pt x="15" y="12"/>
                    </a:cubicBezTo>
                    <a:cubicBezTo>
                      <a:pt x="16" y="10"/>
                      <a:pt x="13" y="4"/>
                      <a:pt x="13" y="4"/>
                    </a:cubicBezTo>
                    <a:cubicBezTo>
                      <a:pt x="13" y="4"/>
                      <a:pt x="10" y="0"/>
                      <a:pt x="9" y="3"/>
                    </a:cubicBezTo>
                    <a:cubicBezTo>
                      <a:pt x="9" y="5"/>
                      <a:pt x="7" y="3"/>
                      <a:pt x="6" y="4"/>
                    </a:cubicBezTo>
                    <a:cubicBezTo>
                      <a:pt x="5" y="5"/>
                      <a:pt x="0" y="5"/>
                      <a:pt x="0" y="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3" name="Freeform 35"/>
              <p:cNvSpPr>
                <a:spLocks noEditPoint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955450" y="4316414"/>
                <a:ext cx="332749" cy="344487"/>
              </a:xfrm>
              <a:custGeom>
                <a:avLst/>
                <a:gdLst>
                  <a:gd name="T0" fmla="*/ 2147483647 w 84"/>
                  <a:gd name="T1" fmla="*/ 2147483647 h 88"/>
                  <a:gd name="T2" fmla="*/ 2147483647 w 84"/>
                  <a:gd name="T3" fmla="*/ 2147483647 h 88"/>
                  <a:gd name="T4" fmla="*/ 2147483647 w 84"/>
                  <a:gd name="T5" fmla="*/ 2147483647 h 88"/>
                  <a:gd name="T6" fmla="*/ 2147483647 w 84"/>
                  <a:gd name="T7" fmla="*/ 2147483647 h 88"/>
                  <a:gd name="T8" fmla="*/ 2147483647 w 84"/>
                  <a:gd name="T9" fmla="*/ 2147483647 h 88"/>
                  <a:gd name="T10" fmla="*/ 2147483647 w 84"/>
                  <a:gd name="T11" fmla="*/ 2147483647 h 88"/>
                  <a:gd name="T12" fmla="*/ 2147483647 w 84"/>
                  <a:gd name="T13" fmla="*/ 2147483647 h 88"/>
                  <a:gd name="T14" fmla="*/ 2147483647 w 84"/>
                  <a:gd name="T15" fmla="*/ 2147483647 h 88"/>
                  <a:gd name="T16" fmla="*/ 2147483647 w 84"/>
                  <a:gd name="T17" fmla="*/ 2147483647 h 88"/>
                  <a:gd name="T18" fmla="*/ 2147483647 w 84"/>
                  <a:gd name="T19" fmla="*/ 2147483647 h 88"/>
                  <a:gd name="T20" fmla="*/ 2147483647 w 84"/>
                  <a:gd name="T21" fmla="*/ 2147483647 h 88"/>
                  <a:gd name="T22" fmla="*/ 2147483647 w 84"/>
                  <a:gd name="T23" fmla="*/ 2147483647 h 88"/>
                  <a:gd name="T24" fmla="*/ 2147483647 w 84"/>
                  <a:gd name="T25" fmla="*/ 2147483647 h 88"/>
                  <a:gd name="T26" fmla="*/ 2147483647 w 84"/>
                  <a:gd name="T27" fmla="*/ 2147483647 h 88"/>
                  <a:gd name="T28" fmla="*/ 2147483647 w 84"/>
                  <a:gd name="T29" fmla="*/ 2147483647 h 88"/>
                  <a:gd name="T30" fmla="*/ 2147483647 w 84"/>
                  <a:gd name="T31" fmla="*/ 2147483647 h 88"/>
                  <a:gd name="T32" fmla="*/ 2147483647 w 84"/>
                  <a:gd name="T33" fmla="*/ 2147483647 h 88"/>
                  <a:gd name="T34" fmla="*/ 2147483647 w 84"/>
                  <a:gd name="T35" fmla="*/ 2147483647 h 88"/>
                  <a:gd name="T36" fmla="*/ 2147483647 w 84"/>
                  <a:gd name="T37" fmla="*/ 2147483647 h 88"/>
                  <a:gd name="T38" fmla="*/ 2147483647 w 84"/>
                  <a:gd name="T39" fmla="*/ 2147483647 h 88"/>
                  <a:gd name="T40" fmla="*/ 2147483647 w 84"/>
                  <a:gd name="T41" fmla="*/ 2147483647 h 88"/>
                  <a:gd name="T42" fmla="*/ 2147483647 w 84"/>
                  <a:gd name="T43" fmla="*/ 2147483647 h 88"/>
                  <a:gd name="T44" fmla="*/ 2147483647 w 84"/>
                  <a:gd name="T45" fmla="*/ 2147483647 h 88"/>
                  <a:gd name="T46" fmla="*/ 2147483647 w 84"/>
                  <a:gd name="T47" fmla="*/ 2147483647 h 88"/>
                  <a:gd name="T48" fmla="*/ 2147483647 w 84"/>
                  <a:gd name="T49" fmla="*/ 2147483647 h 88"/>
                  <a:gd name="T50" fmla="*/ 2147483647 w 84"/>
                  <a:gd name="T51" fmla="*/ 2147483647 h 88"/>
                  <a:gd name="T52" fmla="*/ 2147483647 w 84"/>
                  <a:gd name="T53" fmla="*/ 2147483647 h 88"/>
                  <a:gd name="T54" fmla="*/ 2147483647 w 84"/>
                  <a:gd name="T55" fmla="*/ 2147483647 h 88"/>
                  <a:gd name="T56" fmla="*/ 2147483647 w 84"/>
                  <a:gd name="T57" fmla="*/ 2147483647 h 88"/>
                  <a:gd name="T58" fmla="*/ 2147483647 w 84"/>
                  <a:gd name="T59" fmla="*/ 2147483647 h 88"/>
                  <a:gd name="T60" fmla="*/ 2147483647 w 84"/>
                  <a:gd name="T61" fmla="*/ 2147483647 h 88"/>
                  <a:gd name="T62" fmla="*/ 2147483647 w 84"/>
                  <a:gd name="T63" fmla="*/ 0 h 88"/>
                  <a:gd name="T64" fmla="*/ 2147483647 w 84"/>
                  <a:gd name="T65" fmla="*/ 2147483647 h 88"/>
                  <a:gd name="T66" fmla="*/ 2147483647 w 84"/>
                  <a:gd name="T67" fmla="*/ 2147483647 h 88"/>
                  <a:gd name="T68" fmla="*/ 2147483647 w 84"/>
                  <a:gd name="T69" fmla="*/ 2147483647 h 88"/>
                  <a:gd name="T70" fmla="*/ 2147483647 w 84"/>
                  <a:gd name="T71" fmla="*/ 2147483647 h 88"/>
                  <a:gd name="T72" fmla="*/ 2147483647 w 84"/>
                  <a:gd name="T73" fmla="*/ 2147483647 h 88"/>
                  <a:gd name="T74" fmla="*/ 2147483647 w 84"/>
                  <a:gd name="T75" fmla="*/ 2147483647 h 88"/>
                  <a:gd name="T76" fmla="*/ 2147483647 w 84"/>
                  <a:gd name="T77" fmla="*/ 2147483647 h 88"/>
                  <a:gd name="T78" fmla="*/ 2147483647 w 84"/>
                  <a:gd name="T79" fmla="*/ 2147483647 h 88"/>
                  <a:gd name="T80" fmla="*/ 2147483647 w 84"/>
                  <a:gd name="T81" fmla="*/ 2147483647 h 88"/>
                  <a:gd name="T82" fmla="*/ 2147483647 w 84"/>
                  <a:gd name="T83" fmla="*/ 2147483647 h 88"/>
                  <a:gd name="T84" fmla="*/ 2147483647 w 84"/>
                  <a:gd name="T85" fmla="*/ 2147483647 h 88"/>
                  <a:gd name="T86" fmla="*/ 2147483647 w 84"/>
                  <a:gd name="T87" fmla="*/ 2147483647 h 88"/>
                  <a:gd name="T88" fmla="*/ 2147483647 w 84"/>
                  <a:gd name="T89" fmla="*/ 2147483647 h 88"/>
                  <a:gd name="T90" fmla="*/ 2147483647 w 84"/>
                  <a:gd name="T91" fmla="*/ 2147483647 h 88"/>
                  <a:gd name="T92" fmla="*/ 2147483647 w 84"/>
                  <a:gd name="T93" fmla="*/ 2147483647 h 88"/>
                  <a:gd name="T94" fmla="*/ 2147483647 w 84"/>
                  <a:gd name="T95" fmla="*/ 2147483647 h 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4"/>
                  <a:gd name="T145" fmla="*/ 0 h 88"/>
                  <a:gd name="T146" fmla="*/ 84 w 84"/>
                  <a:gd name="T147" fmla="*/ 88 h 8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4" h="88">
                    <a:moveTo>
                      <a:pt x="48" y="65"/>
                    </a:moveTo>
                    <a:cubicBezTo>
                      <a:pt x="49" y="63"/>
                      <a:pt x="47" y="62"/>
                      <a:pt x="46" y="63"/>
                    </a:cubicBezTo>
                    <a:cubicBezTo>
                      <a:pt x="46" y="64"/>
                      <a:pt x="47" y="67"/>
                      <a:pt x="48" y="65"/>
                    </a:cubicBezTo>
                    <a:close/>
                    <a:moveTo>
                      <a:pt x="46" y="53"/>
                    </a:moveTo>
                    <a:cubicBezTo>
                      <a:pt x="46" y="53"/>
                      <a:pt x="45" y="58"/>
                      <a:pt x="47" y="56"/>
                    </a:cubicBezTo>
                    <a:cubicBezTo>
                      <a:pt x="48" y="55"/>
                      <a:pt x="47" y="52"/>
                      <a:pt x="46" y="53"/>
                    </a:cubicBezTo>
                    <a:close/>
                    <a:moveTo>
                      <a:pt x="58" y="59"/>
                    </a:moveTo>
                    <a:cubicBezTo>
                      <a:pt x="56" y="60"/>
                      <a:pt x="57" y="61"/>
                      <a:pt x="58" y="62"/>
                    </a:cubicBezTo>
                    <a:cubicBezTo>
                      <a:pt x="59" y="63"/>
                      <a:pt x="60" y="59"/>
                      <a:pt x="58" y="59"/>
                    </a:cubicBezTo>
                    <a:close/>
                    <a:moveTo>
                      <a:pt x="41" y="40"/>
                    </a:moveTo>
                    <a:cubicBezTo>
                      <a:pt x="39" y="40"/>
                      <a:pt x="38" y="38"/>
                      <a:pt x="37" y="36"/>
                    </a:cubicBezTo>
                    <a:cubicBezTo>
                      <a:pt x="36" y="34"/>
                      <a:pt x="35" y="35"/>
                      <a:pt x="34" y="35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8" y="41"/>
                      <a:pt x="42" y="44"/>
                      <a:pt x="43" y="44"/>
                    </a:cubicBezTo>
                    <a:cubicBezTo>
                      <a:pt x="44" y="44"/>
                      <a:pt x="46" y="47"/>
                      <a:pt x="46" y="47"/>
                    </a:cubicBezTo>
                    <a:cubicBezTo>
                      <a:pt x="46" y="47"/>
                      <a:pt x="46" y="43"/>
                      <a:pt x="45" y="42"/>
                    </a:cubicBezTo>
                    <a:cubicBezTo>
                      <a:pt x="44" y="40"/>
                      <a:pt x="43" y="40"/>
                      <a:pt x="41" y="40"/>
                    </a:cubicBezTo>
                    <a:close/>
                    <a:moveTo>
                      <a:pt x="10" y="50"/>
                    </a:moveTo>
                    <a:cubicBezTo>
                      <a:pt x="9" y="52"/>
                      <a:pt x="13" y="53"/>
                      <a:pt x="13" y="52"/>
                    </a:cubicBezTo>
                    <a:cubicBezTo>
                      <a:pt x="13" y="50"/>
                      <a:pt x="11" y="48"/>
                      <a:pt x="10" y="50"/>
                    </a:cubicBezTo>
                    <a:close/>
                    <a:moveTo>
                      <a:pt x="61" y="83"/>
                    </a:moveTo>
                    <a:cubicBezTo>
                      <a:pt x="61" y="83"/>
                      <a:pt x="60" y="81"/>
                      <a:pt x="58" y="81"/>
                    </a:cubicBezTo>
                    <a:cubicBezTo>
                      <a:pt x="57" y="81"/>
                      <a:pt x="56" y="82"/>
                      <a:pt x="55" y="80"/>
                    </a:cubicBezTo>
                    <a:cubicBezTo>
                      <a:pt x="53" y="78"/>
                      <a:pt x="50" y="80"/>
                      <a:pt x="47" y="80"/>
                    </a:cubicBezTo>
                    <a:cubicBezTo>
                      <a:pt x="43" y="79"/>
                      <a:pt x="44" y="79"/>
                      <a:pt x="40" y="78"/>
                    </a:cubicBezTo>
                    <a:cubicBezTo>
                      <a:pt x="36" y="77"/>
                      <a:pt x="38" y="81"/>
                      <a:pt x="38" y="81"/>
                    </a:cubicBezTo>
                    <a:cubicBezTo>
                      <a:pt x="38" y="81"/>
                      <a:pt x="44" y="83"/>
                      <a:pt x="45" y="83"/>
                    </a:cubicBezTo>
                    <a:cubicBezTo>
                      <a:pt x="46" y="83"/>
                      <a:pt x="50" y="84"/>
                      <a:pt x="50" y="85"/>
                    </a:cubicBezTo>
                    <a:cubicBezTo>
                      <a:pt x="50" y="88"/>
                      <a:pt x="63" y="86"/>
                      <a:pt x="65" y="86"/>
                    </a:cubicBezTo>
                    <a:cubicBezTo>
                      <a:pt x="67" y="85"/>
                      <a:pt x="66" y="82"/>
                      <a:pt x="66" y="82"/>
                    </a:cubicBezTo>
                    <a:lnTo>
                      <a:pt x="61" y="83"/>
                    </a:lnTo>
                    <a:close/>
                    <a:moveTo>
                      <a:pt x="12" y="48"/>
                    </a:moveTo>
                    <a:cubicBezTo>
                      <a:pt x="12" y="46"/>
                      <a:pt x="10" y="41"/>
                      <a:pt x="9" y="43"/>
                    </a:cubicBezTo>
                    <a:cubicBezTo>
                      <a:pt x="8" y="44"/>
                      <a:pt x="7" y="46"/>
                      <a:pt x="8" y="46"/>
                    </a:cubicBezTo>
                    <a:cubicBezTo>
                      <a:pt x="9" y="47"/>
                      <a:pt x="13" y="50"/>
                      <a:pt x="12" y="48"/>
                    </a:cubicBezTo>
                    <a:close/>
                    <a:moveTo>
                      <a:pt x="0" y="27"/>
                    </a:moveTo>
                    <a:cubicBezTo>
                      <a:pt x="0" y="27"/>
                      <a:pt x="2" y="29"/>
                      <a:pt x="3" y="30"/>
                    </a:cubicBezTo>
                    <a:cubicBezTo>
                      <a:pt x="4" y="32"/>
                      <a:pt x="6" y="32"/>
                      <a:pt x="6" y="32"/>
                    </a:cubicBezTo>
                    <a:cubicBezTo>
                      <a:pt x="3" y="26"/>
                      <a:pt x="3" y="26"/>
                      <a:pt x="3" y="26"/>
                    </a:cubicBezTo>
                    <a:lnTo>
                      <a:pt x="0" y="27"/>
                    </a:lnTo>
                    <a:close/>
                    <a:moveTo>
                      <a:pt x="32" y="70"/>
                    </a:moveTo>
                    <a:cubicBezTo>
                      <a:pt x="31" y="72"/>
                      <a:pt x="34" y="73"/>
                      <a:pt x="34" y="71"/>
                    </a:cubicBezTo>
                    <a:cubicBezTo>
                      <a:pt x="34" y="69"/>
                      <a:pt x="33" y="68"/>
                      <a:pt x="32" y="70"/>
                    </a:cubicBezTo>
                    <a:close/>
                    <a:moveTo>
                      <a:pt x="56" y="69"/>
                    </a:moveTo>
                    <a:cubicBezTo>
                      <a:pt x="57" y="71"/>
                      <a:pt x="58" y="71"/>
                      <a:pt x="58" y="69"/>
                    </a:cubicBezTo>
                    <a:cubicBezTo>
                      <a:pt x="58" y="68"/>
                      <a:pt x="56" y="69"/>
                      <a:pt x="56" y="69"/>
                    </a:cubicBezTo>
                    <a:close/>
                    <a:moveTo>
                      <a:pt x="64" y="4"/>
                    </a:moveTo>
                    <a:cubicBezTo>
                      <a:pt x="63" y="6"/>
                      <a:pt x="59" y="7"/>
                      <a:pt x="56" y="7"/>
                    </a:cubicBezTo>
                    <a:cubicBezTo>
                      <a:pt x="54" y="7"/>
                      <a:pt x="50" y="6"/>
                      <a:pt x="50" y="6"/>
                    </a:cubicBezTo>
                    <a:cubicBezTo>
                      <a:pt x="50" y="6"/>
                      <a:pt x="49" y="3"/>
                      <a:pt x="47" y="4"/>
                    </a:cubicBezTo>
                    <a:cubicBezTo>
                      <a:pt x="45" y="4"/>
                      <a:pt x="40" y="5"/>
                      <a:pt x="37" y="5"/>
                    </a:cubicBezTo>
                    <a:cubicBezTo>
                      <a:pt x="34" y="6"/>
                      <a:pt x="31" y="6"/>
                      <a:pt x="31" y="8"/>
                    </a:cubicBezTo>
                    <a:cubicBezTo>
                      <a:pt x="30" y="9"/>
                      <a:pt x="27" y="9"/>
                      <a:pt x="24" y="9"/>
                    </a:cubicBezTo>
                    <a:cubicBezTo>
                      <a:pt x="21" y="9"/>
                      <a:pt x="15" y="11"/>
                      <a:pt x="15" y="11"/>
                    </a:cubicBezTo>
                    <a:cubicBezTo>
                      <a:pt x="15" y="11"/>
                      <a:pt x="12" y="13"/>
                      <a:pt x="13" y="15"/>
                    </a:cubicBezTo>
                    <a:cubicBezTo>
                      <a:pt x="14" y="17"/>
                      <a:pt x="13" y="16"/>
                      <a:pt x="12" y="18"/>
                    </a:cubicBezTo>
                    <a:cubicBezTo>
                      <a:pt x="10" y="21"/>
                      <a:pt x="9" y="23"/>
                      <a:pt x="9" y="2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4" y="28"/>
                      <a:pt x="7" y="31"/>
                      <a:pt x="9" y="33"/>
                    </a:cubicBezTo>
                    <a:cubicBezTo>
                      <a:pt x="11" y="35"/>
                      <a:pt x="12" y="36"/>
                      <a:pt x="11" y="38"/>
                    </a:cubicBezTo>
                    <a:cubicBezTo>
                      <a:pt x="10" y="39"/>
                      <a:pt x="10" y="41"/>
                      <a:pt x="10" y="41"/>
                    </a:cubicBezTo>
                    <a:cubicBezTo>
                      <a:pt x="10" y="41"/>
                      <a:pt x="12" y="38"/>
                      <a:pt x="13" y="40"/>
                    </a:cubicBezTo>
                    <a:cubicBezTo>
                      <a:pt x="14" y="43"/>
                      <a:pt x="14" y="47"/>
                      <a:pt x="16" y="45"/>
                    </a:cubicBezTo>
                    <a:cubicBezTo>
                      <a:pt x="17" y="44"/>
                      <a:pt x="19" y="44"/>
                      <a:pt x="21" y="45"/>
                    </a:cubicBezTo>
                    <a:cubicBezTo>
                      <a:pt x="23" y="45"/>
                      <a:pt x="24" y="45"/>
                      <a:pt x="25" y="44"/>
                    </a:cubicBezTo>
                    <a:cubicBezTo>
                      <a:pt x="26" y="43"/>
                      <a:pt x="28" y="43"/>
                      <a:pt x="30" y="44"/>
                    </a:cubicBezTo>
                    <a:cubicBezTo>
                      <a:pt x="31" y="45"/>
                      <a:pt x="36" y="47"/>
                      <a:pt x="36" y="47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9"/>
                      <a:pt x="34" y="50"/>
                      <a:pt x="35" y="50"/>
                    </a:cubicBezTo>
                    <a:cubicBezTo>
                      <a:pt x="36" y="50"/>
                      <a:pt x="39" y="49"/>
                      <a:pt x="39" y="49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1" y="45"/>
                      <a:pt x="37" y="43"/>
                      <a:pt x="36" y="42"/>
                    </a:cubicBezTo>
                    <a:cubicBezTo>
                      <a:pt x="35" y="41"/>
                      <a:pt x="32" y="38"/>
                      <a:pt x="32" y="38"/>
                    </a:cubicBezTo>
                    <a:cubicBezTo>
                      <a:pt x="32" y="38"/>
                      <a:pt x="34" y="36"/>
                      <a:pt x="32" y="34"/>
                    </a:cubicBezTo>
                    <a:cubicBezTo>
                      <a:pt x="31" y="32"/>
                      <a:pt x="33" y="32"/>
                      <a:pt x="33" y="29"/>
                    </a:cubicBezTo>
                    <a:cubicBezTo>
                      <a:pt x="33" y="27"/>
                      <a:pt x="30" y="25"/>
                      <a:pt x="29" y="24"/>
                    </a:cubicBezTo>
                    <a:cubicBezTo>
                      <a:pt x="29" y="23"/>
                      <a:pt x="30" y="17"/>
                      <a:pt x="30" y="17"/>
                    </a:cubicBezTo>
                    <a:cubicBezTo>
                      <a:pt x="30" y="17"/>
                      <a:pt x="36" y="19"/>
                      <a:pt x="36" y="20"/>
                    </a:cubicBezTo>
                    <a:cubicBezTo>
                      <a:pt x="36" y="21"/>
                      <a:pt x="39" y="25"/>
                      <a:pt x="39" y="25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7" y="20"/>
                      <a:pt x="47" y="20"/>
                      <a:pt x="47" y="20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5"/>
                      <a:pt x="44" y="15"/>
                      <a:pt x="45" y="14"/>
                    </a:cubicBezTo>
                    <a:cubicBezTo>
                      <a:pt x="46" y="13"/>
                      <a:pt x="50" y="12"/>
                      <a:pt x="52" y="12"/>
                    </a:cubicBezTo>
                    <a:cubicBezTo>
                      <a:pt x="54" y="12"/>
                      <a:pt x="60" y="12"/>
                      <a:pt x="60" y="13"/>
                    </a:cubicBezTo>
                    <a:cubicBezTo>
                      <a:pt x="61" y="13"/>
                      <a:pt x="62" y="14"/>
                      <a:pt x="63" y="14"/>
                    </a:cubicBezTo>
                    <a:cubicBezTo>
                      <a:pt x="64" y="12"/>
                      <a:pt x="66" y="10"/>
                      <a:pt x="66" y="10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8" y="6"/>
                      <a:pt x="69" y="4"/>
                      <a:pt x="69" y="2"/>
                    </a:cubicBezTo>
                    <a:cubicBezTo>
                      <a:pt x="67" y="1"/>
                      <a:pt x="66" y="0"/>
                      <a:pt x="65" y="0"/>
                    </a:cubicBezTo>
                    <a:cubicBezTo>
                      <a:pt x="64" y="1"/>
                      <a:pt x="65" y="3"/>
                      <a:pt x="64" y="4"/>
                    </a:cubicBezTo>
                    <a:close/>
                    <a:moveTo>
                      <a:pt x="73" y="61"/>
                    </a:moveTo>
                    <a:cubicBezTo>
                      <a:pt x="73" y="59"/>
                      <a:pt x="71" y="60"/>
                      <a:pt x="71" y="60"/>
                    </a:cubicBezTo>
                    <a:cubicBezTo>
                      <a:pt x="72" y="61"/>
                      <a:pt x="73" y="63"/>
                      <a:pt x="73" y="61"/>
                    </a:cubicBezTo>
                    <a:close/>
                    <a:moveTo>
                      <a:pt x="17" y="48"/>
                    </a:moveTo>
                    <a:cubicBezTo>
                      <a:pt x="15" y="48"/>
                      <a:pt x="15" y="49"/>
                      <a:pt x="15" y="50"/>
                    </a:cubicBezTo>
                    <a:cubicBezTo>
                      <a:pt x="15" y="52"/>
                      <a:pt x="18" y="52"/>
                      <a:pt x="19" y="54"/>
                    </a:cubicBezTo>
                    <a:cubicBezTo>
                      <a:pt x="20" y="56"/>
                      <a:pt x="20" y="57"/>
                      <a:pt x="19" y="60"/>
                    </a:cubicBezTo>
                    <a:cubicBezTo>
                      <a:pt x="19" y="63"/>
                      <a:pt x="21" y="65"/>
                      <a:pt x="22" y="65"/>
                    </a:cubicBezTo>
                    <a:cubicBezTo>
                      <a:pt x="23" y="64"/>
                      <a:pt x="23" y="59"/>
                      <a:pt x="25" y="61"/>
                    </a:cubicBezTo>
                    <a:cubicBezTo>
                      <a:pt x="27" y="64"/>
                      <a:pt x="28" y="68"/>
                      <a:pt x="28" y="68"/>
                    </a:cubicBezTo>
                    <a:cubicBezTo>
                      <a:pt x="28" y="68"/>
                      <a:pt x="28" y="64"/>
                      <a:pt x="29" y="64"/>
                    </a:cubicBezTo>
                    <a:cubicBezTo>
                      <a:pt x="30" y="63"/>
                      <a:pt x="35" y="67"/>
                      <a:pt x="35" y="67"/>
                    </a:cubicBezTo>
                    <a:cubicBezTo>
                      <a:pt x="35" y="67"/>
                      <a:pt x="34" y="64"/>
                      <a:pt x="34" y="62"/>
                    </a:cubicBezTo>
                    <a:cubicBezTo>
                      <a:pt x="34" y="61"/>
                      <a:pt x="31" y="55"/>
                      <a:pt x="31" y="55"/>
                    </a:cubicBezTo>
                    <a:cubicBezTo>
                      <a:pt x="31" y="55"/>
                      <a:pt x="34" y="56"/>
                      <a:pt x="36" y="56"/>
                    </a:cubicBezTo>
                    <a:cubicBezTo>
                      <a:pt x="38" y="56"/>
                      <a:pt x="36" y="54"/>
                      <a:pt x="35" y="53"/>
                    </a:cubicBezTo>
                    <a:cubicBezTo>
                      <a:pt x="34" y="53"/>
                      <a:pt x="33" y="49"/>
                      <a:pt x="32" y="49"/>
                    </a:cubicBezTo>
                    <a:cubicBezTo>
                      <a:pt x="31" y="49"/>
                      <a:pt x="27" y="47"/>
                      <a:pt x="26" y="46"/>
                    </a:cubicBezTo>
                    <a:cubicBezTo>
                      <a:pt x="25" y="45"/>
                      <a:pt x="18" y="48"/>
                      <a:pt x="17" y="48"/>
                    </a:cubicBezTo>
                    <a:close/>
                    <a:moveTo>
                      <a:pt x="80" y="69"/>
                    </a:moveTo>
                    <a:cubicBezTo>
                      <a:pt x="79" y="71"/>
                      <a:pt x="78" y="74"/>
                      <a:pt x="80" y="74"/>
                    </a:cubicBezTo>
                    <a:cubicBezTo>
                      <a:pt x="82" y="75"/>
                      <a:pt x="84" y="69"/>
                      <a:pt x="84" y="68"/>
                    </a:cubicBezTo>
                    <a:cubicBezTo>
                      <a:pt x="84" y="67"/>
                      <a:pt x="82" y="68"/>
                      <a:pt x="80" y="69"/>
                    </a:cubicBezTo>
                    <a:close/>
                    <a:moveTo>
                      <a:pt x="72" y="80"/>
                    </a:moveTo>
                    <a:cubicBezTo>
                      <a:pt x="73" y="80"/>
                      <a:pt x="75" y="81"/>
                      <a:pt x="75" y="79"/>
                    </a:cubicBezTo>
                    <a:cubicBezTo>
                      <a:pt x="75" y="77"/>
                      <a:pt x="74" y="75"/>
                      <a:pt x="74" y="75"/>
                    </a:cubicBezTo>
                    <a:cubicBezTo>
                      <a:pt x="74" y="77"/>
                      <a:pt x="71" y="79"/>
                      <a:pt x="72" y="80"/>
                    </a:cubicBezTo>
                    <a:close/>
                    <a:moveTo>
                      <a:pt x="65" y="54"/>
                    </a:moveTo>
                    <a:cubicBezTo>
                      <a:pt x="68" y="53"/>
                      <a:pt x="64" y="53"/>
                      <a:pt x="63" y="53"/>
                    </a:cubicBezTo>
                    <a:cubicBezTo>
                      <a:pt x="63" y="53"/>
                      <a:pt x="62" y="55"/>
                      <a:pt x="65" y="54"/>
                    </a:cubicBezTo>
                    <a:close/>
                    <a:moveTo>
                      <a:pt x="53" y="61"/>
                    </a:moveTo>
                    <a:cubicBezTo>
                      <a:pt x="53" y="61"/>
                      <a:pt x="56" y="62"/>
                      <a:pt x="56" y="60"/>
                    </a:cubicBezTo>
                    <a:cubicBezTo>
                      <a:pt x="56" y="58"/>
                      <a:pt x="54" y="60"/>
                      <a:pt x="53" y="61"/>
                    </a:cubicBezTo>
                    <a:close/>
                    <a:moveTo>
                      <a:pt x="54" y="54"/>
                    </a:moveTo>
                    <a:cubicBezTo>
                      <a:pt x="56" y="55"/>
                      <a:pt x="56" y="53"/>
                      <a:pt x="55" y="52"/>
                    </a:cubicBezTo>
                    <a:cubicBezTo>
                      <a:pt x="54" y="52"/>
                      <a:pt x="51" y="51"/>
                      <a:pt x="51" y="51"/>
                    </a:cubicBezTo>
                    <a:cubicBezTo>
                      <a:pt x="51" y="52"/>
                      <a:pt x="51" y="53"/>
                      <a:pt x="54" y="54"/>
                    </a:cubicBezTo>
                    <a:close/>
                    <a:moveTo>
                      <a:pt x="62" y="42"/>
                    </a:moveTo>
                    <a:cubicBezTo>
                      <a:pt x="61" y="44"/>
                      <a:pt x="61" y="44"/>
                      <a:pt x="61" y="44"/>
                    </a:cubicBezTo>
                    <a:cubicBezTo>
                      <a:pt x="61" y="45"/>
                      <a:pt x="61" y="47"/>
                      <a:pt x="62" y="46"/>
                    </a:cubicBezTo>
                    <a:cubicBezTo>
                      <a:pt x="63" y="46"/>
                      <a:pt x="62" y="42"/>
                      <a:pt x="62" y="42"/>
                    </a:cubicBezTo>
                    <a:close/>
                    <a:moveTo>
                      <a:pt x="65" y="32"/>
                    </a:moveTo>
                    <a:cubicBezTo>
                      <a:pt x="63" y="32"/>
                      <a:pt x="62" y="32"/>
                      <a:pt x="61" y="33"/>
                    </a:cubicBezTo>
                    <a:cubicBezTo>
                      <a:pt x="61" y="35"/>
                      <a:pt x="68" y="36"/>
                      <a:pt x="68" y="35"/>
                    </a:cubicBezTo>
                    <a:cubicBezTo>
                      <a:pt x="68" y="34"/>
                      <a:pt x="66" y="31"/>
                      <a:pt x="65" y="32"/>
                    </a:cubicBezTo>
                    <a:close/>
                    <a:moveTo>
                      <a:pt x="57" y="24"/>
                    </a:moveTo>
                    <a:cubicBezTo>
                      <a:pt x="55" y="23"/>
                      <a:pt x="53" y="25"/>
                      <a:pt x="53" y="25"/>
                    </a:cubicBezTo>
                    <a:cubicBezTo>
                      <a:pt x="53" y="27"/>
                      <a:pt x="55" y="27"/>
                      <a:pt x="55" y="27"/>
                    </a:cubicBezTo>
                    <a:cubicBezTo>
                      <a:pt x="55" y="27"/>
                      <a:pt x="59" y="24"/>
                      <a:pt x="57" y="2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4" name="Freeform 36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418947" y="3552826"/>
                <a:ext cx="363532" cy="466725"/>
              </a:xfrm>
              <a:custGeom>
                <a:avLst/>
                <a:gdLst>
                  <a:gd name="T0" fmla="*/ 2147483647 w 92"/>
                  <a:gd name="T1" fmla="*/ 2147483647 h 119"/>
                  <a:gd name="T2" fmla="*/ 2147483647 w 92"/>
                  <a:gd name="T3" fmla="*/ 2147483647 h 119"/>
                  <a:gd name="T4" fmla="*/ 2147483647 w 92"/>
                  <a:gd name="T5" fmla="*/ 2147483647 h 119"/>
                  <a:gd name="T6" fmla="*/ 2147483647 w 92"/>
                  <a:gd name="T7" fmla="*/ 2147483647 h 119"/>
                  <a:gd name="T8" fmla="*/ 2147483647 w 92"/>
                  <a:gd name="T9" fmla="*/ 2147483647 h 119"/>
                  <a:gd name="T10" fmla="*/ 2147483647 w 92"/>
                  <a:gd name="T11" fmla="*/ 2147483647 h 119"/>
                  <a:gd name="T12" fmla="*/ 2147483647 w 92"/>
                  <a:gd name="T13" fmla="*/ 2147483647 h 119"/>
                  <a:gd name="T14" fmla="*/ 2147483647 w 92"/>
                  <a:gd name="T15" fmla="*/ 2147483647 h 119"/>
                  <a:gd name="T16" fmla="*/ 2147483647 w 92"/>
                  <a:gd name="T17" fmla="*/ 2147483647 h 119"/>
                  <a:gd name="T18" fmla="*/ 2147483647 w 92"/>
                  <a:gd name="T19" fmla="*/ 2147483647 h 119"/>
                  <a:gd name="T20" fmla="*/ 2147483647 w 92"/>
                  <a:gd name="T21" fmla="*/ 2147483647 h 119"/>
                  <a:gd name="T22" fmla="*/ 2147483647 w 92"/>
                  <a:gd name="T23" fmla="*/ 0 h 119"/>
                  <a:gd name="T24" fmla="*/ 2147483647 w 92"/>
                  <a:gd name="T25" fmla="*/ 2147483647 h 119"/>
                  <a:gd name="T26" fmla="*/ 2147483647 w 92"/>
                  <a:gd name="T27" fmla="*/ 2147483647 h 119"/>
                  <a:gd name="T28" fmla="*/ 2147483647 w 92"/>
                  <a:gd name="T29" fmla="*/ 2147483647 h 119"/>
                  <a:gd name="T30" fmla="*/ 2147483647 w 92"/>
                  <a:gd name="T31" fmla="*/ 2147483647 h 119"/>
                  <a:gd name="T32" fmla="*/ 2147483647 w 92"/>
                  <a:gd name="T33" fmla="*/ 2147483647 h 119"/>
                  <a:gd name="T34" fmla="*/ 2147483647 w 92"/>
                  <a:gd name="T35" fmla="*/ 2147483647 h 119"/>
                  <a:gd name="T36" fmla="*/ 2147483647 w 92"/>
                  <a:gd name="T37" fmla="*/ 2147483647 h 119"/>
                  <a:gd name="T38" fmla="*/ 2147483647 w 92"/>
                  <a:gd name="T39" fmla="*/ 2147483647 h 119"/>
                  <a:gd name="T40" fmla="*/ 2147483647 w 92"/>
                  <a:gd name="T41" fmla="*/ 2147483647 h 119"/>
                  <a:gd name="T42" fmla="*/ 2147483647 w 92"/>
                  <a:gd name="T43" fmla="*/ 2147483647 h 119"/>
                  <a:gd name="T44" fmla="*/ 2147483647 w 92"/>
                  <a:gd name="T45" fmla="*/ 2147483647 h 119"/>
                  <a:gd name="T46" fmla="*/ 2147483647 w 92"/>
                  <a:gd name="T47" fmla="*/ 2147483647 h 119"/>
                  <a:gd name="T48" fmla="*/ 2147483647 w 92"/>
                  <a:gd name="T49" fmla="*/ 2147483647 h 119"/>
                  <a:gd name="T50" fmla="*/ 2147483647 w 92"/>
                  <a:gd name="T51" fmla="*/ 2147483647 h 119"/>
                  <a:gd name="T52" fmla="*/ 2147483647 w 92"/>
                  <a:gd name="T53" fmla="*/ 2147483647 h 119"/>
                  <a:gd name="T54" fmla="*/ 2147483647 w 92"/>
                  <a:gd name="T55" fmla="*/ 2147483647 h 119"/>
                  <a:gd name="T56" fmla="*/ 2147483647 w 92"/>
                  <a:gd name="T57" fmla="*/ 2147483647 h 119"/>
                  <a:gd name="T58" fmla="*/ 2147483647 w 92"/>
                  <a:gd name="T59" fmla="*/ 2147483647 h 119"/>
                  <a:gd name="T60" fmla="*/ 2147483647 w 92"/>
                  <a:gd name="T61" fmla="*/ 2147483647 h 119"/>
                  <a:gd name="T62" fmla="*/ 2147483647 w 92"/>
                  <a:gd name="T63" fmla="*/ 2147483647 h 119"/>
                  <a:gd name="T64" fmla="*/ 2147483647 w 92"/>
                  <a:gd name="T65" fmla="*/ 2147483647 h 119"/>
                  <a:gd name="T66" fmla="*/ 2147483647 w 92"/>
                  <a:gd name="T67" fmla="*/ 2147483647 h 119"/>
                  <a:gd name="T68" fmla="*/ 2147483647 w 92"/>
                  <a:gd name="T69" fmla="*/ 2147483647 h 119"/>
                  <a:gd name="T70" fmla="*/ 2147483647 w 92"/>
                  <a:gd name="T71" fmla="*/ 2147483647 h 119"/>
                  <a:gd name="T72" fmla="*/ 2147483647 w 92"/>
                  <a:gd name="T73" fmla="*/ 2147483647 h 119"/>
                  <a:gd name="T74" fmla="*/ 2147483647 w 92"/>
                  <a:gd name="T75" fmla="*/ 2147483647 h 119"/>
                  <a:gd name="T76" fmla="*/ 2147483647 w 92"/>
                  <a:gd name="T77" fmla="*/ 2147483647 h 119"/>
                  <a:gd name="T78" fmla="*/ 2147483647 w 92"/>
                  <a:gd name="T79" fmla="*/ 2147483647 h 11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2"/>
                  <a:gd name="T121" fmla="*/ 0 h 119"/>
                  <a:gd name="T122" fmla="*/ 92 w 92"/>
                  <a:gd name="T123" fmla="*/ 119 h 11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2" h="119">
                    <a:moveTo>
                      <a:pt x="92" y="63"/>
                    </a:moveTo>
                    <a:cubicBezTo>
                      <a:pt x="92" y="61"/>
                      <a:pt x="88" y="55"/>
                      <a:pt x="88" y="55"/>
                    </a:cubicBezTo>
                    <a:cubicBezTo>
                      <a:pt x="88" y="55"/>
                      <a:pt x="88" y="49"/>
                      <a:pt x="88" y="47"/>
                    </a:cubicBezTo>
                    <a:cubicBezTo>
                      <a:pt x="88" y="45"/>
                      <a:pt x="87" y="41"/>
                      <a:pt x="87" y="39"/>
                    </a:cubicBezTo>
                    <a:cubicBezTo>
                      <a:pt x="86" y="38"/>
                      <a:pt x="82" y="34"/>
                      <a:pt x="82" y="34"/>
                    </a:cubicBezTo>
                    <a:cubicBezTo>
                      <a:pt x="82" y="34"/>
                      <a:pt x="84" y="29"/>
                      <a:pt x="85" y="26"/>
                    </a:cubicBezTo>
                    <a:cubicBezTo>
                      <a:pt x="85" y="24"/>
                      <a:pt x="82" y="18"/>
                      <a:pt x="82" y="18"/>
                    </a:cubicBezTo>
                    <a:cubicBezTo>
                      <a:pt x="84" y="17"/>
                      <a:pt x="84" y="17"/>
                      <a:pt x="84" y="17"/>
                    </a:cubicBezTo>
                    <a:cubicBezTo>
                      <a:pt x="83" y="17"/>
                      <a:pt x="83" y="16"/>
                      <a:pt x="82" y="16"/>
                    </a:cubicBezTo>
                    <a:cubicBezTo>
                      <a:pt x="80" y="14"/>
                      <a:pt x="79" y="13"/>
                      <a:pt x="76" y="14"/>
                    </a:cubicBezTo>
                    <a:cubicBezTo>
                      <a:pt x="74" y="14"/>
                      <a:pt x="74" y="11"/>
                      <a:pt x="75" y="10"/>
                    </a:cubicBezTo>
                    <a:cubicBezTo>
                      <a:pt x="76" y="10"/>
                      <a:pt x="77" y="8"/>
                      <a:pt x="76" y="7"/>
                    </a:cubicBezTo>
                    <a:cubicBezTo>
                      <a:pt x="75" y="5"/>
                      <a:pt x="73" y="4"/>
                      <a:pt x="72" y="6"/>
                    </a:cubicBezTo>
                    <a:cubicBezTo>
                      <a:pt x="72" y="7"/>
                      <a:pt x="71" y="8"/>
                      <a:pt x="70" y="8"/>
                    </a:cubicBezTo>
                    <a:cubicBezTo>
                      <a:pt x="69" y="8"/>
                      <a:pt x="67" y="9"/>
                      <a:pt x="64" y="8"/>
                    </a:cubicBezTo>
                    <a:cubicBezTo>
                      <a:pt x="60" y="7"/>
                      <a:pt x="60" y="11"/>
                      <a:pt x="59" y="12"/>
                    </a:cubicBezTo>
                    <a:cubicBezTo>
                      <a:pt x="58" y="13"/>
                      <a:pt x="58" y="14"/>
                      <a:pt x="56" y="15"/>
                    </a:cubicBezTo>
                    <a:cubicBezTo>
                      <a:pt x="55" y="16"/>
                      <a:pt x="52" y="16"/>
                      <a:pt x="50" y="16"/>
                    </a:cubicBezTo>
                    <a:cubicBezTo>
                      <a:pt x="49" y="16"/>
                      <a:pt x="51" y="13"/>
                      <a:pt x="52" y="12"/>
                    </a:cubicBezTo>
                    <a:cubicBezTo>
                      <a:pt x="54" y="11"/>
                      <a:pt x="54" y="8"/>
                      <a:pt x="54" y="7"/>
                    </a:cubicBezTo>
                    <a:cubicBezTo>
                      <a:pt x="54" y="6"/>
                      <a:pt x="51" y="9"/>
                      <a:pt x="51" y="9"/>
                    </a:cubicBezTo>
                    <a:cubicBezTo>
                      <a:pt x="51" y="9"/>
                      <a:pt x="48" y="9"/>
                      <a:pt x="46" y="8"/>
                    </a:cubicBezTo>
                    <a:cubicBezTo>
                      <a:pt x="45" y="6"/>
                      <a:pt x="41" y="2"/>
                      <a:pt x="41" y="1"/>
                    </a:cubicBezTo>
                    <a:cubicBezTo>
                      <a:pt x="40" y="0"/>
                      <a:pt x="35" y="0"/>
                      <a:pt x="35" y="0"/>
                    </a:cubicBezTo>
                    <a:cubicBezTo>
                      <a:pt x="35" y="0"/>
                      <a:pt x="30" y="2"/>
                      <a:pt x="28" y="1"/>
                    </a:cubicBezTo>
                    <a:cubicBezTo>
                      <a:pt x="26" y="0"/>
                      <a:pt x="29" y="3"/>
                      <a:pt x="30" y="5"/>
                    </a:cubicBezTo>
                    <a:cubicBezTo>
                      <a:pt x="31" y="6"/>
                      <a:pt x="29" y="10"/>
                      <a:pt x="31" y="16"/>
                    </a:cubicBezTo>
                    <a:cubicBezTo>
                      <a:pt x="33" y="21"/>
                      <a:pt x="30" y="17"/>
                      <a:pt x="27" y="18"/>
                    </a:cubicBezTo>
                    <a:cubicBezTo>
                      <a:pt x="24" y="19"/>
                      <a:pt x="27" y="21"/>
                      <a:pt x="25" y="22"/>
                    </a:cubicBezTo>
                    <a:cubicBezTo>
                      <a:pt x="23" y="23"/>
                      <a:pt x="23" y="20"/>
                      <a:pt x="23" y="20"/>
                    </a:cubicBezTo>
                    <a:cubicBezTo>
                      <a:pt x="23" y="20"/>
                      <a:pt x="18" y="20"/>
                      <a:pt x="15" y="20"/>
                    </a:cubicBezTo>
                    <a:cubicBezTo>
                      <a:pt x="13" y="20"/>
                      <a:pt x="14" y="21"/>
                      <a:pt x="13" y="24"/>
                    </a:cubicBezTo>
                    <a:cubicBezTo>
                      <a:pt x="12" y="27"/>
                      <a:pt x="14" y="26"/>
                      <a:pt x="14" y="28"/>
                    </a:cubicBezTo>
                    <a:cubicBezTo>
                      <a:pt x="15" y="30"/>
                      <a:pt x="14" y="33"/>
                      <a:pt x="12" y="36"/>
                    </a:cubicBezTo>
                    <a:cubicBezTo>
                      <a:pt x="10" y="39"/>
                      <a:pt x="10" y="38"/>
                      <a:pt x="10" y="39"/>
                    </a:cubicBezTo>
                    <a:cubicBezTo>
                      <a:pt x="11" y="40"/>
                      <a:pt x="13" y="42"/>
                      <a:pt x="12" y="44"/>
                    </a:cubicBezTo>
                    <a:cubicBezTo>
                      <a:pt x="12" y="45"/>
                      <a:pt x="8" y="46"/>
                      <a:pt x="8" y="46"/>
                    </a:cubicBezTo>
                    <a:cubicBezTo>
                      <a:pt x="8" y="46"/>
                      <a:pt x="4" y="48"/>
                      <a:pt x="2" y="49"/>
                    </a:cubicBezTo>
                    <a:cubicBezTo>
                      <a:pt x="0" y="50"/>
                      <a:pt x="4" y="53"/>
                      <a:pt x="4" y="54"/>
                    </a:cubicBezTo>
                    <a:cubicBezTo>
                      <a:pt x="5" y="56"/>
                      <a:pt x="4" y="58"/>
                      <a:pt x="3" y="60"/>
                    </a:cubicBezTo>
                    <a:cubicBezTo>
                      <a:pt x="2" y="61"/>
                      <a:pt x="3" y="66"/>
                      <a:pt x="3" y="67"/>
                    </a:cubicBezTo>
                    <a:cubicBezTo>
                      <a:pt x="2" y="68"/>
                      <a:pt x="3" y="69"/>
                      <a:pt x="4" y="71"/>
                    </a:cubicBezTo>
                    <a:cubicBezTo>
                      <a:pt x="5" y="73"/>
                      <a:pt x="6" y="74"/>
                      <a:pt x="4" y="75"/>
                    </a:cubicBezTo>
                    <a:cubicBezTo>
                      <a:pt x="2" y="76"/>
                      <a:pt x="6" y="79"/>
                      <a:pt x="7" y="80"/>
                    </a:cubicBezTo>
                    <a:cubicBezTo>
                      <a:pt x="7" y="81"/>
                      <a:pt x="5" y="87"/>
                      <a:pt x="6" y="87"/>
                    </a:cubicBezTo>
                    <a:cubicBezTo>
                      <a:pt x="7" y="87"/>
                      <a:pt x="9" y="91"/>
                      <a:pt x="9" y="91"/>
                    </a:cubicBezTo>
                    <a:cubicBezTo>
                      <a:pt x="9" y="91"/>
                      <a:pt x="11" y="92"/>
                      <a:pt x="12" y="92"/>
                    </a:cubicBezTo>
                    <a:cubicBezTo>
                      <a:pt x="13" y="92"/>
                      <a:pt x="16" y="92"/>
                      <a:pt x="17" y="93"/>
                    </a:cubicBezTo>
                    <a:cubicBezTo>
                      <a:pt x="18" y="94"/>
                      <a:pt x="20" y="94"/>
                      <a:pt x="22" y="94"/>
                    </a:cubicBezTo>
                    <a:cubicBezTo>
                      <a:pt x="24" y="94"/>
                      <a:pt x="23" y="96"/>
                      <a:pt x="22" y="98"/>
                    </a:cubicBezTo>
                    <a:cubicBezTo>
                      <a:pt x="21" y="99"/>
                      <a:pt x="19" y="103"/>
                      <a:pt x="18" y="106"/>
                    </a:cubicBezTo>
                    <a:cubicBezTo>
                      <a:pt x="17" y="108"/>
                      <a:pt x="18" y="112"/>
                      <a:pt x="18" y="114"/>
                    </a:cubicBezTo>
                    <a:cubicBezTo>
                      <a:pt x="19" y="115"/>
                      <a:pt x="23" y="115"/>
                      <a:pt x="25" y="115"/>
                    </a:cubicBezTo>
                    <a:cubicBezTo>
                      <a:pt x="27" y="115"/>
                      <a:pt x="29" y="113"/>
                      <a:pt x="31" y="113"/>
                    </a:cubicBezTo>
                    <a:cubicBezTo>
                      <a:pt x="33" y="113"/>
                      <a:pt x="38" y="116"/>
                      <a:pt x="38" y="116"/>
                    </a:cubicBezTo>
                    <a:cubicBezTo>
                      <a:pt x="38" y="116"/>
                      <a:pt x="38" y="116"/>
                      <a:pt x="38" y="116"/>
                    </a:cubicBezTo>
                    <a:cubicBezTo>
                      <a:pt x="39" y="114"/>
                      <a:pt x="39" y="114"/>
                      <a:pt x="39" y="114"/>
                    </a:cubicBezTo>
                    <a:cubicBezTo>
                      <a:pt x="44" y="119"/>
                      <a:pt x="44" y="119"/>
                      <a:pt x="44" y="119"/>
                    </a:cubicBezTo>
                    <a:cubicBezTo>
                      <a:pt x="44" y="119"/>
                      <a:pt x="45" y="115"/>
                      <a:pt x="47" y="115"/>
                    </a:cubicBezTo>
                    <a:cubicBezTo>
                      <a:pt x="49" y="115"/>
                      <a:pt x="51" y="114"/>
                      <a:pt x="52" y="116"/>
                    </a:cubicBezTo>
                    <a:cubicBezTo>
                      <a:pt x="52" y="119"/>
                      <a:pt x="57" y="116"/>
                      <a:pt x="57" y="116"/>
                    </a:cubicBezTo>
                    <a:cubicBezTo>
                      <a:pt x="57" y="116"/>
                      <a:pt x="63" y="114"/>
                      <a:pt x="65" y="114"/>
                    </a:cubicBezTo>
                    <a:cubicBezTo>
                      <a:pt x="66" y="114"/>
                      <a:pt x="71" y="117"/>
                      <a:pt x="71" y="117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112"/>
                      <a:pt x="67" y="106"/>
                      <a:pt x="69" y="106"/>
                    </a:cubicBezTo>
                    <a:cubicBezTo>
                      <a:pt x="71" y="106"/>
                      <a:pt x="73" y="104"/>
                      <a:pt x="75" y="104"/>
                    </a:cubicBezTo>
                    <a:cubicBezTo>
                      <a:pt x="76" y="103"/>
                      <a:pt x="75" y="100"/>
                      <a:pt x="77" y="101"/>
                    </a:cubicBezTo>
                    <a:cubicBezTo>
                      <a:pt x="78" y="102"/>
                      <a:pt x="78" y="102"/>
                      <a:pt x="79" y="100"/>
                    </a:cubicBezTo>
                    <a:cubicBezTo>
                      <a:pt x="80" y="99"/>
                      <a:pt x="80" y="99"/>
                      <a:pt x="79" y="98"/>
                    </a:cubicBezTo>
                    <a:cubicBezTo>
                      <a:pt x="79" y="98"/>
                      <a:pt x="79" y="98"/>
                      <a:pt x="79" y="98"/>
                    </a:cubicBezTo>
                    <a:cubicBezTo>
                      <a:pt x="79" y="98"/>
                      <a:pt x="79" y="98"/>
                      <a:pt x="79" y="98"/>
                    </a:cubicBezTo>
                    <a:cubicBezTo>
                      <a:pt x="77" y="97"/>
                      <a:pt x="71" y="90"/>
                      <a:pt x="70" y="89"/>
                    </a:cubicBezTo>
                    <a:cubicBezTo>
                      <a:pt x="69" y="89"/>
                      <a:pt x="67" y="86"/>
                      <a:pt x="67" y="83"/>
                    </a:cubicBezTo>
                    <a:cubicBezTo>
                      <a:pt x="67" y="80"/>
                      <a:pt x="64" y="78"/>
                      <a:pt x="63" y="76"/>
                    </a:cubicBezTo>
                    <a:cubicBezTo>
                      <a:pt x="62" y="75"/>
                      <a:pt x="65" y="76"/>
                      <a:pt x="67" y="74"/>
                    </a:cubicBezTo>
                    <a:cubicBezTo>
                      <a:pt x="68" y="73"/>
                      <a:pt x="70" y="73"/>
                      <a:pt x="73" y="72"/>
                    </a:cubicBezTo>
                    <a:cubicBezTo>
                      <a:pt x="75" y="70"/>
                      <a:pt x="78" y="68"/>
                      <a:pt x="81" y="67"/>
                    </a:cubicBezTo>
                    <a:cubicBezTo>
                      <a:pt x="84" y="66"/>
                      <a:pt x="87" y="66"/>
                      <a:pt x="89" y="66"/>
                    </a:cubicBezTo>
                    <a:cubicBezTo>
                      <a:pt x="90" y="66"/>
                      <a:pt x="91" y="65"/>
                      <a:pt x="92" y="64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2" y="64"/>
                      <a:pt x="92" y="63"/>
                      <a:pt x="92" y="6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5" name="Freeform 37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835538" y="4214813"/>
                <a:ext cx="485198" cy="381000"/>
              </a:xfrm>
              <a:custGeom>
                <a:avLst/>
                <a:gdLst>
                  <a:gd name="T0" fmla="*/ 2147483647 w 122"/>
                  <a:gd name="T1" fmla="*/ 2147483647 h 98"/>
                  <a:gd name="T2" fmla="*/ 2147483647 w 122"/>
                  <a:gd name="T3" fmla="*/ 2147483647 h 98"/>
                  <a:gd name="T4" fmla="*/ 2147483647 w 122"/>
                  <a:gd name="T5" fmla="*/ 2147483647 h 98"/>
                  <a:gd name="T6" fmla="*/ 2147483647 w 122"/>
                  <a:gd name="T7" fmla="*/ 2147483647 h 98"/>
                  <a:gd name="T8" fmla="*/ 2147483647 w 122"/>
                  <a:gd name="T9" fmla="*/ 2147483647 h 98"/>
                  <a:gd name="T10" fmla="*/ 2147483647 w 122"/>
                  <a:gd name="T11" fmla="*/ 2147483647 h 98"/>
                  <a:gd name="T12" fmla="*/ 2147483647 w 122"/>
                  <a:gd name="T13" fmla="*/ 2147483647 h 98"/>
                  <a:gd name="T14" fmla="*/ 2147483647 w 122"/>
                  <a:gd name="T15" fmla="*/ 2147483647 h 98"/>
                  <a:gd name="T16" fmla="*/ 2147483647 w 122"/>
                  <a:gd name="T17" fmla="*/ 2147483647 h 98"/>
                  <a:gd name="T18" fmla="*/ 2147483647 w 122"/>
                  <a:gd name="T19" fmla="*/ 2147483647 h 98"/>
                  <a:gd name="T20" fmla="*/ 2147483647 w 122"/>
                  <a:gd name="T21" fmla="*/ 2147483647 h 98"/>
                  <a:gd name="T22" fmla="*/ 2147483647 w 122"/>
                  <a:gd name="T23" fmla="*/ 2147483647 h 98"/>
                  <a:gd name="T24" fmla="*/ 2147483647 w 122"/>
                  <a:gd name="T25" fmla="*/ 2147483647 h 98"/>
                  <a:gd name="T26" fmla="*/ 2147483647 w 122"/>
                  <a:gd name="T27" fmla="*/ 2147483647 h 98"/>
                  <a:gd name="T28" fmla="*/ 2147483647 w 122"/>
                  <a:gd name="T29" fmla="*/ 2147483647 h 98"/>
                  <a:gd name="T30" fmla="*/ 2147483647 w 122"/>
                  <a:gd name="T31" fmla="*/ 2147483647 h 98"/>
                  <a:gd name="T32" fmla="*/ 2147483647 w 122"/>
                  <a:gd name="T33" fmla="*/ 2147483647 h 98"/>
                  <a:gd name="T34" fmla="*/ 2147483647 w 122"/>
                  <a:gd name="T35" fmla="*/ 2147483647 h 98"/>
                  <a:gd name="T36" fmla="*/ 2147483647 w 122"/>
                  <a:gd name="T37" fmla="*/ 2147483647 h 98"/>
                  <a:gd name="T38" fmla="*/ 2147483647 w 122"/>
                  <a:gd name="T39" fmla="*/ 2147483647 h 98"/>
                  <a:gd name="T40" fmla="*/ 2147483647 w 122"/>
                  <a:gd name="T41" fmla="*/ 2147483647 h 98"/>
                  <a:gd name="T42" fmla="*/ 2147483647 w 122"/>
                  <a:gd name="T43" fmla="*/ 2147483647 h 98"/>
                  <a:gd name="T44" fmla="*/ 2147483647 w 122"/>
                  <a:gd name="T45" fmla="*/ 2147483647 h 98"/>
                  <a:gd name="T46" fmla="*/ 0 w 122"/>
                  <a:gd name="T47" fmla="*/ 2147483647 h 98"/>
                  <a:gd name="T48" fmla="*/ 2147483647 w 122"/>
                  <a:gd name="T49" fmla="*/ 2147483647 h 98"/>
                  <a:gd name="T50" fmla="*/ 2147483647 w 122"/>
                  <a:gd name="T51" fmla="*/ 0 h 98"/>
                  <a:gd name="T52" fmla="*/ 2147483647 w 122"/>
                  <a:gd name="T53" fmla="*/ 2147483647 h 98"/>
                  <a:gd name="T54" fmla="*/ 2147483647 w 122"/>
                  <a:gd name="T55" fmla="*/ 2147483647 h 98"/>
                  <a:gd name="T56" fmla="*/ 2147483647 w 122"/>
                  <a:gd name="T57" fmla="*/ 2147483647 h 98"/>
                  <a:gd name="T58" fmla="*/ 2147483647 w 122"/>
                  <a:gd name="T59" fmla="*/ 2147483647 h 98"/>
                  <a:gd name="T60" fmla="*/ 2147483647 w 122"/>
                  <a:gd name="T61" fmla="*/ 2147483647 h 98"/>
                  <a:gd name="T62" fmla="*/ 2147483647 w 122"/>
                  <a:gd name="T63" fmla="*/ 2147483647 h 98"/>
                  <a:gd name="T64" fmla="*/ 2147483647 w 122"/>
                  <a:gd name="T65" fmla="*/ 2147483647 h 98"/>
                  <a:gd name="T66" fmla="*/ 2147483647 w 122"/>
                  <a:gd name="T67" fmla="*/ 2147483647 h 98"/>
                  <a:gd name="T68" fmla="*/ 2147483647 w 122"/>
                  <a:gd name="T69" fmla="*/ 2147483647 h 98"/>
                  <a:gd name="T70" fmla="*/ 2147483647 w 122"/>
                  <a:gd name="T71" fmla="*/ 2147483647 h 98"/>
                  <a:gd name="T72" fmla="*/ 2147483647 w 122"/>
                  <a:gd name="T73" fmla="*/ 2147483647 h 98"/>
                  <a:gd name="T74" fmla="*/ 2147483647 w 122"/>
                  <a:gd name="T75" fmla="*/ 2147483647 h 98"/>
                  <a:gd name="T76" fmla="*/ 2147483647 w 122"/>
                  <a:gd name="T77" fmla="*/ 2147483647 h 98"/>
                  <a:gd name="T78" fmla="*/ 2147483647 w 122"/>
                  <a:gd name="T79" fmla="*/ 2147483647 h 98"/>
                  <a:gd name="T80" fmla="*/ 2147483647 w 122"/>
                  <a:gd name="T81" fmla="*/ 2147483647 h 98"/>
                  <a:gd name="T82" fmla="*/ 2147483647 w 122"/>
                  <a:gd name="T83" fmla="*/ 2147483647 h 98"/>
                  <a:gd name="T84" fmla="*/ 2147483647 w 122"/>
                  <a:gd name="T85" fmla="*/ 2147483647 h 98"/>
                  <a:gd name="T86" fmla="*/ 2147483647 w 122"/>
                  <a:gd name="T87" fmla="*/ 2147483647 h 98"/>
                  <a:gd name="T88" fmla="*/ 2147483647 w 122"/>
                  <a:gd name="T89" fmla="*/ 2147483647 h 98"/>
                  <a:gd name="T90" fmla="*/ 2147483647 w 122"/>
                  <a:gd name="T91" fmla="*/ 2147483647 h 98"/>
                  <a:gd name="T92" fmla="*/ 2147483647 w 122"/>
                  <a:gd name="T93" fmla="*/ 2147483647 h 98"/>
                  <a:gd name="T94" fmla="*/ 2147483647 w 122"/>
                  <a:gd name="T95" fmla="*/ 2147483647 h 98"/>
                  <a:gd name="T96" fmla="*/ 2147483647 w 122"/>
                  <a:gd name="T97" fmla="*/ 2147483647 h 98"/>
                  <a:gd name="T98" fmla="*/ 2147483647 w 122"/>
                  <a:gd name="T99" fmla="*/ 2147483647 h 98"/>
                  <a:gd name="T100" fmla="*/ 2147483647 w 122"/>
                  <a:gd name="T101" fmla="*/ 2147483647 h 98"/>
                  <a:gd name="T102" fmla="*/ 2147483647 w 122"/>
                  <a:gd name="T103" fmla="*/ 2147483647 h 98"/>
                  <a:gd name="T104" fmla="*/ 2147483647 w 122"/>
                  <a:gd name="T105" fmla="*/ 2147483647 h 98"/>
                  <a:gd name="T106" fmla="*/ 2147483647 w 122"/>
                  <a:gd name="T107" fmla="*/ 2147483647 h 98"/>
                  <a:gd name="T108" fmla="*/ 2147483647 w 122"/>
                  <a:gd name="T109" fmla="*/ 2147483647 h 98"/>
                  <a:gd name="T110" fmla="*/ 2147483647 w 122"/>
                  <a:gd name="T111" fmla="*/ 2147483647 h 98"/>
                  <a:gd name="T112" fmla="*/ 2147483647 w 122"/>
                  <a:gd name="T113" fmla="*/ 2147483647 h 98"/>
                  <a:gd name="T114" fmla="*/ 2147483647 w 122"/>
                  <a:gd name="T115" fmla="*/ 2147483647 h 98"/>
                  <a:gd name="T116" fmla="*/ 2147483647 w 122"/>
                  <a:gd name="T117" fmla="*/ 2147483647 h 98"/>
                  <a:gd name="T118" fmla="*/ 2147483647 w 122"/>
                  <a:gd name="T119" fmla="*/ 2147483647 h 98"/>
                  <a:gd name="T120" fmla="*/ 2147483647 w 122"/>
                  <a:gd name="T121" fmla="*/ 2147483647 h 98"/>
                  <a:gd name="T122" fmla="*/ 2147483647 w 122"/>
                  <a:gd name="T123" fmla="*/ 2147483647 h 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22"/>
                  <a:gd name="T187" fmla="*/ 0 h 98"/>
                  <a:gd name="T188" fmla="*/ 122 w 122"/>
                  <a:gd name="T189" fmla="*/ 98 h 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22" h="98">
                    <a:moveTo>
                      <a:pt x="34" y="98"/>
                    </a:moveTo>
                    <a:cubicBezTo>
                      <a:pt x="32" y="98"/>
                      <a:pt x="29" y="95"/>
                      <a:pt x="28" y="93"/>
                    </a:cubicBezTo>
                    <a:cubicBezTo>
                      <a:pt x="27" y="91"/>
                      <a:pt x="28" y="89"/>
                      <a:pt x="26" y="88"/>
                    </a:cubicBezTo>
                    <a:cubicBezTo>
                      <a:pt x="23" y="86"/>
                      <a:pt x="18" y="85"/>
                      <a:pt x="18" y="85"/>
                    </a:cubicBezTo>
                    <a:cubicBezTo>
                      <a:pt x="18" y="85"/>
                      <a:pt x="15" y="80"/>
                      <a:pt x="17" y="78"/>
                    </a:cubicBezTo>
                    <a:cubicBezTo>
                      <a:pt x="19" y="76"/>
                      <a:pt x="22" y="75"/>
                      <a:pt x="22" y="73"/>
                    </a:cubicBezTo>
                    <a:cubicBezTo>
                      <a:pt x="22" y="71"/>
                      <a:pt x="21" y="72"/>
                      <a:pt x="19" y="70"/>
                    </a:cubicBezTo>
                    <a:cubicBezTo>
                      <a:pt x="18" y="68"/>
                      <a:pt x="18" y="65"/>
                      <a:pt x="20" y="65"/>
                    </a:cubicBezTo>
                    <a:cubicBezTo>
                      <a:pt x="22" y="64"/>
                      <a:pt x="22" y="61"/>
                      <a:pt x="21" y="59"/>
                    </a:cubicBezTo>
                    <a:cubicBezTo>
                      <a:pt x="20" y="58"/>
                      <a:pt x="16" y="55"/>
                      <a:pt x="18" y="54"/>
                    </a:cubicBezTo>
                    <a:cubicBezTo>
                      <a:pt x="20" y="54"/>
                      <a:pt x="22" y="52"/>
                      <a:pt x="22" y="50"/>
                    </a:cubicBezTo>
                    <a:cubicBezTo>
                      <a:pt x="22" y="47"/>
                      <a:pt x="24" y="42"/>
                      <a:pt x="24" y="41"/>
                    </a:cubicBezTo>
                    <a:cubicBezTo>
                      <a:pt x="24" y="40"/>
                      <a:pt x="22" y="36"/>
                      <a:pt x="23" y="35"/>
                    </a:cubicBezTo>
                    <a:cubicBezTo>
                      <a:pt x="24" y="34"/>
                      <a:pt x="25" y="33"/>
                      <a:pt x="27" y="32"/>
                    </a:cubicBezTo>
                    <a:cubicBezTo>
                      <a:pt x="29" y="30"/>
                      <a:pt x="30" y="28"/>
                      <a:pt x="28" y="28"/>
                    </a:cubicBezTo>
                    <a:cubicBezTo>
                      <a:pt x="26" y="27"/>
                      <a:pt x="27" y="24"/>
                      <a:pt x="25" y="24"/>
                    </a:cubicBezTo>
                    <a:cubicBezTo>
                      <a:pt x="23" y="24"/>
                      <a:pt x="21" y="24"/>
                      <a:pt x="20" y="24"/>
                    </a:cubicBezTo>
                    <a:cubicBezTo>
                      <a:pt x="19" y="25"/>
                      <a:pt x="15" y="25"/>
                      <a:pt x="14" y="26"/>
                    </a:cubicBezTo>
                    <a:cubicBezTo>
                      <a:pt x="12" y="26"/>
                      <a:pt x="10" y="26"/>
                      <a:pt x="11" y="24"/>
                    </a:cubicBezTo>
                    <a:cubicBezTo>
                      <a:pt x="11" y="23"/>
                      <a:pt x="10" y="21"/>
                      <a:pt x="8" y="22"/>
                    </a:cubicBezTo>
                    <a:cubicBezTo>
                      <a:pt x="6" y="23"/>
                      <a:pt x="3" y="24"/>
                      <a:pt x="3" y="24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2" y="18"/>
                      <a:pt x="0" y="15"/>
                      <a:pt x="1" y="13"/>
                    </a:cubicBezTo>
                    <a:cubicBezTo>
                      <a:pt x="2" y="12"/>
                      <a:pt x="0" y="8"/>
                      <a:pt x="0" y="8"/>
                    </a:cubicBezTo>
                    <a:cubicBezTo>
                      <a:pt x="0" y="8"/>
                      <a:pt x="5" y="7"/>
                      <a:pt x="7" y="5"/>
                    </a:cubicBezTo>
                    <a:cubicBezTo>
                      <a:pt x="8" y="4"/>
                      <a:pt x="12" y="1"/>
                      <a:pt x="13" y="0"/>
                    </a:cubicBezTo>
                    <a:cubicBezTo>
                      <a:pt x="14" y="0"/>
                      <a:pt x="19" y="2"/>
                      <a:pt x="20" y="2"/>
                    </a:cubicBezTo>
                    <a:cubicBezTo>
                      <a:pt x="21" y="3"/>
                      <a:pt x="28" y="2"/>
                      <a:pt x="30" y="2"/>
                    </a:cubicBezTo>
                    <a:cubicBezTo>
                      <a:pt x="32" y="2"/>
                      <a:pt x="36" y="3"/>
                      <a:pt x="40" y="3"/>
                    </a:cubicBezTo>
                    <a:cubicBezTo>
                      <a:pt x="43" y="4"/>
                      <a:pt x="49" y="5"/>
                      <a:pt x="52" y="4"/>
                    </a:cubicBezTo>
                    <a:cubicBezTo>
                      <a:pt x="55" y="3"/>
                      <a:pt x="58" y="6"/>
                      <a:pt x="61" y="6"/>
                    </a:cubicBezTo>
                    <a:cubicBezTo>
                      <a:pt x="63" y="6"/>
                      <a:pt x="62" y="3"/>
                      <a:pt x="64" y="5"/>
                    </a:cubicBezTo>
                    <a:cubicBezTo>
                      <a:pt x="67" y="7"/>
                      <a:pt x="71" y="5"/>
                      <a:pt x="73" y="5"/>
                    </a:cubicBezTo>
                    <a:cubicBezTo>
                      <a:pt x="75" y="5"/>
                      <a:pt x="78" y="8"/>
                      <a:pt x="78" y="8"/>
                    </a:cubicBezTo>
                    <a:cubicBezTo>
                      <a:pt x="83" y="11"/>
                      <a:pt x="83" y="11"/>
                      <a:pt x="83" y="11"/>
                    </a:cubicBezTo>
                    <a:cubicBezTo>
                      <a:pt x="83" y="11"/>
                      <a:pt x="87" y="12"/>
                      <a:pt x="89" y="13"/>
                    </a:cubicBezTo>
                    <a:cubicBezTo>
                      <a:pt x="90" y="15"/>
                      <a:pt x="97" y="13"/>
                      <a:pt x="97" y="13"/>
                    </a:cubicBezTo>
                    <a:cubicBezTo>
                      <a:pt x="99" y="11"/>
                      <a:pt x="99" y="11"/>
                      <a:pt x="99" y="11"/>
                    </a:cubicBezTo>
                    <a:cubicBezTo>
                      <a:pt x="99" y="11"/>
                      <a:pt x="104" y="13"/>
                      <a:pt x="106" y="15"/>
                    </a:cubicBezTo>
                    <a:cubicBezTo>
                      <a:pt x="108" y="16"/>
                      <a:pt x="110" y="17"/>
                      <a:pt x="111" y="18"/>
                    </a:cubicBezTo>
                    <a:cubicBezTo>
                      <a:pt x="112" y="18"/>
                      <a:pt x="114" y="17"/>
                      <a:pt x="115" y="18"/>
                    </a:cubicBezTo>
                    <a:cubicBezTo>
                      <a:pt x="116" y="18"/>
                      <a:pt x="120" y="17"/>
                      <a:pt x="120" y="17"/>
                    </a:cubicBezTo>
                    <a:cubicBezTo>
                      <a:pt x="120" y="17"/>
                      <a:pt x="122" y="22"/>
                      <a:pt x="122" y="23"/>
                    </a:cubicBezTo>
                    <a:cubicBezTo>
                      <a:pt x="122" y="25"/>
                      <a:pt x="118" y="27"/>
                      <a:pt x="116" y="29"/>
                    </a:cubicBezTo>
                    <a:cubicBezTo>
                      <a:pt x="114" y="30"/>
                      <a:pt x="115" y="32"/>
                      <a:pt x="113" y="33"/>
                    </a:cubicBezTo>
                    <a:cubicBezTo>
                      <a:pt x="111" y="34"/>
                      <a:pt x="105" y="32"/>
                      <a:pt x="103" y="35"/>
                    </a:cubicBezTo>
                    <a:cubicBezTo>
                      <a:pt x="101" y="37"/>
                      <a:pt x="98" y="39"/>
                      <a:pt x="98" y="39"/>
                    </a:cubicBezTo>
                    <a:cubicBezTo>
                      <a:pt x="98" y="39"/>
                      <a:pt x="100" y="41"/>
                      <a:pt x="98" y="41"/>
                    </a:cubicBezTo>
                    <a:cubicBezTo>
                      <a:pt x="96" y="41"/>
                      <a:pt x="93" y="47"/>
                      <a:pt x="92" y="48"/>
                    </a:cubicBezTo>
                    <a:cubicBezTo>
                      <a:pt x="91" y="50"/>
                      <a:pt x="87" y="55"/>
                      <a:pt x="88" y="58"/>
                    </a:cubicBezTo>
                    <a:cubicBezTo>
                      <a:pt x="88" y="61"/>
                      <a:pt x="89" y="63"/>
                      <a:pt x="90" y="63"/>
                    </a:cubicBezTo>
                    <a:cubicBezTo>
                      <a:pt x="92" y="63"/>
                      <a:pt x="93" y="66"/>
                      <a:pt x="92" y="67"/>
                    </a:cubicBezTo>
                    <a:cubicBezTo>
                      <a:pt x="90" y="67"/>
                      <a:pt x="88" y="68"/>
                      <a:pt x="85" y="73"/>
                    </a:cubicBezTo>
                    <a:cubicBezTo>
                      <a:pt x="83" y="78"/>
                      <a:pt x="83" y="78"/>
                      <a:pt x="83" y="79"/>
                    </a:cubicBezTo>
                    <a:cubicBezTo>
                      <a:pt x="83" y="80"/>
                      <a:pt x="78" y="80"/>
                      <a:pt x="78" y="81"/>
                    </a:cubicBezTo>
                    <a:cubicBezTo>
                      <a:pt x="77" y="82"/>
                      <a:pt x="74" y="85"/>
                      <a:pt x="73" y="85"/>
                    </a:cubicBezTo>
                    <a:cubicBezTo>
                      <a:pt x="72" y="86"/>
                      <a:pt x="71" y="90"/>
                      <a:pt x="69" y="90"/>
                    </a:cubicBezTo>
                    <a:cubicBezTo>
                      <a:pt x="68" y="89"/>
                      <a:pt x="63" y="90"/>
                      <a:pt x="61" y="91"/>
                    </a:cubicBezTo>
                    <a:cubicBezTo>
                      <a:pt x="58" y="91"/>
                      <a:pt x="52" y="91"/>
                      <a:pt x="51" y="91"/>
                    </a:cubicBezTo>
                    <a:cubicBezTo>
                      <a:pt x="49" y="90"/>
                      <a:pt x="43" y="93"/>
                      <a:pt x="41" y="93"/>
                    </a:cubicBezTo>
                    <a:cubicBezTo>
                      <a:pt x="39" y="94"/>
                      <a:pt x="38" y="96"/>
                      <a:pt x="37" y="97"/>
                    </a:cubicBezTo>
                    <a:cubicBezTo>
                      <a:pt x="37" y="98"/>
                      <a:pt x="34" y="98"/>
                      <a:pt x="34" y="9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6" name="Freeform 38"/>
              <p:cNvSpPr>
                <a:spLocks noEditPoint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243045" y="4406901"/>
                <a:ext cx="120200" cy="60325"/>
              </a:xfrm>
              <a:custGeom>
                <a:avLst/>
                <a:gdLst>
                  <a:gd name="T0" fmla="*/ 0 w 30"/>
                  <a:gd name="T1" fmla="*/ 2147483647 h 16"/>
                  <a:gd name="T2" fmla="*/ 2147483647 w 30"/>
                  <a:gd name="T3" fmla="*/ 2147483647 h 16"/>
                  <a:gd name="T4" fmla="*/ 2147483647 w 30"/>
                  <a:gd name="T5" fmla="*/ 2147483647 h 16"/>
                  <a:gd name="T6" fmla="*/ 0 w 30"/>
                  <a:gd name="T7" fmla="*/ 2147483647 h 16"/>
                  <a:gd name="T8" fmla="*/ 2147483647 w 30"/>
                  <a:gd name="T9" fmla="*/ 2147483647 h 16"/>
                  <a:gd name="T10" fmla="*/ 2147483647 w 30"/>
                  <a:gd name="T11" fmla="*/ 2147483647 h 16"/>
                  <a:gd name="T12" fmla="*/ 2147483647 w 30"/>
                  <a:gd name="T13" fmla="*/ 2147483647 h 16"/>
                  <a:gd name="T14" fmla="*/ 2147483647 w 30"/>
                  <a:gd name="T15" fmla="*/ 2147483647 h 16"/>
                  <a:gd name="T16" fmla="*/ 2147483647 w 30"/>
                  <a:gd name="T17" fmla="*/ 2147483647 h 16"/>
                  <a:gd name="T18" fmla="*/ 2147483647 w 30"/>
                  <a:gd name="T19" fmla="*/ 2147483647 h 16"/>
                  <a:gd name="T20" fmla="*/ 2147483647 w 30"/>
                  <a:gd name="T21" fmla="*/ 2147483647 h 16"/>
                  <a:gd name="T22" fmla="*/ 2147483647 w 30"/>
                  <a:gd name="T23" fmla="*/ 2147483647 h 16"/>
                  <a:gd name="T24" fmla="*/ 2147483647 w 30"/>
                  <a:gd name="T25" fmla="*/ 0 h 16"/>
                  <a:gd name="T26" fmla="*/ 2147483647 w 30"/>
                  <a:gd name="T27" fmla="*/ 0 h 16"/>
                  <a:gd name="T28" fmla="*/ 2147483647 w 30"/>
                  <a:gd name="T29" fmla="*/ 2147483647 h 16"/>
                  <a:gd name="T30" fmla="*/ 2147483647 w 30"/>
                  <a:gd name="T31" fmla="*/ 2147483647 h 1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"/>
                  <a:gd name="T49" fmla="*/ 0 h 16"/>
                  <a:gd name="T50" fmla="*/ 30 w 30"/>
                  <a:gd name="T51" fmla="*/ 16 h 1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" h="16">
                    <a:moveTo>
                      <a:pt x="0" y="14"/>
                    </a:moveTo>
                    <a:cubicBezTo>
                      <a:pt x="0" y="14"/>
                      <a:pt x="1" y="16"/>
                      <a:pt x="2" y="15"/>
                    </a:cubicBezTo>
                    <a:cubicBezTo>
                      <a:pt x="3" y="15"/>
                      <a:pt x="3" y="14"/>
                      <a:pt x="2" y="12"/>
                    </a:cubicBezTo>
                    <a:cubicBezTo>
                      <a:pt x="2" y="10"/>
                      <a:pt x="0" y="13"/>
                      <a:pt x="0" y="14"/>
                    </a:cubicBezTo>
                    <a:close/>
                    <a:moveTo>
                      <a:pt x="16" y="3"/>
                    </a:moveTo>
                    <a:cubicBezTo>
                      <a:pt x="15" y="3"/>
                      <a:pt x="12" y="4"/>
                      <a:pt x="11" y="4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15" y="9"/>
                      <a:pt x="17" y="9"/>
                    </a:cubicBezTo>
                    <a:cubicBezTo>
                      <a:pt x="18" y="10"/>
                      <a:pt x="19" y="9"/>
                      <a:pt x="20" y="7"/>
                    </a:cubicBezTo>
                    <a:cubicBezTo>
                      <a:pt x="21" y="5"/>
                      <a:pt x="21" y="5"/>
                      <a:pt x="19" y="4"/>
                    </a:cubicBezTo>
                    <a:cubicBezTo>
                      <a:pt x="18" y="2"/>
                      <a:pt x="18" y="3"/>
                      <a:pt x="16" y="3"/>
                    </a:cubicBezTo>
                    <a:close/>
                    <a:moveTo>
                      <a:pt x="29" y="1"/>
                    </a:moveTo>
                    <a:cubicBezTo>
                      <a:pt x="29" y="0"/>
                      <a:pt x="27" y="0"/>
                      <a:pt x="25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3" y="0"/>
                      <a:pt x="26" y="2"/>
                      <a:pt x="27" y="3"/>
                    </a:cubicBezTo>
                    <a:cubicBezTo>
                      <a:pt x="29" y="4"/>
                      <a:pt x="30" y="2"/>
                      <a:pt x="29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7" name="Freeform 39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829674" y="4297364"/>
                <a:ext cx="127530" cy="257175"/>
              </a:xfrm>
              <a:custGeom>
                <a:avLst/>
                <a:gdLst>
                  <a:gd name="T0" fmla="*/ 2147483647 w 32"/>
                  <a:gd name="T1" fmla="*/ 2147483647 h 66"/>
                  <a:gd name="T2" fmla="*/ 2147483647 w 32"/>
                  <a:gd name="T3" fmla="*/ 2147483647 h 66"/>
                  <a:gd name="T4" fmla="*/ 2147483647 w 32"/>
                  <a:gd name="T5" fmla="*/ 2147483647 h 66"/>
                  <a:gd name="T6" fmla="*/ 2147483647 w 32"/>
                  <a:gd name="T7" fmla="*/ 2147483647 h 66"/>
                  <a:gd name="T8" fmla="*/ 2147483647 w 32"/>
                  <a:gd name="T9" fmla="*/ 2147483647 h 66"/>
                  <a:gd name="T10" fmla="*/ 2147483647 w 32"/>
                  <a:gd name="T11" fmla="*/ 2147483647 h 66"/>
                  <a:gd name="T12" fmla="*/ 2147483647 w 32"/>
                  <a:gd name="T13" fmla="*/ 2147483647 h 66"/>
                  <a:gd name="T14" fmla="*/ 2147483647 w 32"/>
                  <a:gd name="T15" fmla="*/ 2147483647 h 66"/>
                  <a:gd name="T16" fmla="*/ 2147483647 w 32"/>
                  <a:gd name="T17" fmla="*/ 2147483647 h 66"/>
                  <a:gd name="T18" fmla="*/ 2147483647 w 32"/>
                  <a:gd name="T19" fmla="*/ 2147483647 h 66"/>
                  <a:gd name="T20" fmla="*/ 2147483647 w 32"/>
                  <a:gd name="T21" fmla="*/ 2147483647 h 66"/>
                  <a:gd name="T22" fmla="*/ 2147483647 w 32"/>
                  <a:gd name="T23" fmla="*/ 2147483647 h 66"/>
                  <a:gd name="T24" fmla="*/ 2147483647 w 32"/>
                  <a:gd name="T25" fmla="*/ 2147483647 h 66"/>
                  <a:gd name="T26" fmla="*/ 2147483647 w 32"/>
                  <a:gd name="T27" fmla="*/ 2147483647 h 66"/>
                  <a:gd name="T28" fmla="*/ 2147483647 w 32"/>
                  <a:gd name="T29" fmla="*/ 2147483647 h 66"/>
                  <a:gd name="T30" fmla="*/ 2147483647 w 32"/>
                  <a:gd name="T31" fmla="*/ 2147483647 h 66"/>
                  <a:gd name="T32" fmla="*/ 2147483647 w 32"/>
                  <a:gd name="T33" fmla="*/ 2147483647 h 66"/>
                  <a:gd name="T34" fmla="*/ 2147483647 w 32"/>
                  <a:gd name="T35" fmla="*/ 2147483647 h 66"/>
                  <a:gd name="T36" fmla="*/ 2147483647 w 32"/>
                  <a:gd name="T37" fmla="*/ 2147483647 h 66"/>
                  <a:gd name="T38" fmla="*/ 2147483647 w 32"/>
                  <a:gd name="T39" fmla="*/ 2147483647 h 66"/>
                  <a:gd name="T40" fmla="*/ 2147483647 w 32"/>
                  <a:gd name="T41" fmla="*/ 2147483647 h 66"/>
                  <a:gd name="T42" fmla="*/ 2147483647 w 32"/>
                  <a:gd name="T43" fmla="*/ 2147483647 h 66"/>
                  <a:gd name="T44" fmla="*/ 2147483647 w 32"/>
                  <a:gd name="T45" fmla="*/ 2147483647 h 66"/>
                  <a:gd name="T46" fmla="*/ 2147483647 w 32"/>
                  <a:gd name="T47" fmla="*/ 2147483647 h 66"/>
                  <a:gd name="T48" fmla="*/ 2147483647 w 32"/>
                  <a:gd name="T49" fmla="*/ 2147483647 h 66"/>
                  <a:gd name="T50" fmla="*/ 2147483647 w 32"/>
                  <a:gd name="T51" fmla="*/ 2147483647 h 66"/>
                  <a:gd name="T52" fmla="*/ 2147483647 w 32"/>
                  <a:gd name="T53" fmla="*/ 2147483647 h 66"/>
                  <a:gd name="T54" fmla="*/ 2147483647 w 32"/>
                  <a:gd name="T55" fmla="*/ 2147483647 h 66"/>
                  <a:gd name="T56" fmla="*/ 2147483647 w 32"/>
                  <a:gd name="T57" fmla="*/ 2147483647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2"/>
                  <a:gd name="T88" fmla="*/ 0 h 66"/>
                  <a:gd name="T89" fmla="*/ 32 w 32"/>
                  <a:gd name="T90" fmla="*/ 66 h 6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2" h="66">
                    <a:moveTo>
                      <a:pt x="19" y="57"/>
                    </a:moveTo>
                    <a:cubicBezTo>
                      <a:pt x="21" y="55"/>
                      <a:pt x="24" y="54"/>
                      <a:pt x="24" y="52"/>
                    </a:cubicBezTo>
                    <a:cubicBezTo>
                      <a:pt x="24" y="50"/>
                      <a:pt x="23" y="51"/>
                      <a:pt x="21" y="49"/>
                    </a:cubicBezTo>
                    <a:cubicBezTo>
                      <a:pt x="20" y="47"/>
                      <a:pt x="20" y="44"/>
                      <a:pt x="22" y="44"/>
                    </a:cubicBezTo>
                    <a:cubicBezTo>
                      <a:pt x="24" y="43"/>
                      <a:pt x="24" y="40"/>
                      <a:pt x="23" y="38"/>
                    </a:cubicBezTo>
                    <a:cubicBezTo>
                      <a:pt x="22" y="37"/>
                      <a:pt x="18" y="34"/>
                      <a:pt x="20" y="33"/>
                    </a:cubicBezTo>
                    <a:cubicBezTo>
                      <a:pt x="22" y="33"/>
                      <a:pt x="24" y="31"/>
                      <a:pt x="24" y="29"/>
                    </a:cubicBezTo>
                    <a:cubicBezTo>
                      <a:pt x="24" y="26"/>
                      <a:pt x="26" y="21"/>
                      <a:pt x="26" y="20"/>
                    </a:cubicBezTo>
                    <a:cubicBezTo>
                      <a:pt x="26" y="19"/>
                      <a:pt x="24" y="15"/>
                      <a:pt x="25" y="14"/>
                    </a:cubicBezTo>
                    <a:cubicBezTo>
                      <a:pt x="26" y="13"/>
                      <a:pt x="27" y="12"/>
                      <a:pt x="29" y="11"/>
                    </a:cubicBezTo>
                    <a:cubicBezTo>
                      <a:pt x="31" y="9"/>
                      <a:pt x="32" y="7"/>
                      <a:pt x="30" y="7"/>
                    </a:cubicBezTo>
                    <a:cubicBezTo>
                      <a:pt x="28" y="6"/>
                      <a:pt x="29" y="3"/>
                      <a:pt x="27" y="3"/>
                    </a:cubicBezTo>
                    <a:cubicBezTo>
                      <a:pt x="25" y="3"/>
                      <a:pt x="23" y="3"/>
                      <a:pt x="22" y="3"/>
                    </a:cubicBezTo>
                    <a:cubicBezTo>
                      <a:pt x="21" y="4"/>
                      <a:pt x="17" y="4"/>
                      <a:pt x="16" y="5"/>
                    </a:cubicBezTo>
                    <a:cubicBezTo>
                      <a:pt x="14" y="5"/>
                      <a:pt x="12" y="5"/>
                      <a:pt x="13" y="3"/>
                    </a:cubicBezTo>
                    <a:cubicBezTo>
                      <a:pt x="13" y="2"/>
                      <a:pt x="12" y="0"/>
                      <a:pt x="10" y="1"/>
                    </a:cubicBezTo>
                    <a:cubicBezTo>
                      <a:pt x="8" y="2"/>
                      <a:pt x="5" y="3"/>
                      <a:pt x="5" y="3"/>
                    </a:cubicBezTo>
                    <a:cubicBezTo>
                      <a:pt x="4" y="5"/>
                      <a:pt x="5" y="5"/>
                      <a:pt x="5" y="6"/>
                    </a:cubicBezTo>
                    <a:cubicBezTo>
                      <a:pt x="4" y="7"/>
                      <a:pt x="8" y="12"/>
                      <a:pt x="8" y="14"/>
                    </a:cubicBezTo>
                    <a:cubicBezTo>
                      <a:pt x="9" y="16"/>
                      <a:pt x="7" y="20"/>
                      <a:pt x="6" y="22"/>
                    </a:cubicBezTo>
                    <a:cubicBezTo>
                      <a:pt x="6" y="24"/>
                      <a:pt x="5" y="29"/>
                      <a:pt x="3" y="30"/>
                    </a:cubicBezTo>
                    <a:cubicBezTo>
                      <a:pt x="2" y="31"/>
                      <a:pt x="1" y="37"/>
                      <a:pt x="1" y="41"/>
                    </a:cubicBezTo>
                    <a:cubicBezTo>
                      <a:pt x="0" y="45"/>
                      <a:pt x="2" y="45"/>
                      <a:pt x="3" y="45"/>
                    </a:cubicBezTo>
                    <a:cubicBezTo>
                      <a:pt x="4" y="46"/>
                      <a:pt x="5" y="48"/>
                      <a:pt x="6" y="50"/>
                    </a:cubicBezTo>
                    <a:cubicBezTo>
                      <a:pt x="6" y="53"/>
                      <a:pt x="5" y="57"/>
                      <a:pt x="5" y="57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14" y="66"/>
                      <a:pt x="16" y="66"/>
                    </a:cubicBezTo>
                    <a:cubicBezTo>
                      <a:pt x="17" y="66"/>
                      <a:pt x="18" y="64"/>
                      <a:pt x="20" y="63"/>
                    </a:cubicBezTo>
                    <a:cubicBezTo>
                      <a:pt x="19" y="62"/>
                      <a:pt x="18" y="59"/>
                      <a:pt x="19" y="5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8" name="Freeform 40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517160" y="4248151"/>
                <a:ext cx="46907" cy="98425"/>
              </a:xfrm>
              <a:custGeom>
                <a:avLst/>
                <a:gdLst>
                  <a:gd name="T0" fmla="*/ 2147483647 w 12"/>
                  <a:gd name="T1" fmla="*/ 2147483647 h 25"/>
                  <a:gd name="T2" fmla="*/ 2147483647 w 12"/>
                  <a:gd name="T3" fmla="*/ 2147483647 h 25"/>
                  <a:gd name="T4" fmla="*/ 2147483647 w 12"/>
                  <a:gd name="T5" fmla="*/ 2147483647 h 25"/>
                  <a:gd name="T6" fmla="*/ 2147483647 w 12"/>
                  <a:gd name="T7" fmla="*/ 2147483647 h 25"/>
                  <a:gd name="T8" fmla="*/ 2147483647 w 12"/>
                  <a:gd name="T9" fmla="*/ 2147483647 h 25"/>
                  <a:gd name="T10" fmla="*/ 2147483647 w 12"/>
                  <a:gd name="T11" fmla="*/ 0 h 25"/>
                  <a:gd name="T12" fmla="*/ 2147483647 w 12"/>
                  <a:gd name="T13" fmla="*/ 2147483647 h 25"/>
                  <a:gd name="T14" fmla="*/ 2147483647 w 12"/>
                  <a:gd name="T15" fmla="*/ 2147483647 h 25"/>
                  <a:gd name="T16" fmla="*/ 2147483647 w 12"/>
                  <a:gd name="T17" fmla="*/ 214748364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25"/>
                  <a:gd name="T29" fmla="*/ 12 w 12"/>
                  <a:gd name="T30" fmla="*/ 25 h 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25">
                    <a:moveTo>
                      <a:pt x="8" y="22"/>
                    </a:moveTo>
                    <a:cubicBezTo>
                      <a:pt x="7" y="21"/>
                      <a:pt x="3" y="20"/>
                      <a:pt x="4" y="18"/>
                    </a:cubicBezTo>
                    <a:cubicBezTo>
                      <a:pt x="6" y="17"/>
                      <a:pt x="3" y="13"/>
                      <a:pt x="3" y="11"/>
                    </a:cubicBezTo>
                    <a:cubicBezTo>
                      <a:pt x="4" y="9"/>
                      <a:pt x="0" y="10"/>
                      <a:pt x="5" y="7"/>
                    </a:cubicBezTo>
                    <a:cubicBezTo>
                      <a:pt x="9" y="4"/>
                      <a:pt x="7" y="5"/>
                      <a:pt x="9" y="4"/>
                    </a:cubicBezTo>
                    <a:cubicBezTo>
                      <a:pt x="11" y="3"/>
                      <a:pt x="12" y="0"/>
                      <a:pt x="12" y="0"/>
                    </a:cubicBezTo>
                    <a:cubicBezTo>
                      <a:pt x="12" y="0"/>
                      <a:pt x="11" y="6"/>
                      <a:pt x="11" y="7"/>
                    </a:cubicBezTo>
                    <a:cubicBezTo>
                      <a:pt x="12" y="8"/>
                      <a:pt x="12" y="13"/>
                      <a:pt x="11" y="16"/>
                    </a:cubicBezTo>
                    <a:cubicBezTo>
                      <a:pt x="10" y="18"/>
                      <a:pt x="9" y="25"/>
                      <a:pt x="8" y="2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69" name="Freeform 41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408687" y="3844926"/>
                <a:ext cx="36646" cy="55563"/>
              </a:xfrm>
              <a:custGeom>
                <a:avLst/>
                <a:gdLst>
                  <a:gd name="T0" fmla="*/ 2147483647 w 9"/>
                  <a:gd name="T1" fmla="*/ 2147483647 h 14"/>
                  <a:gd name="T2" fmla="*/ 2147483647 w 9"/>
                  <a:gd name="T3" fmla="*/ 2147483647 h 14"/>
                  <a:gd name="T4" fmla="*/ 2147483647 w 9"/>
                  <a:gd name="T5" fmla="*/ 0 h 14"/>
                  <a:gd name="T6" fmla="*/ 2147483647 w 9"/>
                  <a:gd name="T7" fmla="*/ 2147483647 h 14"/>
                  <a:gd name="T8" fmla="*/ 2147483647 w 9"/>
                  <a:gd name="T9" fmla="*/ 2147483647 h 14"/>
                  <a:gd name="T10" fmla="*/ 2147483647 w 9"/>
                  <a:gd name="T11" fmla="*/ 2147483647 h 14"/>
                  <a:gd name="T12" fmla="*/ 2147483647 w 9"/>
                  <a:gd name="T13" fmla="*/ 2147483647 h 14"/>
                  <a:gd name="T14" fmla="*/ 2147483647 w 9"/>
                  <a:gd name="T15" fmla="*/ 2147483647 h 14"/>
                  <a:gd name="T16" fmla="*/ 2147483647 w 9"/>
                  <a:gd name="T17" fmla="*/ 2147483647 h 14"/>
                  <a:gd name="T18" fmla="*/ 2147483647 w 9"/>
                  <a:gd name="T19" fmla="*/ 2147483647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4"/>
                  <a:gd name="T32" fmla="*/ 9 w 9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4">
                    <a:moveTo>
                      <a:pt x="8" y="12"/>
                    </a:moveTo>
                    <a:cubicBezTo>
                      <a:pt x="7" y="12"/>
                      <a:pt x="9" y="6"/>
                      <a:pt x="9" y="5"/>
                    </a:cubicBezTo>
                    <a:cubicBezTo>
                      <a:pt x="8" y="4"/>
                      <a:pt x="4" y="1"/>
                      <a:pt x="6" y="0"/>
                    </a:cubicBezTo>
                    <a:cubicBezTo>
                      <a:pt x="5" y="1"/>
                      <a:pt x="4" y="2"/>
                      <a:pt x="2" y="4"/>
                    </a:cubicBezTo>
                    <a:cubicBezTo>
                      <a:pt x="0" y="6"/>
                      <a:pt x="3" y="10"/>
                      <a:pt x="3" y="1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4" y="11"/>
                      <a:pt x="4" y="14"/>
                      <a:pt x="8" y="12"/>
                    </a:cubicBezTo>
                    <a:cubicBezTo>
                      <a:pt x="8" y="12"/>
                      <a:pt x="9" y="13"/>
                      <a:pt x="9" y="13"/>
                    </a:cubicBezTo>
                    <a:cubicBezTo>
                      <a:pt x="9" y="13"/>
                      <a:pt x="8" y="12"/>
                      <a:pt x="8" y="1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0" name="Freeform 42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292126" y="3768726"/>
                <a:ext cx="153914" cy="125413"/>
              </a:xfrm>
              <a:custGeom>
                <a:avLst/>
                <a:gdLst>
                  <a:gd name="T0" fmla="*/ 2147483647 w 39"/>
                  <a:gd name="T1" fmla="*/ 2147483647 h 32"/>
                  <a:gd name="T2" fmla="*/ 2147483647 w 39"/>
                  <a:gd name="T3" fmla="*/ 2147483647 h 32"/>
                  <a:gd name="T4" fmla="*/ 2147483647 w 39"/>
                  <a:gd name="T5" fmla="*/ 2147483647 h 32"/>
                  <a:gd name="T6" fmla="*/ 2147483647 w 39"/>
                  <a:gd name="T7" fmla="*/ 2147483647 h 32"/>
                  <a:gd name="T8" fmla="*/ 2147483647 w 39"/>
                  <a:gd name="T9" fmla="*/ 2147483647 h 32"/>
                  <a:gd name="T10" fmla="*/ 2147483647 w 39"/>
                  <a:gd name="T11" fmla="*/ 2147483647 h 32"/>
                  <a:gd name="T12" fmla="*/ 2147483647 w 39"/>
                  <a:gd name="T13" fmla="*/ 2147483647 h 32"/>
                  <a:gd name="T14" fmla="*/ 2147483647 w 39"/>
                  <a:gd name="T15" fmla="*/ 2147483647 h 32"/>
                  <a:gd name="T16" fmla="*/ 2147483647 w 39"/>
                  <a:gd name="T17" fmla="*/ 2147483647 h 32"/>
                  <a:gd name="T18" fmla="*/ 2147483647 w 39"/>
                  <a:gd name="T19" fmla="*/ 2147483647 h 32"/>
                  <a:gd name="T20" fmla="*/ 2147483647 w 39"/>
                  <a:gd name="T21" fmla="*/ 2147483647 h 32"/>
                  <a:gd name="T22" fmla="*/ 2147483647 w 39"/>
                  <a:gd name="T23" fmla="*/ 2147483647 h 32"/>
                  <a:gd name="T24" fmla="*/ 2147483647 w 39"/>
                  <a:gd name="T25" fmla="*/ 2147483647 h 32"/>
                  <a:gd name="T26" fmla="*/ 0 w 39"/>
                  <a:gd name="T27" fmla="*/ 2147483647 h 32"/>
                  <a:gd name="T28" fmla="*/ 2147483647 w 39"/>
                  <a:gd name="T29" fmla="*/ 2147483647 h 32"/>
                  <a:gd name="T30" fmla="*/ 2147483647 w 39"/>
                  <a:gd name="T31" fmla="*/ 2147483647 h 32"/>
                  <a:gd name="T32" fmla="*/ 2147483647 w 39"/>
                  <a:gd name="T33" fmla="*/ 2147483647 h 32"/>
                  <a:gd name="T34" fmla="*/ 2147483647 w 39"/>
                  <a:gd name="T35" fmla="*/ 2147483647 h 32"/>
                  <a:gd name="T36" fmla="*/ 2147483647 w 39"/>
                  <a:gd name="T37" fmla="*/ 2147483647 h 32"/>
                  <a:gd name="T38" fmla="*/ 2147483647 w 39"/>
                  <a:gd name="T39" fmla="*/ 2147483647 h 32"/>
                  <a:gd name="T40" fmla="*/ 2147483647 w 39"/>
                  <a:gd name="T41" fmla="*/ 2147483647 h 32"/>
                  <a:gd name="T42" fmla="*/ 2147483647 w 39"/>
                  <a:gd name="T43" fmla="*/ 2147483647 h 32"/>
                  <a:gd name="T44" fmla="*/ 2147483647 w 39"/>
                  <a:gd name="T45" fmla="*/ 2147483647 h 32"/>
                  <a:gd name="T46" fmla="*/ 2147483647 w 39"/>
                  <a:gd name="T47" fmla="*/ 2147483647 h 32"/>
                  <a:gd name="T48" fmla="*/ 2147483647 w 39"/>
                  <a:gd name="T49" fmla="*/ 2147483647 h 32"/>
                  <a:gd name="T50" fmla="*/ 2147483647 w 39"/>
                  <a:gd name="T51" fmla="*/ 2147483647 h 32"/>
                  <a:gd name="T52" fmla="*/ 2147483647 w 39"/>
                  <a:gd name="T53" fmla="*/ 2147483647 h 3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9"/>
                  <a:gd name="T82" fmla="*/ 0 h 32"/>
                  <a:gd name="T83" fmla="*/ 39 w 39"/>
                  <a:gd name="T84" fmla="*/ 32 h 3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9" h="32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9" y="19"/>
                      <a:pt x="38" y="18"/>
                      <a:pt x="37" y="16"/>
                    </a:cubicBezTo>
                    <a:cubicBezTo>
                      <a:pt x="36" y="14"/>
                      <a:pt x="35" y="13"/>
                      <a:pt x="36" y="12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4" y="11"/>
                      <a:pt x="34" y="11"/>
                      <a:pt x="33" y="11"/>
                    </a:cubicBezTo>
                    <a:cubicBezTo>
                      <a:pt x="32" y="10"/>
                      <a:pt x="33" y="6"/>
                      <a:pt x="32" y="4"/>
                    </a:cubicBezTo>
                    <a:cubicBezTo>
                      <a:pt x="31" y="3"/>
                      <a:pt x="28" y="4"/>
                      <a:pt x="28" y="2"/>
                    </a:cubicBezTo>
                    <a:cubicBezTo>
                      <a:pt x="27" y="0"/>
                      <a:pt x="26" y="2"/>
                      <a:pt x="23" y="1"/>
                    </a:cubicBezTo>
                    <a:cubicBezTo>
                      <a:pt x="19" y="1"/>
                      <a:pt x="19" y="4"/>
                      <a:pt x="18" y="5"/>
                    </a:cubicBezTo>
                    <a:cubicBezTo>
                      <a:pt x="17" y="6"/>
                      <a:pt x="16" y="5"/>
                      <a:pt x="12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3"/>
                      <a:pt x="6" y="4"/>
                      <a:pt x="5" y="5"/>
                    </a:cubicBezTo>
                    <a:cubicBezTo>
                      <a:pt x="3" y="6"/>
                      <a:pt x="0" y="7"/>
                      <a:pt x="0" y="7"/>
                    </a:cubicBezTo>
                    <a:cubicBezTo>
                      <a:pt x="0" y="8"/>
                      <a:pt x="1" y="9"/>
                      <a:pt x="3" y="11"/>
                    </a:cubicBezTo>
                    <a:cubicBezTo>
                      <a:pt x="8" y="17"/>
                      <a:pt x="4" y="12"/>
                      <a:pt x="7" y="12"/>
                    </a:cubicBezTo>
                    <a:cubicBezTo>
                      <a:pt x="9" y="12"/>
                      <a:pt x="9" y="16"/>
                      <a:pt x="10" y="17"/>
                    </a:cubicBezTo>
                    <a:cubicBezTo>
                      <a:pt x="12" y="17"/>
                      <a:pt x="12" y="19"/>
                      <a:pt x="14" y="19"/>
                    </a:cubicBezTo>
                    <a:cubicBezTo>
                      <a:pt x="16" y="20"/>
                      <a:pt x="18" y="22"/>
                      <a:pt x="18" y="23"/>
                    </a:cubicBezTo>
                    <a:cubicBezTo>
                      <a:pt x="18" y="24"/>
                      <a:pt x="20" y="24"/>
                      <a:pt x="21" y="24"/>
                    </a:cubicBezTo>
                    <a:cubicBezTo>
                      <a:pt x="22" y="24"/>
                      <a:pt x="24" y="22"/>
                      <a:pt x="24" y="22"/>
                    </a:cubicBezTo>
                    <a:cubicBezTo>
                      <a:pt x="24" y="22"/>
                      <a:pt x="24" y="26"/>
                      <a:pt x="26" y="26"/>
                    </a:cubicBezTo>
                    <a:cubicBezTo>
                      <a:pt x="27" y="27"/>
                      <a:pt x="29" y="30"/>
                      <a:pt x="30" y="31"/>
                    </a:cubicBezTo>
                    <a:cubicBezTo>
                      <a:pt x="31" y="32"/>
                      <a:pt x="32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0"/>
                      <a:pt x="31" y="26"/>
                      <a:pt x="33" y="24"/>
                    </a:cubicBezTo>
                    <a:cubicBezTo>
                      <a:pt x="35" y="22"/>
                      <a:pt x="36" y="21"/>
                      <a:pt x="37" y="2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1" name="Freeform 43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333170" y="3644900"/>
                <a:ext cx="149517" cy="166688"/>
              </a:xfrm>
              <a:custGeom>
                <a:avLst/>
                <a:gdLst>
                  <a:gd name="T0" fmla="*/ 2147483647 w 38"/>
                  <a:gd name="T1" fmla="*/ 2147483647 h 43"/>
                  <a:gd name="T2" fmla="*/ 2147483647 w 38"/>
                  <a:gd name="T3" fmla="*/ 2147483647 h 43"/>
                  <a:gd name="T4" fmla="*/ 2147483647 w 38"/>
                  <a:gd name="T5" fmla="*/ 2147483647 h 43"/>
                  <a:gd name="T6" fmla="*/ 2147483647 w 38"/>
                  <a:gd name="T7" fmla="*/ 2147483647 h 43"/>
                  <a:gd name="T8" fmla="*/ 2147483647 w 38"/>
                  <a:gd name="T9" fmla="*/ 0 h 43"/>
                  <a:gd name="T10" fmla="*/ 2147483647 w 38"/>
                  <a:gd name="T11" fmla="*/ 0 h 43"/>
                  <a:gd name="T12" fmla="*/ 2147483647 w 38"/>
                  <a:gd name="T13" fmla="*/ 2147483647 h 43"/>
                  <a:gd name="T14" fmla="*/ 2147483647 w 38"/>
                  <a:gd name="T15" fmla="*/ 2147483647 h 43"/>
                  <a:gd name="T16" fmla="*/ 2147483647 w 38"/>
                  <a:gd name="T17" fmla="*/ 2147483647 h 43"/>
                  <a:gd name="T18" fmla="*/ 2147483647 w 38"/>
                  <a:gd name="T19" fmla="*/ 2147483647 h 43"/>
                  <a:gd name="T20" fmla="*/ 2147483647 w 38"/>
                  <a:gd name="T21" fmla="*/ 2147483647 h 43"/>
                  <a:gd name="T22" fmla="*/ 2147483647 w 38"/>
                  <a:gd name="T23" fmla="*/ 2147483647 h 43"/>
                  <a:gd name="T24" fmla="*/ 2147483647 w 38"/>
                  <a:gd name="T25" fmla="*/ 2147483647 h 43"/>
                  <a:gd name="T26" fmla="*/ 2147483647 w 38"/>
                  <a:gd name="T27" fmla="*/ 2147483647 h 43"/>
                  <a:gd name="T28" fmla="*/ 2147483647 w 38"/>
                  <a:gd name="T29" fmla="*/ 2147483647 h 43"/>
                  <a:gd name="T30" fmla="*/ 2147483647 w 38"/>
                  <a:gd name="T31" fmla="*/ 0 h 43"/>
                  <a:gd name="T32" fmla="*/ 2147483647 w 38"/>
                  <a:gd name="T33" fmla="*/ 2147483647 h 43"/>
                  <a:gd name="T34" fmla="*/ 2147483647 w 38"/>
                  <a:gd name="T35" fmla="*/ 2147483647 h 43"/>
                  <a:gd name="T36" fmla="*/ 2147483647 w 38"/>
                  <a:gd name="T37" fmla="*/ 2147483647 h 43"/>
                  <a:gd name="T38" fmla="*/ 2147483647 w 38"/>
                  <a:gd name="T39" fmla="*/ 2147483647 h 43"/>
                  <a:gd name="T40" fmla="*/ 2147483647 w 38"/>
                  <a:gd name="T41" fmla="*/ 2147483647 h 43"/>
                  <a:gd name="T42" fmla="*/ 2147483647 w 38"/>
                  <a:gd name="T43" fmla="*/ 2147483647 h 43"/>
                  <a:gd name="T44" fmla="*/ 2147483647 w 38"/>
                  <a:gd name="T45" fmla="*/ 2147483647 h 43"/>
                  <a:gd name="T46" fmla="*/ 2147483647 w 38"/>
                  <a:gd name="T47" fmla="*/ 2147483647 h 43"/>
                  <a:gd name="T48" fmla="*/ 2147483647 w 38"/>
                  <a:gd name="T49" fmla="*/ 2147483647 h 43"/>
                  <a:gd name="T50" fmla="*/ 0 w 38"/>
                  <a:gd name="T51" fmla="*/ 2147483647 h 43"/>
                  <a:gd name="T52" fmla="*/ 2147483647 w 38"/>
                  <a:gd name="T53" fmla="*/ 2147483647 h 43"/>
                  <a:gd name="T54" fmla="*/ 2147483647 w 38"/>
                  <a:gd name="T55" fmla="*/ 2147483647 h 43"/>
                  <a:gd name="T56" fmla="*/ 2147483647 w 38"/>
                  <a:gd name="T57" fmla="*/ 2147483647 h 43"/>
                  <a:gd name="T58" fmla="*/ 2147483647 w 38"/>
                  <a:gd name="T59" fmla="*/ 2147483647 h 43"/>
                  <a:gd name="T60" fmla="*/ 2147483647 w 38"/>
                  <a:gd name="T61" fmla="*/ 2147483647 h 43"/>
                  <a:gd name="T62" fmla="*/ 2147483647 w 38"/>
                  <a:gd name="T63" fmla="*/ 2147483647 h 43"/>
                  <a:gd name="T64" fmla="*/ 2147483647 w 38"/>
                  <a:gd name="T65" fmla="*/ 2147483647 h 43"/>
                  <a:gd name="T66" fmla="*/ 2147483647 w 38"/>
                  <a:gd name="T67" fmla="*/ 2147483647 h 43"/>
                  <a:gd name="T68" fmla="*/ 2147483647 w 38"/>
                  <a:gd name="T69" fmla="*/ 2147483647 h 43"/>
                  <a:gd name="T70" fmla="*/ 2147483647 w 38"/>
                  <a:gd name="T71" fmla="*/ 2147483647 h 43"/>
                  <a:gd name="T72" fmla="*/ 2147483647 w 38"/>
                  <a:gd name="T73" fmla="*/ 2147483647 h 43"/>
                  <a:gd name="T74" fmla="*/ 2147483647 w 38"/>
                  <a:gd name="T75" fmla="*/ 2147483647 h 43"/>
                  <a:gd name="T76" fmla="*/ 2147483647 w 38"/>
                  <a:gd name="T77" fmla="*/ 2147483647 h 43"/>
                  <a:gd name="T78" fmla="*/ 2147483647 w 38"/>
                  <a:gd name="T79" fmla="*/ 2147483647 h 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8"/>
                  <a:gd name="T121" fmla="*/ 0 h 43"/>
                  <a:gd name="T122" fmla="*/ 38 w 38"/>
                  <a:gd name="T123" fmla="*/ 43 h 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8" h="43">
                    <a:moveTo>
                      <a:pt x="35" y="13"/>
                    </a:moveTo>
                    <a:cubicBezTo>
                      <a:pt x="37" y="10"/>
                      <a:pt x="38" y="7"/>
                      <a:pt x="37" y="5"/>
                    </a:cubicBezTo>
                    <a:cubicBezTo>
                      <a:pt x="37" y="3"/>
                      <a:pt x="35" y="4"/>
                      <a:pt x="36" y="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3" y="0"/>
                      <a:pt x="29" y="0"/>
                      <a:pt x="28" y="0"/>
                    </a:cubicBezTo>
                    <a:cubicBezTo>
                      <a:pt x="27" y="0"/>
                      <a:pt x="23" y="2"/>
                      <a:pt x="22" y="4"/>
                    </a:cubicBezTo>
                    <a:cubicBezTo>
                      <a:pt x="21" y="5"/>
                      <a:pt x="19" y="8"/>
                      <a:pt x="19" y="8"/>
                    </a:cubicBezTo>
                    <a:cubicBezTo>
                      <a:pt x="21" y="12"/>
                      <a:pt x="21" y="12"/>
                      <a:pt x="21" y="12"/>
                    </a:cubicBezTo>
                    <a:cubicBezTo>
                      <a:pt x="21" y="12"/>
                      <a:pt x="22" y="14"/>
                      <a:pt x="21" y="15"/>
                    </a:cubicBezTo>
                    <a:cubicBezTo>
                      <a:pt x="20" y="17"/>
                      <a:pt x="17" y="19"/>
                      <a:pt x="16" y="19"/>
                    </a:cubicBezTo>
                    <a:cubicBezTo>
                      <a:pt x="15" y="19"/>
                      <a:pt x="15" y="14"/>
                      <a:pt x="15" y="14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7" y="12"/>
                      <a:pt x="18" y="9"/>
                      <a:pt x="16" y="9"/>
                    </a:cubicBezTo>
                    <a:cubicBezTo>
                      <a:pt x="14" y="8"/>
                      <a:pt x="17" y="5"/>
                      <a:pt x="17" y="5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3" y="11"/>
                      <a:pt x="12" y="12"/>
                    </a:cubicBezTo>
                    <a:cubicBezTo>
                      <a:pt x="11" y="14"/>
                      <a:pt x="11" y="20"/>
                      <a:pt x="10" y="20"/>
                    </a:cubicBezTo>
                    <a:cubicBezTo>
                      <a:pt x="9" y="21"/>
                      <a:pt x="7" y="25"/>
                      <a:pt x="7" y="25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1" y="31"/>
                      <a:pt x="1" y="31"/>
                      <a:pt x="1" y="31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5"/>
                      <a:pt x="2" y="36"/>
                    </a:cubicBezTo>
                    <a:cubicBezTo>
                      <a:pt x="6" y="37"/>
                      <a:pt x="7" y="38"/>
                      <a:pt x="8" y="37"/>
                    </a:cubicBezTo>
                    <a:cubicBezTo>
                      <a:pt x="9" y="36"/>
                      <a:pt x="9" y="33"/>
                      <a:pt x="13" y="33"/>
                    </a:cubicBezTo>
                    <a:cubicBezTo>
                      <a:pt x="16" y="34"/>
                      <a:pt x="17" y="32"/>
                      <a:pt x="18" y="34"/>
                    </a:cubicBezTo>
                    <a:cubicBezTo>
                      <a:pt x="18" y="36"/>
                      <a:pt x="21" y="35"/>
                      <a:pt x="22" y="36"/>
                    </a:cubicBezTo>
                    <a:cubicBezTo>
                      <a:pt x="23" y="38"/>
                      <a:pt x="22" y="42"/>
                      <a:pt x="23" y="43"/>
                    </a:cubicBezTo>
                    <a:cubicBezTo>
                      <a:pt x="24" y="43"/>
                      <a:pt x="24" y="43"/>
                      <a:pt x="26" y="43"/>
                    </a:cubicBezTo>
                    <a:cubicBezTo>
                      <a:pt x="26" y="41"/>
                      <a:pt x="25" y="38"/>
                      <a:pt x="26" y="37"/>
                    </a:cubicBezTo>
                    <a:cubicBezTo>
                      <a:pt x="27" y="35"/>
                      <a:pt x="28" y="33"/>
                      <a:pt x="27" y="31"/>
                    </a:cubicBezTo>
                    <a:cubicBezTo>
                      <a:pt x="27" y="30"/>
                      <a:pt x="23" y="27"/>
                      <a:pt x="25" y="26"/>
                    </a:cubicBezTo>
                    <a:cubicBezTo>
                      <a:pt x="27" y="25"/>
                      <a:pt x="31" y="23"/>
                      <a:pt x="31" y="23"/>
                    </a:cubicBezTo>
                    <a:cubicBezTo>
                      <a:pt x="31" y="23"/>
                      <a:pt x="35" y="22"/>
                      <a:pt x="35" y="21"/>
                    </a:cubicBezTo>
                    <a:cubicBezTo>
                      <a:pt x="36" y="19"/>
                      <a:pt x="34" y="17"/>
                      <a:pt x="33" y="16"/>
                    </a:cubicBezTo>
                    <a:cubicBezTo>
                      <a:pt x="33" y="15"/>
                      <a:pt x="33" y="16"/>
                      <a:pt x="35" y="1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2" name="Freeform 44"/>
              <p:cNvSpPr>
                <a:spLocks noEditPoint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1626341" y="2368550"/>
                <a:ext cx="514514" cy="1163638"/>
              </a:xfrm>
              <a:custGeom>
                <a:avLst/>
                <a:gdLst>
                  <a:gd name="T0" fmla="*/ 2147483647 w 130"/>
                  <a:gd name="T1" fmla="*/ 2147483647 h 297"/>
                  <a:gd name="T2" fmla="*/ 2147483647 w 130"/>
                  <a:gd name="T3" fmla="*/ 2147483647 h 297"/>
                  <a:gd name="T4" fmla="*/ 2147483647 w 130"/>
                  <a:gd name="T5" fmla="*/ 2147483647 h 297"/>
                  <a:gd name="T6" fmla="*/ 2147483647 w 130"/>
                  <a:gd name="T7" fmla="*/ 2147483647 h 297"/>
                  <a:gd name="T8" fmla="*/ 2147483647 w 130"/>
                  <a:gd name="T9" fmla="*/ 0 h 297"/>
                  <a:gd name="T10" fmla="*/ 2147483647 w 130"/>
                  <a:gd name="T11" fmla="*/ 2147483647 h 297"/>
                  <a:gd name="T12" fmla="*/ 2147483647 w 130"/>
                  <a:gd name="T13" fmla="*/ 2147483647 h 297"/>
                  <a:gd name="T14" fmla="*/ 2147483647 w 130"/>
                  <a:gd name="T15" fmla="*/ 2147483647 h 297"/>
                  <a:gd name="T16" fmla="*/ 2147483647 w 130"/>
                  <a:gd name="T17" fmla="*/ 2147483647 h 297"/>
                  <a:gd name="T18" fmla="*/ 2147483647 w 130"/>
                  <a:gd name="T19" fmla="*/ 2147483647 h 297"/>
                  <a:gd name="T20" fmla="*/ 2147483647 w 130"/>
                  <a:gd name="T21" fmla="*/ 2147483647 h 297"/>
                  <a:gd name="T22" fmla="*/ 2147483647 w 130"/>
                  <a:gd name="T23" fmla="*/ 2147483647 h 297"/>
                  <a:gd name="T24" fmla="*/ 2147483647 w 130"/>
                  <a:gd name="T25" fmla="*/ 2147483647 h 297"/>
                  <a:gd name="T26" fmla="*/ 2147483647 w 130"/>
                  <a:gd name="T27" fmla="*/ 2147483647 h 297"/>
                  <a:gd name="T28" fmla="*/ 2147483647 w 130"/>
                  <a:gd name="T29" fmla="*/ 2147483647 h 297"/>
                  <a:gd name="T30" fmla="*/ 2147483647 w 130"/>
                  <a:gd name="T31" fmla="*/ 2147483647 h 297"/>
                  <a:gd name="T32" fmla="*/ 2147483647 w 130"/>
                  <a:gd name="T33" fmla="*/ 2147483647 h 297"/>
                  <a:gd name="T34" fmla="*/ 2147483647 w 130"/>
                  <a:gd name="T35" fmla="*/ 2147483647 h 297"/>
                  <a:gd name="T36" fmla="*/ 2147483647 w 130"/>
                  <a:gd name="T37" fmla="*/ 2147483647 h 297"/>
                  <a:gd name="T38" fmla="*/ 2147483647 w 130"/>
                  <a:gd name="T39" fmla="*/ 2147483647 h 297"/>
                  <a:gd name="T40" fmla="*/ 0 w 130"/>
                  <a:gd name="T41" fmla="*/ 2147483647 h 297"/>
                  <a:gd name="T42" fmla="*/ 2147483647 w 130"/>
                  <a:gd name="T43" fmla="*/ 2147483647 h 297"/>
                  <a:gd name="T44" fmla="*/ 2147483647 w 130"/>
                  <a:gd name="T45" fmla="*/ 2147483647 h 297"/>
                  <a:gd name="T46" fmla="*/ 2147483647 w 130"/>
                  <a:gd name="T47" fmla="*/ 2147483647 h 297"/>
                  <a:gd name="T48" fmla="*/ 2147483647 w 130"/>
                  <a:gd name="T49" fmla="*/ 2147483647 h 297"/>
                  <a:gd name="T50" fmla="*/ 2147483647 w 130"/>
                  <a:gd name="T51" fmla="*/ 2147483647 h 297"/>
                  <a:gd name="T52" fmla="*/ 2147483647 w 130"/>
                  <a:gd name="T53" fmla="*/ 2147483647 h 297"/>
                  <a:gd name="T54" fmla="*/ 2147483647 w 130"/>
                  <a:gd name="T55" fmla="*/ 2147483647 h 297"/>
                  <a:gd name="T56" fmla="*/ 2147483647 w 130"/>
                  <a:gd name="T57" fmla="*/ 2147483647 h 297"/>
                  <a:gd name="T58" fmla="*/ 2147483647 w 130"/>
                  <a:gd name="T59" fmla="*/ 2147483647 h 297"/>
                  <a:gd name="T60" fmla="*/ 2147483647 w 130"/>
                  <a:gd name="T61" fmla="*/ 2147483647 h 297"/>
                  <a:gd name="T62" fmla="*/ 2147483647 w 130"/>
                  <a:gd name="T63" fmla="*/ 2147483647 h 297"/>
                  <a:gd name="T64" fmla="*/ 2147483647 w 130"/>
                  <a:gd name="T65" fmla="*/ 2147483647 h 297"/>
                  <a:gd name="T66" fmla="*/ 2147483647 w 130"/>
                  <a:gd name="T67" fmla="*/ 2147483647 h 297"/>
                  <a:gd name="T68" fmla="*/ 2147483647 w 130"/>
                  <a:gd name="T69" fmla="*/ 2147483647 h 297"/>
                  <a:gd name="T70" fmla="*/ 2147483647 w 130"/>
                  <a:gd name="T71" fmla="*/ 2147483647 h 297"/>
                  <a:gd name="T72" fmla="*/ 2147483647 w 130"/>
                  <a:gd name="T73" fmla="*/ 2147483647 h 297"/>
                  <a:gd name="T74" fmla="*/ 2147483647 w 130"/>
                  <a:gd name="T75" fmla="*/ 2147483647 h 297"/>
                  <a:gd name="T76" fmla="*/ 2147483647 w 130"/>
                  <a:gd name="T77" fmla="*/ 2147483647 h 297"/>
                  <a:gd name="T78" fmla="*/ 2147483647 w 130"/>
                  <a:gd name="T79" fmla="*/ 2147483647 h 297"/>
                  <a:gd name="T80" fmla="*/ 2147483647 w 130"/>
                  <a:gd name="T81" fmla="*/ 2147483647 h 297"/>
                  <a:gd name="T82" fmla="*/ 2147483647 w 130"/>
                  <a:gd name="T83" fmla="*/ 2147483647 h 297"/>
                  <a:gd name="T84" fmla="*/ 2147483647 w 130"/>
                  <a:gd name="T85" fmla="*/ 2147483647 h 297"/>
                  <a:gd name="T86" fmla="*/ 2147483647 w 130"/>
                  <a:gd name="T87" fmla="*/ 2147483647 h 297"/>
                  <a:gd name="T88" fmla="*/ 2147483647 w 130"/>
                  <a:gd name="T89" fmla="*/ 2147483647 h 297"/>
                  <a:gd name="T90" fmla="*/ 2147483647 w 130"/>
                  <a:gd name="T91" fmla="*/ 2147483647 h 297"/>
                  <a:gd name="T92" fmla="*/ 2147483647 w 130"/>
                  <a:gd name="T93" fmla="*/ 2147483647 h 29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0"/>
                  <a:gd name="T142" fmla="*/ 0 h 297"/>
                  <a:gd name="T143" fmla="*/ 130 w 130"/>
                  <a:gd name="T144" fmla="*/ 297 h 29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0" h="297">
                    <a:moveTo>
                      <a:pt x="128" y="77"/>
                    </a:moveTo>
                    <a:cubicBezTo>
                      <a:pt x="127" y="76"/>
                      <a:pt x="125" y="74"/>
                      <a:pt x="125" y="72"/>
                    </a:cubicBezTo>
                    <a:cubicBezTo>
                      <a:pt x="124" y="71"/>
                      <a:pt x="124" y="67"/>
                      <a:pt x="126" y="65"/>
                    </a:cubicBezTo>
                    <a:cubicBezTo>
                      <a:pt x="128" y="64"/>
                      <a:pt x="127" y="59"/>
                      <a:pt x="127" y="57"/>
                    </a:cubicBezTo>
                    <a:cubicBezTo>
                      <a:pt x="127" y="55"/>
                      <a:pt x="122" y="49"/>
                      <a:pt x="123" y="48"/>
                    </a:cubicBezTo>
                    <a:cubicBezTo>
                      <a:pt x="124" y="47"/>
                      <a:pt x="126" y="46"/>
                      <a:pt x="125" y="44"/>
                    </a:cubicBezTo>
                    <a:cubicBezTo>
                      <a:pt x="123" y="43"/>
                      <a:pt x="120" y="45"/>
                      <a:pt x="122" y="42"/>
                    </a:cubicBezTo>
                    <a:cubicBezTo>
                      <a:pt x="124" y="40"/>
                      <a:pt x="123" y="36"/>
                      <a:pt x="123" y="35"/>
                    </a:cubicBezTo>
                    <a:cubicBezTo>
                      <a:pt x="123" y="33"/>
                      <a:pt x="124" y="30"/>
                      <a:pt x="124" y="29"/>
                    </a:cubicBezTo>
                    <a:cubicBezTo>
                      <a:pt x="124" y="28"/>
                      <a:pt x="122" y="25"/>
                      <a:pt x="121" y="24"/>
                    </a:cubicBezTo>
                    <a:cubicBezTo>
                      <a:pt x="120" y="23"/>
                      <a:pt x="117" y="19"/>
                      <a:pt x="116" y="19"/>
                    </a:cubicBezTo>
                    <a:cubicBezTo>
                      <a:pt x="115" y="18"/>
                      <a:pt x="109" y="18"/>
                      <a:pt x="109" y="16"/>
                    </a:cubicBezTo>
                    <a:cubicBezTo>
                      <a:pt x="108" y="15"/>
                      <a:pt x="104" y="12"/>
                      <a:pt x="103" y="10"/>
                    </a:cubicBezTo>
                    <a:cubicBezTo>
                      <a:pt x="102" y="8"/>
                      <a:pt x="99" y="4"/>
                      <a:pt x="99" y="4"/>
                    </a:cubicBezTo>
                    <a:cubicBezTo>
                      <a:pt x="99" y="4"/>
                      <a:pt x="96" y="1"/>
                      <a:pt x="95" y="0"/>
                    </a:cubicBezTo>
                    <a:cubicBezTo>
                      <a:pt x="95" y="1"/>
                      <a:pt x="95" y="1"/>
                      <a:pt x="96" y="1"/>
                    </a:cubicBezTo>
                    <a:cubicBezTo>
                      <a:pt x="93" y="1"/>
                      <a:pt x="90" y="1"/>
                      <a:pt x="90" y="1"/>
                    </a:cubicBezTo>
                    <a:cubicBezTo>
                      <a:pt x="90" y="1"/>
                      <a:pt x="93" y="6"/>
                      <a:pt x="92" y="8"/>
                    </a:cubicBezTo>
                    <a:cubicBezTo>
                      <a:pt x="90" y="9"/>
                      <a:pt x="91" y="12"/>
                      <a:pt x="88" y="15"/>
                    </a:cubicBezTo>
                    <a:cubicBezTo>
                      <a:pt x="86" y="18"/>
                      <a:pt x="91" y="16"/>
                      <a:pt x="91" y="16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79" y="16"/>
                      <a:pt x="74" y="15"/>
                      <a:pt x="73" y="14"/>
                    </a:cubicBezTo>
                    <a:cubicBezTo>
                      <a:pt x="73" y="13"/>
                      <a:pt x="71" y="15"/>
                      <a:pt x="70" y="17"/>
                    </a:cubicBezTo>
                    <a:cubicBezTo>
                      <a:pt x="69" y="19"/>
                      <a:pt x="71" y="21"/>
                      <a:pt x="70" y="25"/>
                    </a:cubicBezTo>
                    <a:cubicBezTo>
                      <a:pt x="69" y="29"/>
                      <a:pt x="67" y="30"/>
                      <a:pt x="67" y="30"/>
                    </a:cubicBezTo>
                    <a:cubicBezTo>
                      <a:pt x="62" y="26"/>
                      <a:pt x="62" y="26"/>
                      <a:pt x="62" y="26"/>
                    </a:cubicBezTo>
                    <a:cubicBezTo>
                      <a:pt x="62" y="26"/>
                      <a:pt x="59" y="30"/>
                      <a:pt x="58" y="30"/>
                    </a:cubicBezTo>
                    <a:cubicBezTo>
                      <a:pt x="57" y="31"/>
                      <a:pt x="56" y="34"/>
                      <a:pt x="54" y="37"/>
                    </a:cubicBezTo>
                    <a:cubicBezTo>
                      <a:pt x="53" y="40"/>
                      <a:pt x="52" y="41"/>
                      <a:pt x="51" y="41"/>
                    </a:cubicBezTo>
                    <a:cubicBezTo>
                      <a:pt x="50" y="41"/>
                      <a:pt x="51" y="46"/>
                      <a:pt x="52" y="47"/>
                    </a:cubicBezTo>
                    <a:cubicBezTo>
                      <a:pt x="52" y="48"/>
                      <a:pt x="53" y="50"/>
                      <a:pt x="53" y="52"/>
                    </a:cubicBezTo>
                    <a:cubicBezTo>
                      <a:pt x="54" y="55"/>
                      <a:pt x="51" y="55"/>
                      <a:pt x="49" y="59"/>
                    </a:cubicBezTo>
                    <a:cubicBezTo>
                      <a:pt x="46" y="62"/>
                      <a:pt x="44" y="67"/>
                      <a:pt x="44" y="67"/>
                    </a:cubicBezTo>
                    <a:cubicBezTo>
                      <a:pt x="45" y="72"/>
                      <a:pt x="45" y="72"/>
                      <a:pt x="45" y="72"/>
                    </a:cubicBezTo>
                    <a:cubicBezTo>
                      <a:pt x="45" y="72"/>
                      <a:pt x="42" y="75"/>
                      <a:pt x="40" y="75"/>
                    </a:cubicBezTo>
                    <a:cubicBezTo>
                      <a:pt x="39" y="76"/>
                      <a:pt x="36" y="76"/>
                      <a:pt x="36" y="76"/>
                    </a:cubicBezTo>
                    <a:cubicBezTo>
                      <a:pt x="36" y="76"/>
                      <a:pt x="36" y="82"/>
                      <a:pt x="36" y="84"/>
                    </a:cubicBezTo>
                    <a:cubicBezTo>
                      <a:pt x="35" y="87"/>
                      <a:pt x="34" y="97"/>
                      <a:pt x="34" y="97"/>
                    </a:cubicBezTo>
                    <a:cubicBezTo>
                      <a:pt x="34" y="97"/>
                      <a:pt x="30" y="108"/>
                      <a:pt x="28" y="110"/>
                    </a:cubicBezTo>
                    <a:cubicBezTo>
                      <a:pt x="26" y="112"/>
                      <a:pt x="29" y="114"/>
                      <a:pt x="31" y="114"/>
                    </a:cubicBezTo>
                    <a:cubicBezTo>
                      <a:pt x="32" y="115"/>
                      <a:pt x="31" y="120"/>
                      <a:pt x="30" y="123"/>
                    </a:cubicBezTo>
                    <a:cubicBezTo>
                      <a:pt x="29" y="126"/>
                      <a:pt x="28" y="126"/>
                      <a:pt x="25" y="124"/>
                    </a:cubicBezTo>
                    <a:cubicBezTo>
                      <a:pt x="22" y="123"/>
                      <a:pt x="18" y="126"/>
                      <a:pt x="18" y="126"/>
                    </a:cubicBezTo>
                    <a:cubicBezTo>
                      <a:pt x="18" y="126"/>
                      <a:pt x="12" y="132"/>
                      <a:pt x="12" y="135"/>
                    </a:cubicBezTo>
                    <a:cubicBezTo>
                      <a:pt x="11" y="139"/>
                      <a:pt x="10" y="141"/>
                      <a:pt x="10" y="141"/>
                    </a:cubicBezTo>
                    <a:cubicBezTo>
                      <a:pt x="10" y="141"/>
                      <a:pt x="14" y="148"/>
                      <a:pt x="12" y="149"/>
                    </a:cubicBezTo>
                    <a:cubicBezTo>
                      <a:pt x="10" y="150"/>
                      <a:pt x="11" y="154"/>
                      <a:pt x="11" y="156"/>
                    </a:cubicBezTo>
                    <a:cubicBezTo>
                      <a:pt x="11" y="158"/>
                      <a:pt x="13" y="162"/>
                      <a:pt x="12" y="166"/>
                    </a:cubicBezTo>
                    <a:cubicBezTo>
                      <a:pt x="12" y="170"/>
                      <a:pt x="12" y="174"/>
                      <a:pt x="13" y="177"/>
                    </a:cubicBezTo>
                    <a:cubicBezTo>
                      <a:pt x="14" y="179"/>
                      <a:pt x="16" y="178"/>
                      <a:pt x="17" y="180"/>
                    </a:cubicBezTo>
                    <a:cubicBezTo>
                      <a:pt x="18" y="183"/>
                      <a:pt x="19" y="184"/>
                      <a:pt x="17" y="187"/>
                    </a:cubicBezTo>
                    <a:cubicBezTo>
                      <a:pt x="15" y="190"/>
                      <a:pt x="13" y="190"/>
                      <a:pt x="13" y="190"/>
                    </a:cubicBezTo>
                    <a:cubicBezTo>
                      <a:pt x="13" y="190"/>
                      <a:pt x="14" y="195"/>
                      <a:pt x="15" y="197"/>
                    </a:cubicBezTo>
                    <a:cubicBezTo>
                      <a:pt x="16" y="199"/>
                      <a:pt x="16" y="203"/>
                      <a:pt x="15" y="204"/>
                    </a:cubicBezTo>
                    <a:cubicBezTo>
                      <a:pt x="15" y="206"/>
                      <a:pt x="15" y="210"/>
                      <a:pt x="11" y="212"/>
                    </a:cubicBezTo>
                    <a:cubicBezTo>
                      <a:pt x="10" y="213"/>
                      <a:pt x="9" y="213"/>
                      <a:pt x="9" y="213"/>
                    </a:cubicBezTo>
                    <a:cubicBezTo>
                      <a:pt x="9" y="213"/>
                      <a:pt x="9" y="213"/>
                      <a:pt x="9" y="214"/>
                    </a:cubicBezTo>
                    <a:cubicBezTo>
                      <a:pt x="9" y="216"/>
                      <a:pt x="10" y="217"/>
                      <a:pt x="8" y="218"/>
                    </a:cubicBezTo>
                    <a:cubicBezTo>
                      <a:pt x="7" y="218"/>
                      <a:pt x="8" y="221"/>
                      <a:pt x="8" y="223"/>
                    </a:cubicBezTo>
                    <a:cubicBezTo>
                      <a:pt x="8" y="224"/>
                      <a:pt x="7" y="230"/>
                      <a:pt x="7" y="230"/>
                    </a:cubicBezTo>
                    <a:cubicBezTo>
                      <a:pt x="7" y="230"/>
                      <a:pt x="5" y="230"/>
                      <a:pt x="4" y="228"/>
                    </a:cubicBezTo>
                    <a:cubicBezTo>
                      <a:pt x="3" y="225"/>
                      <a:pt x="1" y="228"/>
                      <a:pt x="0" y="229"/>
                    </a:cubicBezTo>
                    <a:cubicBezTo>
                      <a:pt x="0" y="229"/>
                      <a:pt x="3" y="238"/>
                      <a:pt x="3" y="240"/>
                    </a:cubicBezTo>
                    <a:cubicBezTo>
                      <a:pt x="3" y="242"/>
                      <a:pt x="5" y="243"/>
                      <a:pt x="6" y="247"/>
                    </a:cubicBezTo>
                    <a:cubicBezTo>
                      <a:pt x="7" y="251"/>
                      <a:pt x="8" y="250"/>
                      <a:pt x="8" y="255"/>
                    </a:cubicBezTo>
                    <a:cubicBezTo>
                      <a:pt x="8" y="259"/>
                      <a:pt x="9" y="259"/>
                      <a:pt x="10" y="260"/>
                    </a:cubicBezTo>
                    <a:cubicBezTo>
                      <a:pt x="11" y="261"/>
                      <a:pt x="14" y="265"/>
                      <a:pt x="14" y="266"/>
                    </a:cubicBezTo>
                    <a:cubicBezTo>
                      <a:pt x="14" y="267"/>
                      <a:pt x="16" y="267"/>
                      <a:pt x="18" y="270"/>
                    </a:cubicBezTo>
                    <a:cubicBezTo>
                      <a:pt x="19" y="273"/>
                      <a:pt x="20" y="276"/>
                      <a:pt x="19" y="276"/>
                    </a:cubicBezTo>
                    <a:cubicBezTo>
                      <a:pt x="17" y="276"/>
                      <a:pt x="15" y="275"/>
                      <a:pt x="16" y="277"/>
                    </a:cubicBezTo>
                    <a:cubicBezTo>
                      <a:pt x="17" y="280"/>
                      <a:pt x="17" y="278"/>
                      <a:pt x="16" y="279"/>
                    </a:cubicBezTo>
                    <a:cubicBezTo>
                      <a:pt x="15" y="280"/>
                      <a:pt x="16" y="283"/>
                      <a:pt x="15" y="283"/>
                    </a:cubicBezTo>
                    <a:cubicBezTo>
                      <a:pt x="14" y="283"/>
                      <a:pt x="19" y="286"/>
                      <a:pt x="20" y="288"/>
                    </a:cubicBezTo>
                    <a:cubicBezTo>
                      <a:pt x="21" y="289"/>
                      <a:pt x="17" y="291"/>
                      <a:pt x="20" y="294"/>
                    </a:cubicBezTo>
                    <a:cubicBezTo>
                      <a:pt x="22" y="297"/>
                      <a:pt x="26" y="296"/>
                      <a:pt x="28" y="296"/>
                    </a:cubicBezTo>
                    <a:cubicBezTo>
                      <a:pt x="30" y="296"/>
                      <a:pt x="36" y="297"/>
                      <a:pt x="34" y="292"/>
                    </a:cubicBezTo>
                    <a:cubicBezTo>
                      <a:pt x="32" y="287"/>
                      <a:pt x="32" y="285"/>
                      <a:pt x="33" y="285"/>
                    </a:cubicBezTo>
                    <a:cubicBezTo>
                      <a:pt x="34" y="284"/>
                      <a:pt x="41" y="280"/>
                      <a:pt x="43" y="280"/>
                    </a:cubicBezTo>
                    <a:cubicBezTo>
                      <a:pt x="45" y="280"/>
                      <a:pt x="49" y="283"/>
                      <a:pt x="49" y="280"/>
                    </a:cubicBezTo>
                    <a:cubicBezTo>
                      <a:pt x="50" y="276"/>
                      <a:pt x="52" y="273"/>
                      <a:pt x="52" y="273"/>
                    </a:cubicBezTo>
                    <a:cubicBezTo>
                      <a:pt x="53" y="281"/>
                      <a:pt x="53" y="281"/>
                      <a:pt x="53" y="281"/>
                    </a:cubicBezTo>
                    <a:cubicBezTo>
                      <a:pt x="53" y="281"/>
                      <a:pt x="57" y="270"/>
                      <a:pt x="58" y="269"/>
                    </a:cubicBezTo>
                    <a:cubicBezTo>
                      <a:pt x="59" y="269"/>
                      <a:pt x="60" y="259"/>
                      <a:pt x="60" y="259"/>
                    </a:cubicBezTo>
                    <a:cubicBezTo>
                      <a:pt x="55" y="266"/>
                      <a:pt x="55" y="266"/>
                      <a:pt x="55" y="266"/>
                    </a:cubicBezTo>
                    <a:cubicBezTo>
                      <a:pt x="55" y="266"/>
                      <a:pt x="54" y="263"/>
                      <a:pt x="56" y="259"/>
                    </a:cubicBezTo>
                    <a:cubicBezTo>
                      <a:pt x="57" y="255"/>
                      <a:pt x="58" y="241"/>
                      <a:pt x="58" y="241"/>
                    </a:cubicBezTo>
                    <a:cubicBezTo>
                      <a:pt x="58" y="241"/>
                      <a:pt x="57" y="238"/>
                      <a:pt x="60" y="235"/>
                    </a:cubicBezTo>
                    <a:cubicBezTo>
                      <a:pt x="63" y="232"/>
                      <a:pt x="66" y="232"/>
                      <a:pt x="68" y="232"/>
                    </a:cubicBezTo>
                    <a:cubicBezTo>
                      <a:pt x="69" y="232"/>
                      <a:pt x="71" y="231"/>
                      <a:pt x="73" y="228"/>
                    </a:cubicBezTo>
                    <a:cubicBezTo>
                      <a:pt x="76" y="224"/>
                      <a:pt x="75" y="220"/>
                      <a:pt x="75" y="220"/>
                    </a:cubicBezTo>
                    <a:cubicBezTo>
                      <a:pt x="75" y="220"/>
                      <a:pt x="78" y="220"/>
                      <a:pt x="80" y="216"/>
                    </a:cubicBezTo>
                    <a:cubicBezTo>
                      <a:pt x="81" y="212"/>
                      <a:pt x="88" y="212"/>
                      <a:pt x="82" y="209"/>
                    </a:cubicBezTo>
                    <a:cubicBezTo>
                      <a:pt x="76" y="207"/>
                      <a:pt x="76" y="205"/>
                      <a:pt x="76" y="203"/>
                    </a:cubicBezTo>
                    <a:cubicBezTo>
                      <a:pt x="75" y="201"/>
                      <a:pt x="72" y="199"/>
                      <a:pt x="72" y="200"/>
                    </a:cubicBezTo>
                    <a:cubicBezTo>
                      <a:pt x="73" y="201"/>
                      <a:pt x="70" y="201"/>
                      <a:pt x="70" y="199"/>
                    </a:cubicBezTo>
                    <a:cubicBezTo>
                      <a:pt x="70" y="198"/>
                      <a:pt x="67" y="199"/>
                      <a:pt x="66" y="198"/>
                    </a:cubicBezTo>
                    <a:cubicBezTo>
                      <a:pt x="65" y="198"/>
                      <a:pt x="62" y="193"/>
                      <a:pt x="62" y="193"/>
                    </a:cubicBezTo>
                    <a:cubicBezTo>
                      <a:pt x="62" y="193"/>
                      <a:pt x="60" y="182"/>
                      <a:pt x="61" y="179"/>
                    </a:cubicBezTo>
                    <a:cubicBezTo>
                      <a:pt x="61" y="176"/>
                      <a:pt x="62" y="177"/>
                      <a:pt x="63" y="176"/>
                    </a:cubicBezTo>
                    <a:cubicBezTo>
                      <a:pt x="64" y="174"/>
                      <a:pt x="63" y="170"/>
                      <a:pt x="63" y="168"/>
                    </a:cubicBezTo>
                    <a:cubicBezTo>
                      <a:pt x="63" y="165"/>
                      <a:pt x="65" y="161"/>
                      <a:pt x="67" y="159"/>
                    </a:cubicBezTo>
                    <a:cubicBezTo>
                      <a:pt x="70" y="157"/>
                      <a:pt x="73" y="150"/>
                      <a:pt x="75" y="149"/>
                    </a:cubicBezTo>
                    <a:cubicBezTo>
                      <a:pt x="76" y="147"/>
                      <a:pt x="82" y="139"/>
                      <a:pt x="83" y="137"/>
                    </a:cubicBezTo>
                    <a:cubicBezTo>
                      <a:pt x="85" y="136"/>
                      <a:pt x="88" y="134"/>
                      <a:pt x="91" y="132"/>
                    </a:cubicBezTo>
                    <a:cubicBezTo>
                      <a:pt x="94" y="131"/>
                      <a:pt x="97" y="129"/>
                      <a:pt x="99" y="125"/>
                    </a:cubicBezTo>
                    <a:cubicBezTo>
                      <a:pt x="100" y="120"/>
                      <a:pt x="102" y="120"/>
                      <a:pt x="104" y="118"/>
                    </a:cubicBezTo>
                    <a:cubicBezTo>
                      <a:pt x="106" y="115"/>
                      <a:pt x="103" y="113"/>
                      <a:pt x="102" y="112"/>
                    </a:cubicBezTo>
                    <a:cubicBezTo>
                      <a:pt x="101" y="110"/>
                      <a:pt x="102" y="107"/>
                      <a:pt x="103" y="105"/>
                    </a:cubicBezTo>
                    <a:cubicBezTo>
                      <a:pt x="103" y="104"/>
                      <a:pt x="106" y="95"/>
                      <a:pt x="106" y="95"/>
                    </a:cubicBezTo>
                    <a:cubicBezTo>
                      <a:pt x="106" y="95"/>
                      <a:pt x="108" y="98"/>
                      <a:pt x="111" y="92"/>
                    </a:cubicBezTo>
                    <a:cubicBezTo>
                      <a:pt x="113" y="86"/>
                      <a:pt x="112" y="83"/>
                      <a:pt x="112" y="83"/>
                    </a:cubicBezTo>
                    <a:cubicBezTo>
                      <a:pt x="117" y="85"/>
                      <a:pt x="117" y="85"/>
                      <a:pt x="117" y="85"/>
                    </a:cubicBezTo>
                    <a:cubicBezTo>
                      <a:pt x="117" y="85"/>
                      <a:pt x="120" y="85"/>
                      <a:pt x="123" y="84"/>
                    </a:cubicBezTo>
                    <a:cubicBezTo>
                      <a:pt x="126" y="84"/>
                      <a:pt x="126" y="85"/>
                      <a:pt x="130" y="84"/>
                    </a:cubicBezTo>
                    <a:cubicBezTo>
                      <a:pt x="129" y="83"/>
                      <a:pt x="128" y="79"/>
                      <a:pt x="128" y="77"/>
                    </a:cubicBezTo>
                    <a:close/>
                    <a:moveTo>
                      <a:pt x="29" y="229"/>
                    </a:moveTo>
                    <a:cubicBezTo>
                      <a:pt x="27" y="233"/>
                      <a:pt x="26" y="237"/>
                      <a:pt x="24" y="236"/>
                    </a:cubicBezTo>
                    <a:cubicBezTo>
                      <a:pt x="22" y="235"/>
                      <a:pt x="20" y="238"/>
                      <a:pt x="20" y="238"/>
                    </a:cubicBezTo>
                    <a:cubicBezTo>
                      <a:pt x="20" y="238"/>
                      <a:pt x="14" y="240"/>
                      <a:pt x="14" y="239"/>
                    </a:cubicBezTo>
                    <a:cubicBezTo>
                      <a:pt x="12" y="236"/>
                      <a:pt x="16" y="237"/>
                      <a:pt x="16" y="233"/>
                    </a:cubicBezTo>
                    <a:cubicBezTo>
                      <a:pt x="17" y="229"/>
                      <a:pt x="19" y="226"/>
                      <a:pt x="20" y="228"/>
                    </a:cubicBezTo>
                    <a:cubicBezTo>
                      <a:pt x="22" y="230"/>
                      <a:pt x="24" y="233"/>
                      <a:pt x="24" y="227"/>
                    </a:cubicBezTo>
                    <a:cubicBezTo>
                      <a:pt x="24" y="221"/>
                      <a:pt x="25" y="220"/>
                      <a:pt x="27" y="221"/>
                    </a:cubicBezTo>
                    <a:cubicBezTo>
                      <a:pt x="28" y="223"/>
                      <a:pt x="30" y="226"/>
                      <a:pt x="29" y="229"/>
                    </a:cubicBezTo>
                    <a:close/>
                    <a:moveTo>
                      <a:pt x="39" y="234"/>
                    </a:moveTo>
                    <a:cubicBezTo>
                      <a:pt x="38" y="238"/>
                      <a:pt x="37" y="240"/>
                      <a:pt x="36" y="243"/>
                    </a:cubicBezTo>
                    <a:cubicBezTo>
                      <a:pt x="35" y="245"/>
                      <a:pt x="32" y="248"/>
                      <a:pt x="32" y="248"/>
                    </a:cubicBezTo>
                    <a:cubicBezTo>
                      <a:pt x="32" y="248"/>
                      <a:pt x="32" y="239"/>
                      <a:pt x="35" y="237"/>
                    </a:cubicBezTo>
                    <a:cubicBezTo>
                      <a:pt x="37" y="234"/>
                      <a:pt x="39" y="229"/>
                      <a:pt x="39" y="234"/>
                    </a:cubicBezTo>
                    <a:close/>
                    <a:moveTo>
                      <a:pt x="76" y="251"/>
                    </a:moveTo>
                    <a:cubicBezTo>
                      <a:pt x="75" y="248"/>
                      <a:pt x="74" y="252"/>
                      <a:pt x="71" y="255"/>
                    </a:cubicBezTo>
                    <a:cubicBezTo>
                      <a:pt x="69" y="258"/>
                      <a:pt x="72" y="261"/>
                      <a:pt x="72" y="263"/>
                    </a:cubicBezTo>
                    <a:cubicBezTo>
                      <a:pt x="72" y="266"/>
                      <a:pt x="78" y="259"/>
                      <a:pt x="78" y="259"/>
                    </a:cubicBezTo>
                    <a:cubicBezTo>
                      <a:pt x="76" y="257"/>
                      <a:pt x="76" y="257"/>
                      <a:pt x="76" y="257"/>
                    </a:cubicBezTo>
                    <a:cubicBezTo>
                      <a:pt x="76" y="257"/>
                      <a:pt x="77" y="254"/>
                      <a:pt x="76" y="251"/>
                    </a:cubicBezTo>
                    <a:close/>
                    <a:moveTo>
                      <a:pt x="92" y="202"/>
                    </a:moveTo>
                    <a:cubicBezTo>
                      <a:pt x="92" y="202"/>
                      <a:pt x="90" y="201"/>
                      <a:pt x="86" y="202"/>
                    </a:cubicBezTo>
                    <a:cubicBezTo>
                      <a:pt x="84" y="206"/>
                      <a:pt x="84" y="206"/>
                      <a:pt x="84" y="206"/>
                    </a:cubicBezTo>
                    <a:cubicBezTo>
                      <a:pt x="84" y="206"/>
                      <a:pt x="90" y="209"/>
                      <a:pt x="92" y="210"/>
                    </a:cubicBezTo>
                    <a:cubicBezTo>
                      <a:pt x="94" y="210"/>
                      <a:pt x="94" y="208"/>
                      <a:pt x="94" y="206"/>
                    </a:cubicBezTo>
                    <a:cubicBezTo>
                      <a:pt x="94" y="205"/>
                      <a:pt x="92" y="202"/>
                      <a:pt x="92" y="20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3" name="Freeform 45"/>
              <p:cNvSpPr>
                <a:spLocks noEditPoint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502502" y="3363913"/>
                <a:ext cx="282909" cy="209550"/>
              </a:xfrm>
              <a:custGeom>
                <a:avLst/>
                <a:gdLst>
                  <a:gd name="T0" fmla="*/ 2147483647 w 72"/>
                  <a:gd name="T1" fmla="*/ 2147483647 h 54"/>
                  <a:gd name="T2" fmla="*/ 2147483647 w 72"/>
                  <a:gd name="T3" fmla="*/ 2147483647 h 54"/>
                  <a:gd name="T4" fmla="*/ 2147483647 w 72"/>
                  <a:gd name="T5" fmla="*/ 2147483647 h 54"/>
                  <a:gd name="T6" fmla="*/ 2147483647 w 72"/>
                  <a:gd name="T7" fmla="*/ 2147483647 h 54"/>
                  <a:gd name="T8" fmla="*/ 2147483647 w 72"/>
                  <a:gd name="T9" fmla="*/ 2147483647 h 54"/>
                  <a:gd name="T10" fmla="*/ 2147483647 w 72"/>
                  <a:gd name="T11" fmla="*/ 2147483647 h 54"/>
                  <a:gd name="T12" fmla="*/ 2147483647 w 72"/>
                  <a:gd name="T13" fmla="*/ 0 h 54"/>
                  <a:gd name="T14" fmla="*/ 2147483647 w 72"/>
                  <a:gd name="T15" fmla="*/ 2147483647 h 54"/>
                  <a:gd name="T16" fmla="*/ 2147483647 w 72"/>
                  <a:gd name="T17" fmla="*/ 2147483647 h 54"/>
                  <a:gd name="T18" fmla="*/ 2147483647 w 72"/>
                  <a:gd name="T19" fmla="*/ 2147483647 h 54"/>
                  <a:gd name="T20" fmla="*/ 2147483647 w 72"/>
                  <a:gd name="T21" fmla="*/ 2147483647 h 54"/>
                  <a:gd name="T22" fmla="*/ 2147483647 w 72"/>
                  <a:gd name="T23" fmla="*/ 2147483647 h 54"/>
                  <a:gd name="T24" fmla="*/ 2147483647 w 72"/>
                  <a:gd name="T25" fmla="*/ 2147483647 h 54"/>
                  <a:gd name="T26" fmla="*/ 2147483647 w 72"/>
                  <a:gd name="T27" fmla="*/ 2147483647 h 54"/>
                  <a:gd name="T28" fmla="*/ 2147483647 w 72"/>
                  <a:gd name="T29" fmla="*/ 2147483647 h 54"/>
                  <a:gd name="T30" fmla="*/ 2147483647 w 72"/>
                  <a:gd name="T31" fmla="*/ 2147483647 h 54"/>
                  <a:gd name="T32" fmla="*/ 2147483647 w 72"/>
                  <a:gd name="T33" fmla="*/ 2147483647 h 54"/>
                  <a:gd name="T34" fmla="*/ 2147483647 w 72"/>
                  <a:gd name="T35" fmla="*/ 2147483647 h 54"/>
                  <a:gd name="T36" fmla="*/ 2147483647 w 72"/>
                  <a:gd name="T37" fmla="*/ 2147483647 h 54"/>
                  <a:gd name="T38" fmla="*/ 2147483647 w 72"/>
                  <a:gd name="T39" fmla="*/ 2147483647 h 54"/>
                  <a:gd name="T40" fmla="*/ 2147483647 w 72"/>
                  <a:gd name="T41" fmla="*/ 2147483647 h 54"/>
                  <a:gd name="T42" fmla="*/ 2147483647 w 72"/>
                  <a:gd name="T43" fmla="*/ 2147483647 h 54"/>
                  <a:gd name="T44" fmla="*/ 2147483647 w 72"/>
                  <a:gd name="T45" fmla="*/ 2147483647 h 54"/>
                  <a:gd name="T46" fmla="*/ 2147483647 w 72"/>
                  <a:gd name="T47" fmla="*/ 2147483647 h 54"/>
                  <a:gd name="T48" fmla="*/ 2147483647 w 72"/>
                  <a:gd name="T49" fmla="*/ 2147483647 h 54"/>
                  <a:gd name="T50" fmla="*/ 2147483647 w 72"/>
                  <a:gd name="T51" fmla="*/ 2147483647 h 54"/>
                  <a:gd name="T52" fmla="*/ 2147483647 w 72"/>
                  <a:gd name="T53" fmla="*/ 2147483647 h 54"/>
                  <a:gd name="T54" fmla="*/ 2147483647 w 72"/>
                  <a:gd name="T55" fmla="*/ 2147483647 h 54"/>
                  <a:gd name="T56" fmla="*/ 2147483647 w 72"/>
                  <a:gd name="T57" fmla="*/ 2147483647 h 54"/>
                  <a:gd name="T58" fmla="*/ 2147483647 w 72"/>
                  <a:gd name="T59" fmla="*/ 2147483647 h 54"/>
                  <a:gd name="T60" fmla="*/ 2147483647 w 72"/>
                  <a:gd name="T61" fmla="*/ 2147483647 h 54"/>
                  <a:gd name="T62" fmla="*/ 2147483647 w 72"/>
                  <a:gd name="T63" fmla="*/ 2147483647 h 54"/>
                  <a:gd name="T64" fmla="*/ 2147483647 w 72"/>
                  <a:gd name="T65" fmla="*/ 2147483647 h 54"/>
                  <a:gd name="T66" fmla="*/ 2147483647 w 72"/>
                  <a:gd name="T67" fmla="*/ 2147483647 h 54"/>
                  <a:gd name="T68" fmla="*/ 2147483647 w 72"/>
                  <a:gd name="T69" fmla="*/ 2147483647 h 54"/>
                  <a:gd name="T70" fmla="*/ 2147483647 w 72"/>
                  <a:gd name="T71" fmla="*/ 2147483647 h 54"/>
                  <a:gd name="T72" fmla="*/ 2147483647 w 72"/>
                  <a:gd name="T73" fmla="*/ 2147483647 h 54"/>
                  <a:gd name="T74" fmla="*/ 2147483647 w 72"/>
                  <a:gd name="T75" fmla="*/ 2147483647 h 54"/>
                  <a:gd name="T76" fmla="*/ 2147483647 w 72"/>
                  <a:gd name="T77" fmla="*/ 2147483647 h 54"/>
                  <a:gd name="T78" fmla="*/ 2147483647 w 72"/>
                  <a:gd name="T79" fmla="*/ 2147483647 h 54"/>
                  <a:gd name="T80" fmla="*/ 2147483647 w 72"/>
                  <a:gd name="T81" fmla="*/ 2147483647 h 54"/>
                  <a:gd name="T82" fmla="*/ 2147483647 w 72"/>
                  <a:gd name="T83" fmla="*/ 2147483647 h 54"/>
                  <a:gd name="T84" fmla="*/ 2147483647 w 72"/>
                  <a:gd name="T85" fmla="*/ 2147483647 h 54"/>
                  <a:gd name="T86" fmla="*/ 2147483647 w 72"/>
                  <a:gd name="T87" fmla="*/ 2147483647 h 54"/>
                  <a:gd name="T88" fmla="*/ 2147483647 w 72"/>
                  <a:gd name="T89" fmla="*/ 2147483647 h 54"/>
                  <a:gd name="T90" fmla="*/ 2147483647 w 72"/>
                  <a:gd name="T91" fmla="*/ 2147483647 h 54"/>
                  <a:gd name="T92" fmla="*/ 2147483647 w 72"/>
                  <a:gd name="T93" fmla="*/ 2147483647 h 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2"/>
                  <a:gd name="T142" fmla="*/ 0 h 54"/>
                  <a:gd name="T143" fmla="*/ 72 w 72"/>
                  <a:gd name="T144" fmla="*/ 54 h 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2" h="54">
                    <a:moveTo>
                      <a:pt x="24" y="37"/>
                    </a:moveTo>
                    <a:cubicBezTo>
                      <a:pt x="22" y="37"/>
                      <a:pt x="20" y="35"/>
                      <a:pt x="20" y="35"/>
                    </a:cubicBezTo>
                    <a:cubicBezTo>
                      <a:pt x="20" y="35"/>
                      <a:pt x="23" y="31"/>
                      <a:pt x="24" y="29"/>
                    </a:cubicBezTo>
                    <a:cubicBezTo>
                      <a:pt x="26" y="28"/>
                      <a:pt x="27" y="22"/>
                      <a:pt x="27" y="22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3" y="16"/>
                      <a:pt x="25" y="11"/>
                      <a:pt x="25" y="8"/>
                    </a:cubicBezTo>
                    <a:cubicBezTo>
                      <a:pt x="26" y="6"/>
                      <a:pt x="24" y="0"/>
                      <a:pt x="24" y="0"/>
                    </a:cubicBezTo>
                    <a:cubicBezTo>
                      <a:pt x="24" y="0"/>
                      <a:pt x="21" y="0"/>
                      <a:pt x="19" y="2"/>
                    </a:cubicBezTo>
                    <a:cubicBezTo>
                      <a:pt x="16" y="4"/>
                      <a:pt x="19" y="6"/>
                      <a:pt x="15" y="8"/>
                    </a:cubicBezTo>
                    <a:cubicBezTo>
                      <a:pt x="10" y="10"/>
                      <a:pt x="5" y="11"/>
                      <a:pt x="4" y="12"/>
                    </a:cubicBezTo>
                    <a:cubicBezTo>
                      <a:pt x="3" y="14"/>
                      <a:pt x="7" y="17"/>
                      <a:pt x="7" y="17"/>
                    </a:cubicBezTo>
                    <a:cubicBezTo>
                      <a:pt x="7" y="17"/>
                      <a:pt x="5" y="14"/>
                      <a:pt x="11" y="12"/>
                    </a:cubicBezTo>
                    <a:cubicBezTo>
                      <a:pt x="16" y="9"/>
                      <a:pt x="13" y="14"/>
                      <a:pt x="13" y="17"/>
                    </a:cubicBezTo>
                    <a:cubicBezTo>
                      <a:pt x="13" y="20"/>
                      <a:pt x="9" y="17"/>
                      <a:pt x="9" y="17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3" y="19"/>
                      <a:pt x="3" y="22"/>
                    </a:cubicBezTo>
                    <a:cubicBezTo>
                      <a:pt x="3" y="25"/>
                      <a:pt x="5" y="29"/>
                      <a:pt x="2" y="32"/>
                    </a:cubicBezTo>
                    <a:cubicBezTo>
                      <a:pt x="0" y="35"/>
                      <a:pt x="6" y="39"/>
                      <a:pt x="7" y="41"/>
                    </a:cubicBezTo>
                    <a:cubicBezTo>
                      <a:pt x="8" y="43"/>
                      <a:pt x="6" y="49"/>
                      <a:pt x="6" y="49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11" y="51"/>
                      <a:pt x="14" y="49"/>
                      <a:pt x="14" y="49"/>
                    </a:cubicBezTo>
                    <a:cubicBezTo>
                      <a:pt x="14" y="49"/>
                      <a:pt x="16" y="49"/>
                      <a:pt x="18" y="49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6" y="42"/>
                      <a:pt x="21" y="42"/>
                      <a:pt x="23" y="43"/>
                    </a:cubicBezTo>
                    <a:cubicBezTo>
                      <a:pt x="24" y="44"/>
                      <a:pt x="28" y="48"/>
                      <a:pt x="28" y="48"/>
                    </a:cubicBezTo>
                    <a:cubicBezTo>
                      <a:pt x="28" y="48"/>
                      <a:pt x="28" y="43"/>
                      <a:pt x="28" y="41"/>
                    </a:cubicBezTo>
                    <a:cubicBezTo>
                      <a:pt x="28" y="39"/>
                      <a:pt x="28" y="38"/>
                      <a:pt x="28" y="38"/>
                    </a:cubicBezTo>
                    <a:cubicBezTo>
                      <a:pt x="28" y="38"/>
                      <a:pt x="25" y="37"/>
                      <a:pt x="24" y="37"/>
                    </a:cubicBezTo>
                    <a:close/>
                    <a:moveTo>
                      <a:pt x="43" y="33"/>
                    </a:moveTo>
                    <a:cubicBezTo>
                      <a:pt x="43" y="30"/>
                      <a:pt x="43" y="33"/>
                      <a:pt x="41" y="28"/>
                    </a:cubicBezTo>
                    <a:cubicBezTo>
                      <a:pt x="39" y="24"/>
                      <a:pt x="38" y="32"/>
                      <a:pt x="38" y="32"/>
                    </a:cubicBezTo>
                    <a:cubicBezTo>
                      <a:pt x="38" y="32"/>
                      <a:pt x="38" y="37"/>
                      <a:pt x="32" y="34"/>
                    </a:cubicBezTo>
                    <a:cubicBezTo>
                      <a:pt x="27" y="32"/>
                      <a:pt x="31" y="37"/>
                      <a:pt x="31" y="39"/>
                    </a:cubicBezTo>
                    <a:cubicBezTo>
                      <a:pt x="31" y="41"/>
                      <a:pt x="34" y="42"/>
                      <a:pt x="36" y="43"/>
                    </a:cubicBezTo>
                    <a:cubicBezTo>
                      <a:pt x="36" y="43"/>
                      <a:pt x="40" y="47"/>
                      <a:pt x="38" y="49"/>
                    </a:cubicBezTo>
                    <a:cubicBezTo>
                      <a:pt x="36" y="51"/>
                      <a:pt x="35" y="49"/>
                      <a:pt x="31" y="49"/>
                    </a:cubicBezTo>
                    <a:cubicBezTo>
                      <a:pt x="27" y="49"/>
                      <a:pt x="34" y="54"/>
                      <a:pt x="34" y="54"/>
                    </a:cubicBezTo>
                    <a:cubicBezTo>
                      <a:pt x="41" y="52"/>
                      <a:pt x="41" y="52"/>
                      <a:pt x="41" y="52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42" y="48"/>
                      <a:pt x="41" y="45"/>
                      <a:pt x="43" y="43"/>
                    </a:cubicBezTo>
                    <a:cubicBezTo>
                      <a:pt x="45" y="42"/>
                      <a:pt x="44" y="39"/>
                      <a:pt x="44" y="39"/>
                    </a:cubicBezTo>
                    <a:cubicBezTo>
                      <a:pt x="44" y="39"/>
                      <a:pt x="43" y="35"/>
                      <a:pt x="43" y="33"/>
                    </a:cubicBezTo>
                    <a:close/>
                    <a:moveTo>
                      <a:pt x="67" y="43"/>
                    </a:moveTo>
                    <a:cubicBezTo>
                      <a:pt x="66" y="45"/>
                      <a:pt x="69" y="50"/>
                      <a:pt x="70" y="47"/>
                    </a:cubicBezTo>
                    <a:cubicBezTo>
                      <a:pt x="72" y="44"/>
                      <a:pt x="69" y="40"/>
                      <a:pt x="67" y="4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4" name="Freeform 46"/>
              <p:cNvSpPr>
                <a:spLocks noEditPoints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1378964" y="2122489"/>
                <a:ext cx="1027564" cy="1216025"/>
              </a:xfrm>
              <a:custGeom>
                <a:avLst/>
                <a:gdLst>
                  <a:gd name="T0" fmla="*/ 2147483647 w 260"/>
                  <a:gd name="T1" fmla="*/ 2147483647 h 311"/>
                  <a:gd name="T2" fmla="*/ 2147483647 w 260"/>
                  <a:gd name="T3" fmla="*/ 2147483647 h 311"/>
                  <a:gd name="T4" fmla="*/ 2147483647 w 260"/>
                  <a:gd name="T5" fmla="*/ 2147483647 h 311"/>
                  <a:gd name="T6" fmla="*/ 2147483647 w 260"/>
                  <a:gd name="T7" fmla="*/ 2147483647 h 311"/>
                  <a:gd name="T8" fmla="*/ 2147483647 w 260"/>
                  <a:gd name="T9" fmla="*/ 2147483647 h 311"/>
                  <a:gd name="T10" fmla="*/ 2147483647 w 260"/>
                  <a:gd name="T11" fmla="*/ 2147483647 h 311"/>
                  <a:gd name="T12" fmla="*/ 2147483647 w 260"/>
                  <a:gd name="T13" fmla="*/ 2147483647 h 311"/>
                  <a:gd name="T14" fmla="*/ 2147483647 w 260"/>
                  <a:gd name="T15" fmla="*/ 2147483647 h 311"/>
                  <a:gd name="T16" fmla="*/ 2147483647 w 260"/>
                  <a:gd name="T17" fmla="*/ 2147483647 h 311"/>
                  <a:gd name="T18" fmla="*/ 2147483647 w 260"/>
                  <a:gd name="T19" fmla="*/ 2147483647 h 311"/>
                  <a:gd name="T20" fmla="*/ 2147483647 w 260"/>
                  <a:gd name="T21" fmla="*/ 2147483647 h 311"/>
                  <a:gd name="T22" fmla="*/ 2147483647 w 260"/>
                  <a:gd name="T23" fmla="*/ 2147483647 h 311"/>
                  <a:gd name="T24" fmla="*/ 2147483647 w 260"/>
                  <a:gd name="T25" fmla="*/ 2147483647 h 311"/>
                  <a:gd name="T26" fmla="*/ 2147483647 w 260"/>
                  <a:gd name="T27" fmla="*/ 2147483647 h 311"/>
                  <a:gd name="T28" fmla="*/ 2147483647 w 260"/>
                  <a:gd name="T29" fmla="*/ 2147483647 h 311"/>
                  <a:gd name="T30" fmla="*/ 2147483647 w 260"/>
                  <a:gd name="T31" fmla="*/ 2147483647 h 311"/>
                  <a:gd name="T32" fmla="*/ 2147483647 w 260"/>
                  <a:gd name="T33" fmla="*/ 2147483647 h 311"/>
                  <a:gd name="T34" fmla="*/ 2147483647 w 260"/>
                  <a:gd name="T35" fmla="*/ 2147483647 h 311"/>
                  <a:gd name="T36" fmla="*/ 2147483647 w 260"/>
                  <a:gd name="T37" fmla="*/ 2147483647 h 311"/>
                  <a:gd name="T38" fmla="*/ 2147483647 w 260"/>
                  <a:gd name="T39" fmla="*/ 2147483647 h 311"/>
                  <a:gd name="T40" fmla="*/ 2147483647 w 260"/>
                  <a:gd name="T41" fmla="*/ 2147483647 h 311"/>
                  <a:gd name="T42" fmla="*/ 2147483647 w 260"/>
                  <a:gd name="T43" fmla="*/ 2147483647 h 311"/>
                  <a:gd name="T44" fmla="*/ 2147483647 w 260"/>
                  <a:gd name="T45" fmla="*/ 2147483647 h 311"/>
                  <a:gd name="T46" fmla="*/ 2147483647 w 260"/>
                  <a:gd name="T47" fmla="*/ 2147483647 h 311"/>
                  <a:gd name="T48" fmla="*/ 2147483647 w 260"/>
                  <a:gd name="T49" fmla="*/ 2147483647 h 311"/>
                  <a:gd name="T50" fmla="*/ 2147483647 w 260"/>
                  <a:gd name="T51" fmla="*/ 2147483647 h 311"/>
                  <a:gd name="T52" fmla="*/ 2147483647 w 260"/>
                  <a:gd name="T53" fmla="*/ 2147483647 h 311"/>
                  <a:gd name="T54" fmla="*/ 2147483647 w 260"/>
                  <a:gd name="T55" fmla="*/ 2147483647 h 311"/>
                  <a:gd name="T56" fmla="*/ 2147483647 w 260"/>
                  <a:gd name="T57" fmla="*/ 2147483647 h 311"/>
                  <a:gd name="T58" fmla="*/ 2147483647 w 260"/>
                  <a:gd name="T59" fmla="*/ 2147483647 h 311"/>
                  <a:gd name="T60" fmla="*/ 2147483647 w 260"/>
                  <a:gd name="T61" fmla="*/ 2147483647 h 311"/>
                  <a:gd name="T62" fmla="*/ 2147483647 w 260"/>
                  <a:gd name="T63" fmla="*/ 2147483647 h 311"/>
                  <a:gd name="T64" fmla="*/ 2147483647 w 260"/>
                  <a:gd name="T65" fmla="*/ 2147483647 h 311"/>
                  <a:gd name="T66" fmla="*/ 2147483647 w 260"/>
                  <a:gd name="T67" fmla="*/ 2147483647 h 311"/>
                  <a:gd name="T68" fmla="*/ 2147483647 w 260"/>
                  <a:gd name="T69" fmla="*/ 2147483647 h 311"/>
                  <a:gd name="T70" fmla="*/ 2147483647 w 260"/>
                  <a:gd name="T71" fmla="*/ 2147483647 h 311"/>
                  <a:gd name="T72" fmla="*/ 2147483647 w 260"/>
                  <a:gd name="T73" fmla="*/ 2147483647 h 311"/>
                  <a:gd name="T74" fmla="*/ 2147483647 w 260"/>
                  <a:gd name="T75" fmla="*/ 2147483647 h 311"/>
                  <a:gd name="T76" fmla="*/ 2147483647 w 260"/>
                  <a:gd name="T77" fmla="*/ 2147483647 h 311"/>
                  <a:gd name="T78" fmla="*/ 2147483647 w 260"/>
                  <a:gd name="T79" fmla="*/ 2147483647 h 311"/>
                  <a:gd name="T80" fmla="*/ 2147483647 w 260"/>
                  <a:gd name="T81" fmla="*/ 2147483647 h 311"/>
                  <a:gd name="T82" fmla="*/ 2147483647 w 260"/>
                  <a:gd name="T83" fmla="*/ 2147483647 h 311"/>
                  <a:gd name="T84" fmla="*/ 2147483647 w 260"/>
                  <a:gd name="T85" fmla="*/ 2147483647 h 311"/>
                  <a:gd name="T86" fmla="*/ 2147483647 w 260"/>
                  <a:gd name="T87" fmla="*/ 2147483647 h 311"/>
                  <a:gd name="T88" fmla="*/ 2147483647 w 260"/>
                  <a:gd name="T89" fmla="*/ 2147483647 h 311"/>
                  <a:gd name="T90" fmla="*/ 2147483647 w 260"/>
                  <a:gd name="T91" fmla="*/ 2147483647 h 311"/>
                  <a:gd name="T92" fmla="*/ 2147483647 w 260"/>
                  <a:gd name="T93" fmla="*/ 2147483647 h 311"/>
                  <a:gd name="T94" fmla="*/ 2147483647 w 260"/>
                  <a:gd name="T95" fmla="*/ 2147483647 h 311"/>
                  <a:gd name="T96" fmla="*/ 2147483647 w 260"/>
                  <a:gd name="T97" fmla="*/ 2147483647 h 311"/>
                  <a:gd name="T98" fmla="*/ 2147483647 w 260"/>
                  <a:gd name="T99" fmla="*/ 2147483647 h 311"/>
                  <a:gd name="T100" fmla="*/ 2147483647 w 260"/>
                  <a:gd name="T101" fmla="*/ 2147483647 h 3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60"/>
                  <a:gd name="T154" fmla="*/ 0 h 311"/>
                  <a:gd name="T155" fmla="*/ 260 w 260"/>
                  <a:gd name="T156" fmla="*/ 311 h 31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60" h="311">
                    <a:moveTo>
                      <a:pt x="249" y="35"/>
                    </a:moveTo>
                    <a:cubicBezTo>
                      <a:pt x="252" y="34"/>
                      <a:pt x="253" y="31"/>
                      <a:pt x="255" y="30"/>
                    </a:cubicBezTo>
                    <a:cubicBezTo>
                      <a:pt x="257" y="30"/>
                      <a:pt x="260" y="32"/>
                      <a:pt x="260" y="28"/>
                    </a:cubicBezTo>
                    <a:cubicBezTo>
                      <a:pt x="260" y="24"/>
                      <a:pt x="257" y="22"/>
                      <a:pt x="256" y="21"/>
                    </a:cubicBezTo>
                    <a:cubicBezTo>
                      <a:pt x="255" y="21"/>
                      <a:pt x="251" y="22"/>
                      <a:pt x="251" y="22"/>
                    </a:cubicBezTo>
                    <a:cubicBezTo>
                      <a:pt x="251" y="22"/>
                      <a:pt x="252" y="18"/>
                      <a:pt x="250" y="17"/>
                    </a:cubicBezTo>
                    <a:cubicBezTo>
                      <a:pt x="249" y="17"/>
                      <a:pt x="246" y="16"/>
                      <a:pt x="245" y="16"/>
                    </a:cubicBezTo>
                    <a:cubicBezTo>
                      <a:pt x="244" y="17"/>
                      <a:pt x="245" y="14"/>
                      <a:pt x="242" y="13"/>
                    </a:cubicBezTo>
                    <a:cubicBezTo>
                      <a:pt x="239" y="11"/>
                      <a:pt x="237" y="13"/>
                      <a:pt x="237" y="13"/>
                    </a:cubicBezTo>
                    <a:cubicBezTo>
                      <a:pt x="235" y="23"/>
                      <a:pt x="235" y="23"/>
                      <a:pt x="235" y="23"/>
                    </a:cubicBezTo>
                    <a:cubicBezTo>
                      <a:pt x="235" y="23"/>
                      <a:pt x="230" y="23"/>
                      <a:pt x="229" y="23"/>
                    </a:cubicBezTo>
                    <a:cubicBezTo>
                      <a:pt x="230" y="23"/>
                      <a:pt x="233" y="18"/>
                      <a:pt x="233" y="18"/>
                    </a:cubicBezTo>
                    <a:cubicBezTo>
                      <a:pt x="230" y="18"/>
                      <a:pt x="230" y="18"/>
                      <a:pt x="230" y="18"/>
                    </a:cubicBezTo>
                    <a:cubicBezTo>
                      <a:pt x="230" y="18"/>
                      <a:pt x="227" y="14"/>
                      <a:pt x="229" y="14"/>
                    </a:cubicBezTo>
                    <a:cubicBezTo>
                      <a:pt x="231" y="14"/>
                      <a:pt x="234" y="12"/>
                      <a:pt x="234" y="12"/>
                    </a:cubicBezTo>
                    <a:cubicBezTo>
                      <a:pt x="234" y="12"/>
                      <a:pt x="236" y="7"/>
                      <a:pt x="235" y="7"/>
                    </a:cubicBezTo>
                    <a:cubicBezTo>
                      <a:pt x="234" y="7"/>
                      <a:pt x="233" y="4"/>
                      <a:pt x="231" y="5"/>
                    </a:cubicBezTo>
                    <a:cubicBezTo>
                      <a:pt x="230" y="6"/>
                      <a:pt x="226" y="5"/>
                      <a:pt x="225" y="6"/>
                    </a:cubicBezTo>
                    <a:cubicBezTo>
                      <a:pt x="225" y="7"/>
                      <a:pt x="222" y="7"/>
                      <a:pt x="223" y="9"/>
                    </a:cubicBezTo>
                    <a:cubicBezTo>
                      <a:pt x="224" y="11"/>
                      <a:pt x="225" y="13"/>
                      <a:pt x="224" y="13"/>
                    </a:cubicBezTo>
                    <a:cubicBezTo>
                      <a:pt x="223" y="14"/>
                      <a:pt x="221" y="20"/>
                      <a:pt x="220" y="21"/>
                    </a:cubicBezTo>
                    <a:cubicBezTo>
                      <a:pt x="219" y="22"/>
                      <a:pt x="216" y="27"/>
                      <a:pt x="216" y="25"/>
                    </a:cubicBezTo>
                    <a:cubicBezTo>
                      <a:pt x="216" y="23"/>
                      <a:pt x="216" y="18"/>
                      <a:pt x="216" y="18"/>
                    </a:cubicBezTo>
                    <a:cubicBezTo>
                      <a:pt x="216" y="18"/>
                      <a:pt x="217" y="14"/>
                      <a:pt x="217" y="12"/>
                    </a:cubicBezTo>
                    <a:cubicBezTo>
                      <a:pt x="217" y="11"/>
                      <a:pt x="214" y="12"/>
                      <a:pt x="214" y="12"/>
                    </a:cubicBezTo>
                    <a:cubicBezTo>
                      <a:pt x="206" y="25"/>
                      <a:pt x="206" y="25"/>
                      <a:pt x="206" y="25"/>
                    </a:cubicBezTo>
                    <a:cubicBezTo>
                      <a:pt x="206" y="25"/>
                      <a:pt x="204" y="30"/>
                      <a:pt x="203" y="32"/>
                    </a:cubicBezTo>
                    <a:cubicBezTo>
                      <a:pt x="202" y="34"/>
                      <a:pt x="202" y="30"/>
                      <a:pt x="202" y="26"/>
                    </a:cubicBezTo>
                    <a:cubicBezTo>
                      <a:pt x="203" y="23"/>
                      <a:pt x="204" y="17"/>
                      <a:pt x="207" y="15"/>
                    </a:cubicBezTo>
                    <a:cubicBezTo>
                      <a:pt x="209" y="13"/>
                      <a:pt x="212" y="9"/>
                      <a:pt x="210" y="9"/>
                    </a:cubicBezTo>
                    <a:cubicBezTo>
                      <a:pt x="208" y="9"/>
                      <a:pt x="211" y="7"/>
                      <a:pt x="211" y="7"/>
                    </a:cubicBezTo>
                    <a:cubicBezTo>
                      <a:pt x="211" y="7"/>
                      <a:pt x="210" y="0"/>
                      <a:pt x="207" y="3"/>
                    </a:cubicBezTo>
                    <a:cubicBezTo>
                      <a:pt x="204" y="5"/>
                      <a:pt x="203" y="4"/>
                      <a:pt x="203" y="7"/>
                    </a:cubicBezTo>
                    <a:cubicBezTo>
                      <a:pt x="204" y="9"/>
                      <a:pt x="204" y="13"/>
                      <a:pt x="204" y="13"/>
                    </a:cubicBezTo>
                    <a:cubicBezTo>
                      <a:pt x="204" y="13"/>
                      <a:pt x="201" y="11"/>
                      <a:pt x="200" y="9"/>
                    </a:cubicBezTo>
                    <a:cubicBezTo>
                      <a:pt x="200" y="8"/>
                      <a:pt x="197" y="9"/>
                      <a:pt x="197" y="8"/>
                    </a:cubicBezTo>
                    <a:cubicBezTo>
                      <a:pt x="196" y="7"/>
                      <a:pt x="197" y="12"/>
                      <a:pt x="197" y="12"/>
                    </a:cubicBezTo>
                    <a:cubicBezTo>
                      <a:pt x="197" y="12"/>
                      <a:pt x="193" y="9"/>
                      <a:pt x="193" y="11"/>
                    </a:cubicBezTo>
                    <a:cubicBezTo>
                      <a:pt x="193" y="13"/>
                      <a:pt x="196" y="16"/>
                      <a:pt x="196" y="16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21"/>
                      <a:pt x="193" y="21"/>
                      <a:pt x="193" y="21"/>
                    </a:cubicBezTo>
                    <a:cubicBezTo>
                      <a:pt x="188" y="14"/>
                      <a:pt x="188" y="14"/>
                      <a:pt x="188" y="14"/>
                    </a:cubicBezTo>
                    <a:cubicBezTo>
                      <a:pt x="188" y="14"/>
                      <a:pt x="188" y="19"/>
                      <a:pt x="188" y="21"/>
                    </a:cubicBezTo>
                    <a:cubicBezTo>
                      <a:pt x="189" y="24"/>
                      <a:pt x="186" y="21"/>
                      <a:pt x="185" y="21"/>
                    </a:cubicBezTo>
                    <a:cubicBezTo>
                      <a:pt x="184" y="22"/>
                      <a:pt x="181" y="22"/>
                      <a:pt x="180" y="24"/>
                    </a:cubicBezTo>
                    <a:cubicBezTo>
                      <a:pt x="179" y="25"/>
                      <a:pt x="175" y="28"/>
                      <a:pt x="175" y="28"/>
                    </a:cubicBezTo>
                    <a:cubicBezTo>
                      <a:pt x="175" y="28"/>
                      <a:pt x="178" y="30"/>
                      <a:pt x="180" y="29"/>
                    </a:cubicBezTo>
                    <a:cubicBezTo>
                      <a:pt x="182" y="29"/>
                      <a:pt x="184" y="30"/>
                      <a:pt x="184" y="31"/>
                    </a:cubicBezTo>
                    <a:cubicBezTo>
                      <a:pt x="184" y="32"/>
                      <a:pt x="186" y="34"/>
                      <a:pt x="184" y="36"/>
                    </a:cubicBezTo>
                    <a:cubicBezTo>
                      <a:pt x="183" y="38"/>
                      <a:pt x="180" y="34"/>
                      <a:pt x="181" y="33"/>
                    </a:cubicBezTo>
                    <a:cubicBezTo>
                      <a:pt x="181" y="32"/>
                      <a:pt x="175" y="30"/>
                      <a:pt x="173" y="29"/>
                    </a:cubicBezTo>
                    <a:cubicBezTo>
                      <a:pt x="171" y="28"/>
                      <a:pt x="167" y="28"/>
                      <a:pt x="167" y="28"/>
                    </a:cubicBezTo>
                    <a:cubicBezTo>
                      <a:pt x="167" y="28"/>
                      <a:pt x="161" y="31"/>
                      <a:pt x="163" y="32"/>
                    </a:cubicBezTo>
                    <a:cubicBezTo>
                      <a:pt x="165" y="33"/>
                      <a:pt x="170" y="37"/>
                      <a:pt x="170" y="37"/>
                    </a:cubicBezTo>
                    <a:cubicBezTo>
                      <a:pt x="170" y="37"/>
                      <a:pt x="172" y="42"/>
                      <a:pt x="171" y="42"/>
                    </a:cubicBezTo>
                    <a:cubicBezTo>
                      <a:pt x="170" y="42"/>
                      <a:pt x="167" y="39"/>
                      <a:pt x="166" y="38"/>
                    </a:cubicBezTo>
                    <a:cubicBezTo>
                      <a:pt x="166" y="37"/>
                      <a:pt x="164" y="38"/>
                      <a:pt x="163" y="39"/>
                    </a:cubicBezTo>
                    <a:cubicBezTo>
                      <a:pt x="162" y="40"/>
                      <a:pt x="162" y="38"/>
                      <a:pt x="160" y="34"/>
                    </a:cubicBezTo>
                    <a:cubicBezTo>
                      <a:pt x="159" y="30"/>
                      <a:pt x="158" y="29"/>
                      <a:pt x="157" y="31"/>
                    </a:cubicBezTo>
                    <a:cubicBezTo>
                      <a:pt x="156" y="34"/>
                      <a:pt x="157" y="36"/>
                      <a:pt x="157" y="38"/>
                    </a:cubicBezTo>
                    <a:cubicBezTo>
                      <a:pt x="157" y="40"/>
                      <a:pt x="156" y="48"/>
                      <a:pt x="156" y="48"/>
                    </a:cubicBezTo>
                    <a:cubicBezTo>
                      <a:pt x="156" y="48"/>
                      <a:pt x="155" y="48"/>
                      <a:pt x="155" y="47"/>
                    </a:cubicBezTo>
                    <a:cubicBezTo>
                      <a:pt x="156" y="46"/>
                      <a:pt x="158" y="37"/>
                      <a:pt x="155" y="38"/>
                    </a:cubicBezTo>
                    <a:cubicBezTo>
                      <a:pt x="151" y="39"/>
                      <a:pt x="150" y="46"/>
                      <a:pt x="150" y="46"/>
                    </a:cubicBezTo>
                    <a:cubicBezTo>
                      <a:pt x="150" y="46"/>
                      <a:pt x="148" y="41"/>
                      <a:pt x="150" y="38"/>
                    </a:cubicBezTo>
                    <a:cubicBezTo>
                      <a:pt x="152" y="35"/>
                      <a:pt x="150" y="32"/>
                      <a:pt x="150" y="32"/>
                    </a:cubicBezTo>
                    <a:cubicBezTo>
                      <a:pt x="150" y="32"/>
                      <a:pt x="147" y="27"/>
                      <a:pt x="147" y="30"/>
                    </a:cubicBezTo>
                    <a:cubicBezTo>
                      <a:pt x="147" y="32"/>
                      <a:pt x="149" y="36"/>
                      <a:pt x="147" y="34"/>
                    </a:cubicBezTo>
                    <a:cubicBezTo>
                      <a:pt x="146" y="32"/>
                      <a:pt x="145" y="31"/>
                      <a:pt x="145" y="30"/>
                    </a:cubicBezTo>
                    <a:cubicBezTo>
                      <a:pt x="144" y="29"/>
                      <a:pt x="141" y="33"/>
                      <a:pt x="141" y="33"/>
                    </a:cubicBezTo>
                    <a:cubicBezTo>
                      <a:pt x="137" y="37"/>
                      <a:pt x="137" y="37"/>
                      <a:pt x="137" y="37"/>
                    </a:cubicBezTo>
                    <a:cubicBezTo>
                      <a:pt x="139" y="40"/>
                      <a:pt x="139" y="40"/>
                      <a:pt x="139" y="40"/>
                    </a:cubicBezTo>
                    <a:cubicBezTo>
                      <a:pt x="139" y="40"/>
                      <a:pt x="137" y="42"/>
                      <a:pt x="135" y="44"/>
                    </a:cubicBezTo>
                    <a:cubicBezTo>
                      <a:pt x="133" y="45"/>
                      <a:pt x="132" y="49"/>
                      <a:pt x="132" y="49"/>
                    </a:cubicBezTo>
                    <a:cubicBezTo>
                      <a:pt x="132" y="49"/>
                      <a:pt x="135" y="50"/>
                      <a:pt x="136" y="51"/>
                    </a:cubicBezTo>
                    <a:cubicBezTo>
                      <a:pt x="137" y="52"/>
                      <a:pt x="138" y="55"/>
                      <a:pt x="138" y="55"/>
                    </a:cubicBezTo>
                    <a:cubicBezTo>
                      <a:pt x="138" y="55"/>
                      <a:pt x="137" y="53"/>
                      <a:pt x="133" y="52"/>
                    </a:cubicBezTo>
                    <a:cubicBezTo>
                      <a:pt x="130" y="51"/>
                      <a:pt x="128" y="49"/>
                      <a:pt x="128" y="49"/>
                    </a:cubicBezTo>
                    <a:cubicBezTo>
                      <a:pt x="128" y="49"/>
                      <a:pt x="123" y="55"/>
                      <a:pt x="122" y="58"/>
                    </a:cubicBezTo>
                    <a:cubicBezTo>
                      <a:pt x="121" y="61"/>
                      <a:pt x="120" y="67"/>
                      <a:pt x="122" y="65"/>
                    </a:cubicBezTo>
                    <a:cubicBezTo>
                      <a:pt x="124" y="63"/>
                      <a:pt x="128" y="61"/>
                      <a:pt x="129" y="61"/>
                    </a:cubicBezTo>
                    <a:cubicBezTo>
                      <a:pt x="130" y="61"/>
                      <a:pt x="127" y="67"/>
                      <a:pt x="127" y="67"/>
                    </a:cubicBezTo>
                    <a:cubicBezTo>
                      <a:pt x="127" y="67"/>
                      <a:pt x="125" y="67"/>
                      <a:pt x="123" y="70"/>
                    </a:cubicBezTo>
                    <a:cubicBezTo>
                      <a:pt x="121" y="73"/>
                      <a:pt x="118" y="74"/>
                      <a:pt x="119" y="73"/>
                    </a:cubicBezTo>
                    <a:cubicBezTo>
                      <a:pt x="119" y="72"/>
                      <a:pt x="120" y="66"/>
                      <a:pt x="117" y="65"/>
                    </a:cubicBezTo>
                    <a:cubicBezTo>
                      <a:pt x="115" y="65"/>
                      <a:pt x="114" y="70"/>
                      <a:pt x="113" y="71"/>
                    </a:cubicBezTo>
                    <a:cubicBezTo>
                      <a:pt x="113" y="72"/>
                      <a:pt x="112" y="67"/>
                      <a:pt x="112" y="66"/>
                    </a:cubicBezTo>
                    <a:cubicBezTo>
                      <a:pt x="111" y="65"/>
                      <a:pt x="113" y="60"/>
                      <a:pt x="113" y="58"/>
                    </a:cubicBezTo>
                    <a:cubicBezTo>
                      <a:pt x="114" y="56"/>
                      <a:pt x="111" y="57"/>
                      <a:pt x="110" y="60"/>
                    </a:cubicBezTo>
                    <a:cubicBezTo>
                      <a:pt x="109" y="62"/>
                      <a:pt x="106" y="67"/>
                      <a:pt x="106" y="67"/>
                    </a:cubicBezTo>
                    <a:cubicBezTo>
                      <a:pt x="106" y="67"/>
                      <a:pt x="103" y="64"/>
                      <a:pt x="102" y="65"/>
                    </a:cubicBezTo>
                    <a:cubicBezTo>
                      <a:pt x="102" y="66"/>
                      <a:pt x="98" y="71"/>
                      <a:pt x="97" y="73"/>
                    </a:cubicBezTo>
                    <a:cubicBezTo>
                      <a:pt x="96" y="75"/>
                      <a:pt x="99" y="77"/>
                      <a:pt x="99" y="77"/>
                    </a:cubicBezTo>
                    <a:cubicBezTo>
                      <a:pt x="99" y="77"/>
                      <a:pt x="100" y="79"/>
                      <a:pt x="102" y="79"/>
                    </a:cubicBezTo>
                    <a:cubicBezTo>
                      <a:pt x="103" y="79"/>
                      <a:pt x="105" y="77"/>
                      <a:pt x="105" y="77"/>
                    </a:cubicBezTo>
                    <a:cubicBezTo>
                      <a:pt x="106" y="80"/>
                      <a:pt x="106" y="80"/>
                      <a:pt x="106" y="80"/>
                    </a:cubicBezTo>
                    <a:cubicBezTo>
                      <a:pt x="106" y="80"/>
                      <a:pt x="96" y="81"/>
                      <a:pt x="94" y="82"/>
                    </a:cubicBezTo>
                    <a:cubicBezTo>
                      <a:pt x="92" y="84"/>
                      <a:pt x="83" y="90"/>
                      <a:pt x="82" y="93"/>
                    </a:cubicBezTo>
                    <a:cubicBezTo>
                      <a:pt x="80" y="95"/>
                      <a:pt x="81" y="98"/>
                      <a:pt x="81" y="98"/>
                    </a:cubicBezTo>
                    <a:cubicBezTo>
                      <a:pt x="81" y="98"/>
                      <a:pt x="86" y="93"/>
                      <a:pt x="89" y="90"/>
                    </a:cubicBezTo>
                    <a:cubicBezTo>
                      <a:pt x="91" y="88"/>
                      <a:pt x="96" y="86"/>
                      <a:pt x="96" y="86"/>
                    </a:cubicBezTo>
                    <a:cubicBezTo>
                      <a:pt x="96" y="86"/>
                      <a:pt x="97" y="89"/>
                      <a:pt x="100" y="87"/>
                    </a:cubicBezTo>
                    <a:cubicBezTo>
                      <a:pt x="103" y="84"/>
                      <a:pt x="106" y="85"/>
                      <a:pt x="108" y="84"/>
                    </a:cubicBezTo>
                    <a:cubicBezTo>
                      <a:pt x="110" y="82"/>
                      <a:pt x="112" y="82"/>
                      <a:pt x="114" y="81"/>
                    </a:cubicBezTo>
                    <a:cubicBezTo>
                      <a:pt x="116" y="81"/>
                      <a:pt x="125" y="78"/>
                      <a:pt x="126" y="79"/>
                    </a:cubicBezTo>
                    <a:cubicBezTo>
                      <a:pt x="127" y="79"/>
                      <a:pt x="123" y="81"/>
                      <a:pt x="123" y="81"/>
                    </a:cubicBezTo>
                    <a:cubicBezTo>
                      <a:pt x="115" y="85"/>
                      <a:pt x="115" y="85"/>
                      <a:pt x="115" y="85"/>
                    </a:cubicBezTo>
                    <a:cubicBezTo>
                      <a:pt x="109" y="87"/>
                      <a:pt x="109" y="87"/>
                      <a:pt x="109" y="87"/>
                    </a:cubicBezTo>
                    <a:cubicBezTo>
                      <a:pt x="109" y="87"/>
                      <a:pt x="105" y="93"/>
                      <a:pt x="103" y="94"/>
                    </a:cubicBezTo>
                    <a:cubicBezTo>
                      <a:pt x="102" y="96"/>
                      <a:pt x="99" y="100"/>
                      <a:pt x="101" y="99"/>
                    </a:cubicBezTo>
                    <a:cubicBezTo>
                      <a:pt x="103" y="99"/>
                      <a:pt x="105" y="100"/>
                      <a:pt x="105" y="100"/>
                    </a:cubicBezTo>
                    <a:cubicBezTo>
                      <a:pt x="105" y="100"/>
                      <a:pt x="102" y="107"/>
                      <a:pt x="99" y="109"/>
                    </a:cubicBezTo>
                    <a:cubicBezTo>
                      <a:pt x="96" y="111"/>
                      <a:pt x="94" y="114"/>
                      <a:pt x="93" y="116"/>
                    </a:cubicBezTo>
                    <a:cubicBezTo>
                      <a:pt x="91" y="118"/>
                      <a:pt x="87" y="123"/>
                      <a:pt x="85" y="127"/>
                    </a:cubicBezTo>
                    <a:cubicBezTo>
                      <a:pt x="83" y="130"/>
                      <a:pt x="80" y="133"/>
                      <a:pt x="80" y="134"/>
                    </a:cubicBezTo>
                    <a:cubicBezTo>
                      <a:pt x="80" y="136"/>
                      <a:pt x="78" y="138"/>
                      <a:pt x="75" y="141"/>
                    </a:cubicBezTo>
                    <a:cubicBezTo>
                      <a:pt x="72" y="144"/>
                      <a:pt x="75" y="143"/>
                      <a:pt x="76" y="143"/>
                    </a:cubicBezTo>
                    <a:cubicBezTo>
                      <a:pt x="78" y="143"/>
                      <a:pt x="78" y="146"/>
                      <a:pt x="78" y="146"/>
                    </a:cubicBezTo>
                    <a:cubicBezTo>
                      <a:pt x="78" y="146"/>
                      <a:pt x="79" y="151"/>
                      <a:pt x="76" y="150"/>
                    </a:cubicBezTo>
                    <a:cubicBezTo>
                      <a:pt x="73" y="150"/>
                      <a:pt x="76" y="151"/>
                      <a:pt x="75" y="154"/>
                    </a:cubicBezTo>
                    <a:cubicBezTo>
                      <a:pt x="74" y="158"/>
                      <a:pt x="72" y="163"/>
                      <a:pt x="70" y="164"/>
                    </a:cubicBezTo>
                    <a:cubicBezTo>
                      <a:pt x="69" y="165"/>
                      <a:pt x="66" y="166"/>
                      <a:pt x="65" y="166"/>
                    </a:cubicBezTo>
                    <a:cubicBezTo>
                      <a:pt x="63" y="166"/>
                      <a:pt x="62" y="170"/>
                      <a:pt x="63" y="169"/>
                    </a:cubicBezTo>
                    <a:cubicBezTo>
                      <a:pt x="64" y="169"/>
                      <a:pt x="70" y="169"/>
                      <a:pt x="65" y="172"/>
                    </a:cubicBezTo>
                    <a:cubicBezTo>
                      <a:pt x="60" y="175"/>
                      <a:pt x="61" y="177"/>
                      <a:pt x="59" y="179"/>
                    </a:cubicBezTo>
                    <a:cubicBezTo>
                      <a:pt x="57" y="182"/>
                      <a:pt x="58" y="184"/>
                      <a:pt x="54" y="188"/>
                    </a:cubicBezTo>
                    <a:cubicBezTo>
                      <a:pt x="51" y="192"/>
                      <a:pt x="51" y="196"/>
                      <a:pt x="52" y="197"/>
                    </a:cubicBezTo>
                    <a:cubicBezTo>
                      <a:pt x="53" y="198"/>
                      <a:pt x="52" y="197"/>
                      <a:pt x="48" y="198"/>
                    </a:cubicBezTo>
                    <a:cubicBezTo>
                      <a:pt x="44" y="200"/>
                      <a:pt x="43" y="197"/>
                      <a:pt x="43" y="197"/>
                    </a:cubicBezTo>
                    <a:cubicBezTo>
                      <a:pt x="43" y="197"/>
                      <a:pt x="42" y="193"/>
                      <a:pt x="40" y="194"/>
                    </a:cubicBezTo>
                    <a:cubicBezTo>
                      <a:pt x="38" y="195"/>
                      <a:pt x="34" y="199"/>
                      <a:pt x="37" y="198"/>
                    </a:cubicBezTo>
                    <a:cubicBezTo>
                      <a:pt x="40" y="197"/>
                      <a:pt x="36" y="200"/>
                      <a:pt x="36" y="201"/>
                    </a:cubicBezTo>
                    <a:cubicBezTo>
                      <a:pt x="36" y="202"/>
                      <a:pt x="32" y="200"/>
                      <a:pt x="32" y="203"/>
                    </a:cubicBezTo>
                    <a:cubicBezTo>
                      <a:pt x="32" y="205"/>
                      <a:pt x="35" y="204"/>
                      <a:pt x="37" y="204"/>
                    </a:cubicBezTo>
                    <a:cubicBezTo>
                      <a:pt x="38" y="203"/>
                      <a:pt x="34" y="206"/>
                      <a:pt x="32" y="207"/>
                    </a:cubicBezTo>
                    <a:cubicBezTo>
                      <a:pt x="30" y="208"/>
                      <a:pt x="23" y="212"/>
                      <a:pt x="22" y="214"/>
                    </a:cubicBezTo>
                    <a:cubicBezTo>
                      <a:pt x="21" y="216"/>
                      <a:pt x="19" y="218"/>
                      <a:pt x="19" y="218"/>
                    </a:cubicBezTo>
                    <a:cubicBezTo>
                      <a:pt x="14" y="220"/>
                      <a:pt x="14" y="220"/>
                      <a:pt x="14" y="220"/>
                    </a:cubicBezTo>
                    <a:cubicBezTo>
                      <a:pt x="14" y="220"/>
                      <a:pt x="9" y="224"/>
                      <a:pt x="8" y="227"/>
                    </a:cubicBezTo>
                    <a:cubicBezTo>
                      <a:pt x="7" y="229"/>
                      <a:pt x="3" y="230"/>
                      <a:pt x="4" y="232"/>
                    </a:cubicBezTo>
                    <a:cubicBezTo>
                      <a:pt x="6" y="233"/>
                      <a:pt x="3" y="232"/>
                      <a:pt x="3" y="236"/>
                    </a:cubicBezTo>
                    <a:cubicBezTo>
                      <a:pt x="3" y="240"/>
                      <a:pt x="2" y="242"/>
                      <a:pt x="2" y="242"/>
                    </a:cubicBezTo>
                    <a:cubicBezTo>
                      <a:pt x="2" y="242"/>
                      <a:pt x="2" y="247"/>
                      <a:pt x="4" y="247"/>
                    </a:cubicBezTo>
                    <a:cubicBezTo>
                      <a:pt x="5" y="247"/>
                      <a:pt x="0" y="250"/>
                      <a:pt x="1" y="250"/>
                    </a:cubicBezTo>
                    <a:cubicBezTo>
                      <a:pt x="3" y="251"/>
                      <a:pt x="1" y="255"/>
                      <a:pt x="1" y="255"/>
                    </a:cubicBezTo>
                    <a:cubicBezTo>
                      <a:pt x="1" y="255"/>
                      <a:pt x="1" y="257"/>
                      <a:pt x="2" y="257"/>
                    </a:cubicBezTo>
                    <a:cubicBezTo>
                      <a:pt x="3" y="257"/>
                      <a:pt x="2" y="262"/>
                      <a:pt x="4" y="262"/>
                    </a:cubicBezTo>
                    <a:cubicBezTo>
                      <a:pt x="6" y="263"/>
                      <a:pt x="4" y="264"/>
                      <a:pt x="4" y="267"/>
                    </a:cubicBezTo>
                    <a:cubicBezTo>
                      <a:pt x="4" y="270"/>
                      <a:pt x="6" y="272"/>
                      <a:pt x="6" y="272"/>
                    </a:cubicBezTo>
                    <a:cubicBezTo>
                      <a:pt x="6" y="272"/>
                      <a:pt x="7" y="273"/>
                      <a:pt x="6" y="276"/>
                    </a:cubicBezTo>
                    <a:cubicBezTo>
                      <a:pt x="5" y="279"/>
                      <a:pt x="6" y="282"/>
                      <a:pt x="6" y="282"/>
                    </a:cubicBezTo>
                    <a:cubicBezTo>
                      <a:pt x="6" y="282"/>
                      <a:pt x="6" y="285"/>
                      <a:pt x="6" y="286"/>
                    </a:cubicBezTo>
                    <a:cubicBezTo>
                      <a:pt x="6" y="287"/>
                      <a:pt x="5" y="293"/>
                      <a:pt x="7" y="291"/>
                    </a:cubicBezTo>
                    <a:cubicBezTo>
                      <a:pt x="8" y="289"/>
                      <a:pt x="12" y="285"/>
                      <a:pt x="12" y="288"/>
                    </a:cubicBezTo>
                    <a:cubicBezTo>
                      <a:pt x="12" y="290"/>
                      <a:pt x="9" y="293"/>
                      <a:pt x="10" y="296"/>
                    </a:cubicBezTo>
                    <a:cubicBezTo>
                      <a:pt x="11" y="298"/>
                      <a:pt x="12" y="300"/>
                      <a:pt x="15" y="303"/>
                    </a:cubicBezTo>
                    <a:cubicBezTo>
                      <a:pt x="18" y="305"/>
                      <a:pt x="19" y="309"/>
                      <a:pt x="22" y="310"/>
                    </a:cubicBezTo>
                    <a:cubicBezTo>
                      <a:pt x="25" y="311"/>
                      <a:pt x="25" y="311"/>
                      <a:pt x="30" y="311"/>
                    </a:cubicBezTo>
                    <a:cubicBezTo>
                      <a:pt x="35" y="310"/>
                      <a:pt x="38" y="307"/>
                      <a:pt x="38" y="307"/>
                    </a:cubicBezTo>
                    <a:cubicBezTo>
                      <a:pt x="38" y="307"/>
                      <a:pt x="42" y="302"/>
                      <a:pt x="45" y="299"/>
                    </a:cubicBezTo>
                    <a:cubicBezTo>
                      <a:pt x="48" y="296"/>
                      <a:pt x="47" y="295"/>
                      <a:pt x="50" y="294"/>
                    </a:cubicBezTo>
                    <a:cubicBezTo>
                      <a:pt x="53" y="293"/>
                      <a:pt x="56" y="290"/>
                      <a:pt x="58" y="290"/>
                    </a:cubicBezTo>
                    <a:cubicBezTo>
                      <a:pt x="59" y="290"/>
                      <a:pt x="59" y="287"/>
                      <a:pt x="59" y="285"/>
                    </a:cubicBezTo>
                    <a:cubicBezTo>
                      <a:pt x="60" y="286"/>
                      <a:pt x="60" y="287"/>
                      <a:pt x="61" y="289"/>
                    </a:cubicBezTo>
                    <a:cubicBezTo>
                      <a:pt x="63" y="292"/>
                      <a:pt x="63" y="294"/>
                      <a:pt x="63" y="292"/>
                    </a:cubicBezTo>
                    <a:cubicBezTo>
                      <a:pt x="64" y="291"/>
                      <a:pt x="66" y="288"/>
                      <a:pt x="67" y="291"/>
                    </a:cubicBezTo>
                    <a:cubicBezTo>
                      <a:pt x="68" y="293"/>
                      <a:pt x="70" y="293"/>
                      <a:pt x="70" y="293"/>
                    </a:cubicBezTo>
                    <a:cubicBezTo>
                      <a:pt x="70" y="293"/>
                      <a:pt x="71" y="287"/>
                      <a:pt x="71" y="286"/>
                    </a:cubicBezTo>
                    <a:cubicBezTo>
                      <a:pt x="71" y="284"/>
                      <a:pt x="70" y="281"/>
                      <a:pt x="71" y="281"/>
                    </a:cubicBezTo>
                    <a:cubicBezTo>
                      <a:pt x="73" y="280"/>
                      <a:pt x="72" y="279"/>
                      <a:pt x="72" y="277"/>
                    </a:cubicBezTo>
                    <a:cubicBezTo>
                      <a:pt x="72" y="276"/>
                      <a:pt x="72" y="276"/>
                      <a:pt x="72" y="276"/>
                    </a:cubicBezTo>
                    <a:cubicBezTo>
                      <a:pt x="72" y="276"/>
                      <a:pt x="73" y="276"/>
                      <a:pt x="74" y="275"/>
                    </a:cubicBezTo>
                    <a:cubicBezTo>
                      <a:pt x="78" y="273"/>
                      <a:pt x="78" y="269"/>
                      <a:pt x="78" y="267"/>
                    </a:cubicBezTo>
                    <a:cubicBezTo>
                      <a:pt x="79" y="266"/>
                      <a:pt x="79" y="262"/>
                      <a:pt x="78" y="260"/>
                    </a:cubicBezTo>
                    <a:cubicBezTo>
                      <a:pt x="77" y="258"/>
                      <a:pt x="76" y="253"/>
                      <a:pt x="76" y="253"/>
                    </a:cubicBezTo>
                    <a:cubicBezTo>
                      <a:pt x="76" y="253"/>
                      <a:pt x="78" y="253"/>
                      <a:pt x="80" y="250"/>
                    </a:cubicBezTo>
                    <a:cubicBezTo>
                      <a:pt x="82" y="247"/>
                      <a:pt x="81" y="246"/>
                      <a:pt x="80" y="243"/>
                    </a:cubicBezTo>
                    <a:cubicBezTo>
                      <a:pt x="79" y="241"/>
                      <a:pt x="77" y="242"/>
                      <a:pt x="76" y="240"/>
                    </a:cubicBezTo>
                    <a:cubicBezTo>
                      <a:pt x="75" y="237"/>
                      <a:pt x="75" y="233"/>
                      <a:pt x="75" y="229"/>
                    </a:cubicBezTo>
                    <a:cubicBezTo>
                      <a:pt x="76" y="225"/>
                      <a:pt x="74" y="221"/>
                      <a:pt x="74" y="219"/>
                    </a:cubicBezTo>
                    <a:cubicBezTo>
                      <a:pt x="74" y="217"/>
                      <a:pt x="73" y="213"/>
                      <a:pt x="75" y="212"/>
                    </a:cubicBezTo>
                    <a:cubicBezTo>
                      <a:pt x="77" y="211"/>
                      <a:pt x="73" y="204"/>
                      <a:pt x="73" y="204"/>
                    </a:cubicBezTo>
                    <a:cubicBezTo>
                      <a:pt x="73" y="204"/>
                      <a:pt x="74" y="202"/>
                      <a:pt x="75" y="198"/>
                    </a:cubicBezTo>
                    <a:cubicBezTo>
                      <a:pt x="75" y="195"/>
                      <a:pt x="81" y="189"/>
                      <a:pt x="81" y="189"/>
                    </a:cubicBezTo>
                    <a:cubicBezTo>
                      <a:pt x="81" y="189"/>
                      <a:pt x="85" y="186"/>
                      <a:pt x="88" y="187"/>
                    </a:cubicBezTo>
                    <a:cubicBezTo>
                      <a:pt x="91" y="189"/>
                      <a:pt x="92" y="189"/>
                      <a:pt x="93" y="186"/>
                    </a:cubicBezTo>
                    <a:cubicBezTo>
                      <a:pt x="94" y="183"/>
                      <a:pt x="95" y="178"/>
                      <a:pt x="94" y="177"/>
                    </a:cubicBezTo>
                    <a:cubicBezTo>
                      <a:pt x="92" y="177"/>
                      <a:pt x="89" y="175"/>
                      <a:pt x="91" y="173"/>
                    </a:cubicBezTo>
                    <a:cubicBezTo>
                      <a:pt x="93" y="171"/>
                      <a:pt x="97" y="160"/>
                      <a:pt x="97" y="160"/>
                    </a:cubicBezTo>
                    <a:cubicBezTo>
                      <a:pt x="97" y="160"/>
                      <a:pt x="98" y="150"/>
                      <a:pt x="99" y="147"/>
                    </a:cubicBezTo>
                    <a:cubicBezTo>
                      <a:pt x="99" y="145"/>
                      <a:pt x="99" y="139"/>
                      <a:pt x="99" y="139"/>
                    </a:cubicBezTo>
                    <a:cubicBezTo>
                      <a:pt x="99" y="139"/>
                      <a:pt x="102" y="139"/>
                      <a:pt x="103" y="138"/>
                    </a:cubicBezTo>
                    <a:cubicBezTo>
                      <a:pt x="105" y="138"/>
                      <a:pt x="108" y="135"/>
                      <a:pt x="108" y="135"/>
                    </a:cubicBezTo>
                    <a:cubicBezTo>
                      <a:pt x="107" y="130"/>
                      <a:pt x="107" y="130"/>
                      <a:pt x="107" y="130"/>
                    </a:cubicBezTo>
                    <a:cubicBezTo>
                      <a:pt x="107" y="130"/>
                      <a:pt x="109" y="125"/>
                      <a:pt x="112" y="122"/>
                    </a:cubicBezTo>
                    <a:cubicBezTo>
                      <a:pt x="114" y="118"/>
                      <a:pt x="117" y="118"/>
                      <a:pt x="116" y="115"/>
                    </a:cubicBezTo>
                    <a:cubicBezTo>
                      <a:pt x="116" y="113"/>
                      <a:pt x="115" y="111"/>
                      <a:pt x="115" y="110"/>
                    </a:cubicBezTo>
                    <a:cubicBezTo>
                      <a:pt x="114" y="109"/>
                      <a:pt x="113" y="104"/>
                      <a:pt x="114" y="104"/>
                    </a:cubicBezTo>
                    <a:cubicBezTo>
                      <a:pt x="115" y="104"/>
                      <a:pt x="116" y="103"/>
                      <a:pt x="117" y="100"/>
                    </a:cubicBezTo>
                    <a:cubicBezTo>
                      <a:pt x="119" y="97"/>
                      <a:pt x="120" y="94"/>
                      <a:pt x="121" y="93"/>
                    </a:cubicBezTo>
                    <a:cubicBezTo>
                      <a:pt x="122" y="93"/>
                      <a:pt x="125" y="89"/>
                      <a:pt x="125" y="89"/>
                    </a:cubicBezTo>
                    <a:cubicBezTo>
                      <a:pt x="130" y="93"/>
                      <a:pt x="130" y="93"/>
                      <a:pt x="130" y="93"/>
                    </a:cubicBezTo>
                    <a:cubicBezTo>
                      <a:pt x="130" y="93"/>
                      <a:pt x="132" y="92"/>
                      <a:pt x="133" y="88"/>
                    </a:cubicBezTo>
                    <a:cubicBezTo>
                      <a:pt x="134" y="84"/>
                      <a:pt x="132" y="82"/>
                      <a:pt x="133" y="80"/>
                    </a:cubicBezTo>
                    <a:cubicBezTo>
                      <a:pt x="134" y="78"/>
                      <a:pt x="136" y="76"/>
                      <a:pt x="136" y="77"/>
                    </a:cubicBezTo>
                    <a:cubicBezTo>
                      <a:pt x="137" y="78"/>
                      <a:pt x="142" y="79"/>
                      <a:pt x="142" y="79"/>
                    </a:cubicBezTo>
                    <a:cubicBezTo>
                      <a:pt x="151" y="82"/>
                      <a:pt x="151" y="82"/>
                      <a:pt x="151" y="82"/>
                    </a:cubicBezTo>
                    <a:cubicBezTo>
                      <a:pt x="154" y="79"/>
                      <a:pt x="154" y="79"/>
                      <a:pt x="154" y="79"/>
                    </a:cubicBezTo>
                    <a:cubicBezTo>
                      <a:pt x="154" y="79"/>
                      <a:pt x="149" y="81"/>
                      <a:pt x="151" y="78"/>
                    </a:cubicBezTo>
                    <a:cubicBezTo>
                      <a:pt x="154" y="75"/>
                      <a:pt x="153" y="72"/>
                      <a:pt x="155" y="71"/>
                    </a:cubicBezTo>
                    <a:cubicBezTo>
                      <a:pt x="156" y="69"/>
                      <a:pt x="153" y="64"/>
                      <a:pt x="153" y="64"/>
                    </a:cubicBezTo>
                    <a:cubicBezTo>
                      <a:pt x="153" y="64"/>
                      <a:pt x="156" y="64"/>
                      <a:pt x="159" y="64"/>
                    </a:cubicBezTo>
                    <a:cubicBezTo>
                      <a:pt x="158" y="64"/>
                      <a:pt x="158" y="64"/>
                      <a:pt x="158" y="63"/>
                    </a:cubicBezTo>
                    <a:cubicBezTo>
                      <a:pt x="156" y="62"/>
                      <a:pt x="159" y="62"/>
                      <a:pt x="159" y="62"/>
                    </a:cubicBezTo>
                    <a:cubicBezTo>
                      <a:pt x="163" y="63"/>
                      <a:pt x="163" y="63"/>
                      <a:pt x="163" y="63"/>
                    </a:cubicBezTo>
                    <a:cubicBezTo>
                      <a:pt x="163" y="63"/>
                      <a:pt x="161" y="58"/>
                      <a:pt x="164" y="58"/>
                    </a:cubicBezTo>
                    <a:cubicBezTo>
                      <a:pt x="167" y="57"/>
                      <a:pt x="169" y="57"/>
                      <a:pt x="170" y="60"/>
                    </a:cubicBezTo>
                    <a:cubicBezTo>
                      <a:pt x="171" y="62"/>
                      <a:pt x="175" y="72"/>
                      <a:pt x="175" y="72"/>
                    </a:cubicBezTo>
                    <a:cubicBezTo>
                      <a:pt x="175" y="72"/>
                      <a:pt x="182" y="74"/>
                      <a:pt x="183" y="75"/>
                    </a:cubicBezTo>
                    <a:cubicBezTo>
                      <a:pt x="183" y="76"/>
                      <a:pt x="188" y="73"/>
                      <a:pt x="188" y="73"/>
                    </a:cubicBezTo>
                    <a:cubicBezTo>
                      <a:pt x="188" y="73"/>
                      <a:pt x="189" y="69"/>
                      <a:pt x="191" y="70"/>
                    </a:cubicBezTo>
                    <a:cubicBezTo>
                      <a:pt x="193" y="71"/>
                      <a:pt x="197" y="73"/>
                      <a:pt x="197" y="74"/>
                    </a:cubicBezTo>
                    <a:cubicBezTo>
                      <a:pt x="198" y="75"/>
                      <a:pt x="199" y="83"/>
                      <a:pt x="200" y="78"/>
                    </a:cubicBezTo>
                    <a:cubicBezTo>
                      <a:pt x="201" y="74"/>
                      <a:pt x="201" y="74"/>
                      <a:pt x="202" y="71"/>
                    </a:cubicBezTo>
                    <a:cubicBezTo>
                      <a:pt x="204" y="68"/>
                      <a:pt x="204" y="70"/>
                      <a:pt x="207" y="68"/>
                    </a:cubicBezTo>
                    <a:cubicBezTo>
                      <a:pt x="209" y="66"/>
                      <a:pt x="208" y="59"/>
                      <a:pt x="208" y="57"/>
                    </a:cubicBezTo>
                    <a:cubicBezTo>
                      <a:pt x="209" y="55"/>
                      <a:pt x="209" y="50"/>
                      <a:pt x="210" y="48"/>
                    </a:cubicBezTo>
                    <a:cubicBezTo>
                      <a:pt x="212" y="45"/>
                      <a:pt x="213" y="42"/>
                      <a:pt x="215" y="40"/>
                    </a:cubicBezTo>
                    <a:cubicBezTo>
                      <a:pt x="217" y="38"/>
                      <a:pt x="219" y="38"/>
                      <a:pt x="221" y="39"/>
                    </a:cubicBezTo>
                    <a:cubicBezTo>
                      <a:pt x="222" y="39"/>
                      <a:pt x="224" y="37"/>
                      <a:pt x="227" y="36"/>
                    </a:cubicBezTo>
                    <a:cubicBezTo>
                      <a:pt x="229" y="35"/>
                      <a:pt x="231" y="39"/>
                      <a:pt x="233" y="40"/>
                    </a:cubicBezTo>
                    <a:cubicBezTo>
                      <a:pt x="234" y="42"/>
                      <a:pt x="237" y="43"/>
                      <a:pt x="238" y="44"/>
                    </a:cubicBezTo>
                    <a:cubicBezTo>
                      <a:pt x="240" y="45"/>
                      <a:pt x="243" y="46"/>
                      <a:pt x="243" y="49"/>
                    </a:cubicBezTo>
                    <a:cubicBezTo>
                      <a:pt x="243" y="52"/>
                      <a:pt x="243" y="55"/>
                      <a:pt x="242" y="55"/>
                    </a:cubicBezTo>
                    <a:cubicBezTo>
                      <a:pt x="241" y="55"/>
                      <a:pt x="240" y="60"/>
                      <a:pt x="239" y="63"/>
                    </a:cubicBezTo>
                    <a:cubicBezTo>
                      <a:pt x="239" y="63"/>
                      <a:pt x="239" y="63"/>
                      <a:pt x="239" y="64"/>
                    </a:cubicBezTo>
                    <a:cubicBezTo>
                      <a:pt x="235" y="67"/>
                      <a:pt x="235" y="67"/>
                      <a:pt x="235" y="67"/>
                    </a:cubicBezTo>
                    <a:cubicBezTo>
                      <a:pt x="239" y="63"/>
                      <a:pt x="239" y="63"/>
                      <a:pt x="239" y="63"/>
                    </a:cubicBezTo>
                    <a:cubicBezTo>
                      <a:pt x="239" y="63"/>
                      <a:pt x="239" y="68"/>
                      <a:pt x="241" y="65"/>
                    </a:cubicBezTo>
                    <a:cubicBezTo>
                      <a:pt x="243" y="62"/>
                      <a:pt x="243" y="59"/>
                      <a:pt x="243" y="59"/>
                    </a:cubicBezTo>
                    <a:cubicBezTo>
                      <a:pt x="243" y="59"/>
                      <a:pt x="245" y="56"/>
                      <a:pt x="246" y="56"/>
                    </a:cubicBezTo>
                    <a:cubicBezTo>
                      <a:pt x="247" y="56"/>
                      <a:pt x="251" y="54"/>
                      <a:pt x="251" y="54"/>
                    </a:cubicBezTo>
                    <a:cubicBezTo>
                      <a:pt x="251" y="47"/>
                      <a:pt x="251" y="47"/>
                      <a:pt x="251" y="47"/>
                    </a:cubicBezTo>
                    <a:cubicBezTo>
                      <a:pt x="251" y="47"/>
                      <a:pt x="255" y="48"/>
                      <a:pt x="256" y="49"/>
                    </a:cubicBezTo>
                    <a:cubicBezTo>
                      <a:pt x="257" y="51"/>
                      <a:pt x="259" y="49"/>
                      <a:pt x="259" y="49"/>
                    </a:cubicBezTo>
                    <a:cubicBezTo>
                      <a:pt x="259" y="43"/>
                      <a:pt x="259" y="43"/>
                      <a:pt x="259" y="43"/>
                    </a:cubicBezTo>
                    <a:cubicBezTo>
                      <a:pt x="259" y="43"/>
                      <a:pt x="253" y="41"/>
                      <a:pt x="251" y="40"/>
                    </a:cubicBezTo>
                    <a:cubicBezTo>
                      <a:pt x="249" y="39"/>
                      <a:pt x="245" y="38"/>
                      <a:pt x="243" y="36"/>
                    </a:cubicBezTo>
                    <a:cubicBezTo>
                      <a:pt x="242" y="35"/>
                      <a:pt x="240" y="34"/>
                      <a:pt x="239" y="34"/>
                    </a:cubicBezTo>
                    <a:cubicBezTo>
                      <a:pt x="242" y="35"/>
                      <a:pt x="247" y="36"/>
                      <a:pt x="249" y="35"/>
                    </a:cubicBezTo>
                    <a:close/>
                    <a:moveTo>
                      <a:pt x="178" y="22"/>
                    </a:moveTo>
                    <a:cubicBezTo>
                      <a:pt x="181" y="23"/>
                      <a:pt x="185" y="16"/>
                      <a:pt x="185" y="13"/>
                    </a:cubicBezTo>
                    <a:cubicBezTo>
                      <a:pt x="185" y="10"/>
                      <a:pt x="182" y="13"/>
                      <a:pt x="182" y="15"/>
                    </a:cubicBezTo>
                    <a:cubicBezTo>
                      <a:pt x="181" y="16"/>
                      <a:pt x="180" y="18"/>
                      <a:pt x="178" y="16"/>
                    </a:cubicBezTo>
                    <a:cubicBezTo>
                      <a:pt x="175" y="15"/>
                      <a:pt x="174" y="17"/>
                      <a:pt x="172" y="19"/>
                    </a:cubicBezTo>
                    <a:cubicBezTo>
                      <a:pt x="170" y="20"/>
                      <a:pt x="175" y="22"/>
                      <a:pt x="178" y="2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6" name="Freeform 48"/>
              <p:cNvSpPr>
                <a:spLocks noEditPoints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1061279" y="3122613"/>
                <a:ext cx="98213" cy="158750"/>
              </a:xfrm>
              <a:custGeom>
                <a:avLst/>
                <a:gdLst>
                  <a:gd name="T0" fmla="*/ 2147483647 w 25"/>
                  <a:gd name="T1" fmla="*/ 2147483647 h 40"/>
                  <a:gd name="T2" fmla="*/ 2147483647 w 25"/>
                  <a:gd name="T3" fmla="*/ 2147483647 h 40"/>
                  <a:gd name="T4" fmla="*/ 2147483647 w 25"/>
                  <a:gd name="T5" fmla="*/ 2147483647 h 40"/>
                  <a:gd name="T6" fmla="*/ 2147483647 w 25"/>
                  <a:gd name="T7" fmla="*/ 2147483647 h 40"/>
                  <a:gd name="T8" fmla="*/ 2147483647 w 25"/>
                  <a:gd name="T9" fmla="*/ 2147483647 h 40"/>
                  <a:gd name="T10" fmla="*/ 2147483647 w 25"/>
                  <a:gd name="T11" fmla="*/ 2147483647 h 40"/>
                  <a:gd name="T12" fmla="*/ 2147483647 w 25"/>
                  <a:gd name="T13" fmla="*/ 2147483647 h 40"/>
                  <a:gd name="T14" fmla="*/ 2147483647 w 25"/>
                  <a:gd name="T15" fmla="*/ 2147483647 h 40"/>
                  <a:gd name="T16" fmla="*/ 2147483647 w 25"/>
                  <a:gd name="T17" fmla="*/ 2147483647 h 40"/>
                  <a:gd name="T18" fmla="*/ 2147483647 w 25"/>
                  <a:gd name="T19" fmla="*/ 2147483647 h 40"/>
                  <a:gd name="T20" fmla="*/ 2147483647 w 25"/>
                  <a:gd name="T21" fmla="*/ 2147483647 h 40"/>
                  <a:gd name="T22" fmla="*/ 2147483647 w 25"/>
                  <a:gd name="T23" fmla="*/ 2147483647 h 40"/>
                  <a:gd name="T24" fmla="*/ 0 w 25"/>
                  <a:gd name="T25" fmla="*/ 2147483647 h 40"/>
                  <a:gd name="T26" fmla="*/ 2147483647 w 25"/>
                  <a:gd name="T27" fmla="*/ 2147483647 h 40"/>
                  <a:gd name="T28" fmla="*/ 2147483647 w 25"/>
                  <a:gd name="T29" fmla="*/ 2147483647 h 40"/>
                  <a:gd name="T30" fmla="*/ 2147483647 w 25"/>
                  <a:gd name="T31" fmla="*/ 2147483647 h 40"/>
                  <a:gd name="T32" fmla="*/ 2147483647 w 25"/>
                  <a:gd name="T33" fmla="*/ 2147483647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"/>
                  <a:gd name="T52" fmla="*/ 0 h 40"/>
                  <a:gd name="T53" fmla="*/ 25 w 25"/>
                  <a:gd name="T54" fmla="*/ 40 h 4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" h="40">
                    <a:moveTo>
                      <a:pt x="23" y="1"/>
                    </a:moveTo>
                    <a:cubicBezTo>
                      <a:pt x="22" y="2"/>
                      <a:pt x="22" y="4"/>
                      <a:pt x="21" y="6"/>
                    </a:cubicBezTo>
                    <a:cubicBezTo>
                      <a:pt x="21" y="8"/>
                      <a:pt x="20" y="4"/>
                      <a:pt x="18" y="5"/>
                    </a:cubicBezTo>
                    <a:cubicBezTo>
                      <a:pt x="16" y="6"/>
                      <a:pt x="19" y="9"/>
                      <a:pt x="17" y="10"/>
                    </a:cubicBezTo>
                    <a:cubicBezTo>
                      <a:pt x="16" y="11"/>
                      <a:pt x="18" y="15"/>
                      <a:pt x="19" y="14"/>
                    </a:cubicBezTo>
                    <a:cubicBezTo>
                      <a:pt x="21" y="13"/>
                      <a:pt x="20" y="19"/>
                      <a:pt x="21" y="19"/>
                    </a:cubicBezTo>
                    <a:cubicBezTo>
                      <a:pt x="22" y="19"/>
                      <a:pt x="23" y="10"/>
                      <a:pt x="23" y="10"/>
                    </a:cubicBezTo>
                    <a:cubicBezTo>
                      <a:pt x="23" y="10"/>
                      <a:pt x="24" y="4"/>
                      <a:pt x="25" y="2"/>
                    </a:cubicBezTo>
                    <a:cubicBezTo>
                      <a:pt x="25" y="1"/>
                      <a:pt x="24" y="0"/>
                      <a:pt x="23" y="1"/>
                    </a:cubicBezTo>
                    <a:close/>
                    <a:moveTo>
                      <a:pt x="7" y="33"/>
                    </a:moveTo>
                    <a:cubicBezTo>
                      <a:pt x="6" y="34"/>
                      <a:pt x="4" y="33"/>
                      <a:pt x="5" y="31"/>
                    </a:cubicBezTo>
                    <a:cubicBezTo>
                      <a:pt x="6" y="30"/>
                      <a:pt x="3" y="32"/>
                      <a:pt x="2" y="32"/>
                    </a:cubicBezTo>
                    <a:cubicBezTo>
                      <a:pt x="1" y="33"/>
                      <a:pt x="0" y="37"/>
                      <a:pt x="0" y="37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4" y="39"/>
                      <a:pt x="8" y="34"/>
                      <a:pt x="9" y="30"/>
                    </a:cubicBezTo>
                    <a:cubicBezTo>
                      <a:pt x="11" y="26"/>
                      <a:pt x="7" y="31"/>
                      <a:pt x="7" y="3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7" name="Freeform 49"/>
              <p:cNvSpPr>
                <a:spLocks noEditPoint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903320" y="3292476"/>
                <a:ext cx="224276" cy="277813"/>
              </a:xfrm>
              <a:custGeom>
                <a:avLst/>
                <a:gdLst>
                  <a:gd name="T0" fmla="*/ 2147483647 w 57"/>
                  <a:gd name="T1" fmla="*/ 2147483647 h 71"/>
                  <a:gd name="T2" fmla="*/ 2147483647 w 57"/>
                  <a:gd name="T3" fmla="*/ 2147483647 h 71"/>
                  <a:gd name="T4" fmla="*/ 2147483647 w 57"/>
                  <a:gd name="T5" fmla="*/ 2147483647 h 71"/>
                  <a:gd name="T6" fmla="*/ 2147483647 w 57"/>
                  <a:gd name="T7" fmla="*/ 2147483647 h 71"/>
                  <a:gd name="T8" fmla="*/ 2147483647 w 57"/>
                  <a:gd name="T9" fmla="*/ 2147483647 h 71"/>
                  <a:gd name="T10" fmla="*/ 2147483647 w 57"/>
                  <a:gd name="T11" fmla="*/ 2147483647 h 71"/>
                  <a:gd name="T12" fmla="*/ 2147483647 w 57"/>
                  <a:gd name="T13" fmla="*/ 2147483647 h 71"/>
                  <a:gd name="T14" fmla="*/ 2147483647 w 57"/>
                  <a:gd name="T15" fmla="*/ 2147483647 h 71"/>
                  <a:gd name="T16" fmla="*/ 2147483647 w 57"/>
                  <a:gd name="T17" fmla="*/ 2147483647 h 71"/>
                  <a:gd name="T18" fmla="*/ 2147483647 w 57"/>
                  <a:gd name="T19" fmla="*/ 2147483647 h 71"/>
                  <a:gd name="T20" fmla="*/ 2147483647 w 57"/>
                  <a:gd name="T21" fmla="*/ 2147483647 h 71"/>
                  <a:gd name="T22" fmla="*/ 2147483647 w 57"/>
                  <a:gd name="T23" fmla="*/ 2147483647 h 71"/>
                  <a:gd name="T24" fmla="*/ 2147483647 w 57"/>
                  <a:gd name="T25" fmla="*/ 0 h 71"/>
                  <a:gd name="T26" fmla="*/ 2147483647 w 57"/>
                  <a:gd name="T27" fmla="*/ 2147483647 h 71"/>
                  <a:gd name="T28" fmla="*/ 2147483647 w 57"/>
                  <a:gd name="T29" fmla="*/ 2147483647 h 71"/>
                  <a:gd name="T30" fmla="*/ 2147483647 w 57"/>
                  <a:gd name="T31" fmla="*/ 2147483647 h 71"/>
                  <a:gd name="T32" fmla="*/ 2147483647 w 57"/>
                  <a:gd name="T33" fmla="*/ 2147483647 h 71"/>
                  <a:gd name="T34" fmla="*/ 2147483647 w 57"/>
                  <a:gd name="T35" fmla="*/ 2147483647 h 71"/>
                  <a:gd name="T36" fmla="*/ 2147483647 w 57"/>
                  <a:gd name="T37" fmla="*/ 2147483647 h 71"/>
                  <a:gd name="T38" fmla="*/ 2147483647 w 57"/>
                  <a:gd name="T39" fmla="*/ 2147483647 h 71"/>
                  <a:gd name="T40" fmla="*/ 2147483647 w 57"/>
                  <a:gd name="T41" fmla="*/ 2147483647 h 71"/>
                  <a:gd name="T42" fmla="*/ 2147483647 w 57"/>
                  <a:gd name="T43" fmla="*/ 2147483647 h 71"/>
                  <a:gd name="T44" fmla="*/ 2147483647 w 57"/>
                  <a:gd name="T45" fmla="*/ 2147483647 h 71"/>
                  <a:gd name="T46" fmla="*/ 2147483647 w 57"/>
                  <a:gd name="T47" fmla="*/ 2147483647 h 71"/>
                  <a:gd name="T48" fmla="*/ 2147483647 w 57"/>
                  <a:gd name="T49" fmla="*/ 2147483647 h 71"/>
                  <a:gd name="T50" fmla="*/ 2147483647 w 57"/>
                  <a:gd name="T51" fmla="*/ 2147483647 h 71"/>
                  <a:gd name="T52" fmla="*/ 2147483647 w 57"/>
                  <a:gd name="T53" fmla="*/ 2147483647 h 71"/>
                  <a:gd name="T54" fmla="*/ 2147483647 w 57"/>
                  <a:gd name="T55" fmla="*/ 2147483647 h 71"/>
                  <a:gd name="T56" fmla="*/ 2147483647 w 57"/>
                  <a:gd name="T57" fmla="*/ 2147483647 h 71"/>
                  <a:gd name="T58" fmla="*/ 2147483647 w 57"/>
                  <a:gd name="T59" fmla="*/ 2147483647 h 71"/>
                  <a:gd name="T60" fmla="*/ 2147483647 w 57"/>
                  <a:gd name="T61" fmla="*/ 2147483647 h 71"/>
                  <a:gd name="T62" fmla="*/ 2147483647 w 57"/>
                  <a:gd name="T63" fmla="*/ 2147483647 h 71"/>
                  <a:gd name="T64" fmla="*/ 2147483647 w 57"/>
                  <a:gd name="T65" fmla="*/ 2147483647 h 71"/>
                  <a:gd name="T66" fmla="*/ 2147483647 w 57"/>
                  <a:gd name="T67" fmla="*/ 2147483647 h 71"/>
                  <a:gd name="T68" fmla="*/ 2147483647 w 57"/>
                  <a:gd name="T69" fmla="*/ 2147483647 h 71"/>
                  <a:gd name="T70" fmla="*/ 2147483647 w 57"/>
                  <a:gd name="T71" fmla="*/ 2147483647 h 71"/>
                  <a:gd name="T72" fmla="*/ 2147483647 w 57"/>
                  <a:gd name="T73" fmla="*/ 2147483647 h 7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7"/>
                  <a:gd name="T112" fmla="*/ 0 h 71"/>
                  <a:gd name="T113" fmla="*/ 57 w 57"/>
                  <a:gd name="T114" fmla="*/ 71 h 7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7" h="71">
                    <a:moveTo>
                      <a:pt x="1" y="18"/>
                    </a:moveTo>
                    <a:cubicBezTo>
                      <a:pt x="0" y="19"/>
                      <a:pt x="1" y="22"/>
                      <a:pt x="1" y="23"/>
                    </a:cubicBezTo>
                    <a:cubicBezTo>
                      <a:pt x="1" y="25"/>
                      <a:pt x="1" y="29"/>
                      <a:pt x="1" y="29"/>
                    </a:cubicBezTo>
                    <a:cubicBezTo>
                      <a:pt x="1" y="29"/>
                      <a:pt x="1" y="31"/>
                      <a:pt x="2" y="29"/>
                    </a:cubicBezTo>
                    <a:cubicBezTo>
                      <a:pt x="3" y="28"/>
                      <a:pt x="2" y="27"/>
                      <a:pt x="3" y="25"/>
                    </a:cubicBezTo>
                    <a:cubicBezTo>
                      <a:pt x="4" y="23"/>
                      <a:pt x="4" y="19"/>
                      <a:pt x="4" y="18"/>
                    </a:cubicBezTo>
                    <a:cubicBezTo>
                      <a:pt x="4" y="17"/>
                      <a:pt x="2" y="18"/>
                      <a:pt x="1" y="18"/>
                    </a:cubicBezTo>
                    <a:close/>
                    <a:moveTo>
                      <a:pt x="11" y="13"/>
                    </a:moveTo>
                    <a:cubicBezTo>
                      <a:pt x="12" y="11"/>
                      <a:pt x="13" y="8"/>
                      <a:pt x="13" y="6"/>
                    </a:cubicBezTo>
                    <a:cubicBezTo>
                      <a:pt x="14" y="4"/>
                      <a:pt x="12" y="3"/>
                      <a:pt x="11" y="4"/>
                    </a:cubicBezTo>
                    <a:cubicBezTo>
                      <a:pt x="10" y="5"/>
                      <a:pt x="8" y="6"/>
                      <a:pt x="5" y="6"/>
                    </a:cubicBezTo>
                    <a:cubicBezTo>
                      <a:pt x="3" y="7"/>
                      <a:pt x="4" y="10"/>
                      <a:pt x="5" y="12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6"/>
                      <a:pt x="6" y="16"/>
                    </a:cubicBezTo>
                    <a:cubicBezTo>
                      <a:pt x="7" y="17"/>
                      <a:pt x="9" y="14"/>
                      <a:pt x="11" y="13"/>
                    </a:cubicBezTo>
                    <a:close/>
                    <a:moveTo>
                      <a:pt x="52" y="33"/>
                    </a:moveTo>
                    <a:cubicBezTo>
                      <a:pt x="53" y="31"/>
                      <a:pt x="53" y="28"/>
                      <a:pt x="55" y="25"/>
                    </a:cubicBezTo>
                    <a:cubicBezTo>
                      <a:pt x="57" y="22"/>
                      <a:pt x="56" y="20"/>
                      <a:pt x="55" y="18"/>
                    </a:cubicBezTo>
                    <a:cubicBezTo>
                      <a:pt x="55" y="16"/>
                      <a:pt x="52" y="17"/>
                      <a:pt x="49" y="18"/>
                    </a:cubicBezTo>
                    <a:cubicBezTo>
                      <a:pt x="46" y="19"/>
                      <a:pt x="42" y="17"/>
                      <a:pt x="41" y="17"/>
                    </a:cubicBezTo>
                    <a:cubicBezTo>
                      <a:pt x="40" y="17"/>
                      <a:pt x="34" y="21"/>
                      <a:pt x="34" y="21"/>
                    </a:cubicBezTo>
                    <a:cubicBezTo>
                      <a:pt x="34" y="21"/>
                      <a:pt x="36" y="17"/>
                      <a:pt x="36" y="17"/>
                    </a:cubicBezTo>
                    <a:cubicBezTo>
                      <a:pt x="36" y="16"/>
                      <a:pt x="35" y="15"/>
                      <a:pt x="35" y="14"/>
                    </a:cubicBezTo>
                    <a:cubicBezTo>
                      <a:pt x="35" y="12"/>
                      <a:pt x="39" y="10"/>
                      <a:pt x="40" y="9"/>
                    </a:cubicBezTo>
                    <a:cubicBezTo>
                      <a:pt x="42" y="8"/>
                      <a:pt x="44" y="3"/>
                      <a:pt x="44" y="2"/>
                    </a:cubicBezTo>
                    <a:cubicBezTo>
                      <a:pt x="45" y="0"/>
                      <a:pt x="43" y="0"/>
                      <a:pt x="41" y="0"/>
                    </a:cubicBezTo>
                    <a:cubicBezTo>
                      <a:pt x="40" y="0"/>
                      <a:pt x="32" y="2"/>
                      <a:pt x="29" y="1"/>
                    </a:cubicBezTo>
                    <a:cubicBezTo>
                      <a:pt x="27" y="0"/>
                      <a:pt x="26" y="1"/>
                      <a:pt x="26" y="3"/>
                    </a:cubicBezTo>
                    <a:cubicBezTo>
                      <a:pt x="25" y="4"/>
                      <a:pt x="23" y="6"/>
                      <a:pt x="23" y="8"/>
                    </a:cubicBezTo>
                    <a:cubicBezTo>
                      <a:pt x="23" y="10"/>
                      <a:pt x="21" y="14"/>
                      <a:pt x="20" y="12"/>
                    </a:cubicBezTo>
                    <a:cubicBezTo>
                      <a:pt x="18" y="10"/>
                      <a:pt x="17" y="15"/>
                      <a:pt x="17" y="17"/>
                    </a:cubicBezTo>
                    <a:cubicBezTo>
                      <a:pt x="17" y="18"/>
                      <a:pt x="19" y="23"/>
                      <a:pt x="17" y="24"/>
                    </a:cubicBezTo>
                    <a:cubicBezTo>
                      <a:pt x="16" y="24"/>
                      <a:pt x="15" y="23"/>
                      <a:pt x="14" y="20"/>
                    </a:cubicBezTo>
                    <a:cubicBezTo>
                      <a:pt x="14" y="18"/>
                      <a:pt x="12" y="18"/>
                      <a:pt x="11" y="17"/>
                    </a:cubicBezTo>
                    <a:cubicBezTo>
                      <a:pt x="10" y="17"/>
                      <a:pt x="9" y="20"/>
                      <a:pt x="8" y="21"/>
                    </a:cubicBezTo>
                    <a:cubicBezTo>
                      <a:pt x="7" y="22"/>
                      <a:pt x="10" y="24"/>
                      <a:pt x="10" y="25"/>
                    </a:cubicBezTo>
                    <a:cubicBezTo>
                      <a:pt x="11" y="26"/>
                      <a:pt x="13" y="28"/>
                      <a:pt x="16" y="28"/>
                    </a:cubicBezTo>
                    <a:cubicBezTo>
                      <a:pt x="16" y="28"/>
                      <a:pt x="18" y="30"/>
                      <a:pt x="16" y="31"/>
                    </a:cubicBezTo>
                    <a:cubicBezTo>
                      <a:pt x="15" y="32"/>
                      <a:pt x="17" y="33"/>
                      <a:pt x="15" y="33"/>
                    </a:cubicBezTo>
                    <a:cubicBezTo>
                      <a:pt x="12" y="33"/>
                      <a:pt x="15" y="34"/>
                      <a:pt x="13" y="36"/>
                    </a:cubicBezTo>
                    <a:cubicBezTo>
                      <a:pt x="10" y="38"/>
                      <a:pt x="14" y="39"/>
                      <a:pt x="12" y="39"/>
                    </a:cubicBezTo>
                    <a:cubicBezTo>
                      <a:pt x="10" y="40"/>
                      <a:pt x="14" y="43"/>
                      <a:pt x="14" y="43"/>
                    </a:cubicBezTo>
                    <a:cubicBezTo>
                      <a:pt x="14" y="43"/>
                      <a:pt x="17" y="42"/>
                      <a:pt x="19" y="40"/>
                    </a:cubicBezTo>
                    <a:cubicBezTo>
                      <a:pt x="21" y="38"/>
                      <a:pt x="18" y="45"/>
                      <a:pt x="18" y="45"/>
                    </a:cubicBezTo>
                    <a:cubicBezTo>
                      <a:pt x="18" y="45"/>
                      <a:pt x="18" y="48"/>
                      <a:pt x="19" y="51"/>
                    </a:cubicBezTo>
                    <a:cubicBezTo>
                      <a:pt x="19" y="53"/>
                      <a:pt x="18" y="55"/>
                      <a:pt x="18" y="57"/>
                    </a:cubicBezTo>
                    <a:cubicBezTo>
                      <a:pt x="18" y="58"/>
                      <a:pt x="20" y="59"/>
                      <a:pt x="21" y="57"/>
                    </a:cubicBezTo>
                    <a:cubicBezTo>
                      <a:pt x="21" y="56"/>
                      <a:pt x="22" y="52"/>
                      <a:pt x="22" y="5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5" y="69"/>
                      <a:pt x="25" y="69"/>
                      <a:pt x="25" y="69"/>
                    </a:cubicBezTo>
                    <a:cubicBezTo>
                      <a:pt x="28" y="70"/>
                      <a:pt x="28" y="70"/>
                      <a:pt x="28" y="70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0" y="68"/>
                      <a:pt x="43" y="66"/>
                      <a:pt x="44" y="65"/>
                    </a:cubicBezTo>
                    <a:cubicBezTo>
                      <a:pt x="45" y="65"/>
                      <a:pt x="50" y="59"/>
                      <a:pt x="51" y="58"/>
                    </a:cubicBezTo>
                    <a:cubicBezTo>
                      <a:pt x="53" y="57"/>
                      <a:pt x="52" y="55"/>
                      <a:pt x="53" y="52"/>
                    </a:cubicBezTo>
                    <a:cubicBezTo>
                      <a:pt x="54" y="49"/>
                      <a:pt x="51" y="49"/>
                      <a:pt x="51" y="49"/>
                    </a:cubicBezTo>
                    <a:cubicBezTo>
                      <a:pt x="51" y="49"/>
                      <a:pt x="48" y="47"/>
                      <a:pt x="46" y="47"/>
                    </a:cubicBezTo>
                    <a:cubicBezTo>
                      <a:pt x="44" y="48"/>
                      <a:pt x="40" y="51"/>
                      <a:pt x="39" y="50"/>
                    </a:cubicBezTo>
                    <a:cubicBezTo>
                      <a:pt x="38" y="48"/>
                      <a:pt x="40" y="49"/>
                      <a:pt x="42" y="47"/>
                    </a:cubicBezTo>
                    <a:cubicBezTo>
                      <a:pt x="43" y="46"/>
                      <a:pt x="45" y="44"/>
                      <a:pt x="49" y="43"/>
                    </a:cubicBezTo>
                    <a:cubicBezTo>
                      <a:pt x="52" y="41"/>
                      <a:pt x="47" y="41"/>
                      <a:pt x="48" y="40"/>
                    </a:cubicBezTo>
                    <a:cubicBezTo>
                      <a:pt x="49" y="39"/>
                      <a:pt x="52" y="34"/>
                      <a:pt x="52" y="33"/>
                    </a:cubicBezTo>
                    <a:close/>
                    <a:moveTo>
                      <a:pt x="16" y="47"/>
                    </a:moveTo>
                    <a:cubicBezTo>
                      <a:pt x="15" y="48"/>
                      <a:pt x="11" y="50"/>
                      <a:pt x="11" y="50"/>
                    </a:cubicBezTo>
                    <a:cubicBezTo>
                      <a:pt x="11" y="51"/>
                      <a:pt x="11" y="53"/>
                      <a:pt x="12" y="54"/>
                    </a:cubicBezTo>
                    <a:cubicBezTo>
                      <a:pt x="13" y="55"/>
                      <a:pt x="14" y="53"/>
                      <a:pt x="15" y="52"/>
                    </a:cubicBezTo>
                    <a:cubicBezTo>
                      <a:pt x="16" y="51"/>
                      <a:pt x="18" y="47"/>
                      <a:pt x="16" y="47"/>
                    </a:cubicBezTo>
                    <a:close/>
                    <a:moveTo>
                      <a:pt x="22" y="57"/>
                    </a:moveTo>
                    <a:cubicBezTo>
                      <a:pt x="23" y="58"/>
                      <a:pt x="24" y="57"/>
                      <a:pt x="24" y="57"/>
                    </a:cubicBezTo>
                    <a:cubicBezTo>
                      <a:pt x="25" y="56"/>
                      <a:pt x="23" y="53"/>
                      <a:pt x="23" y="53"/>
                    </a:cubicBezTo>
                    <a:cubicBezTo>
                      <a:pt x="23" y="53"/>
                      <a:pt x="21" y="55"/>
                      <a:pt x="22" y="5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8" name="Freeform 50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971862" y="3494089"/>
                <a:ext cx="291705" cy="376237"/>
              </a:xfrm>
              <a:custGeom>
                <a:avLst/>
                <a:gdLst>
                  <a:gd name="T0" fmla="*/ 2147483647 w 74"/>
                  <a:gd name="T1" fmla="*/ 2147483647 h 96"/>
                  <a:gd name="T2" fmla="*/ 2147483647 w 74"/>
                  <a:gd name="T3" fmla="*/ 2147483647 h 96"/>
                  <a:gd name="T4" fmla="*/ 2147483647 w 74"/>
                  <a:gd name="T5" fmla="*/ 2147483647 h 96"/>
                  <a:gd name="T6" fmla="*/ 2147483647 w 74"/>
                  <a:gd name="T7" fmla="*/ 2147483647 h 96"/>
                  <a:gd name="T8" fmla="*/ 2147483647 w 74"/>
                  <a:gd name="T9" fmla="*/ 2147483647 h 96"/>
                  <a:gd name="T10" fmla="*/ 2147483647 w 74"/>
                  <a:gd name="T11" fmla="*/ 2147483647 h 96"/>
                  <a:gd name="T12" fmla="*/ 2147483647 w 74"/>
                  <a:gd name="T13" fmla="*/ 2147483647 h 96"/>
                  <a:gd name="T14" fmla="*/ 2147483647 w 74"/>
                  <a:gd name="T15" fmla="*/ 2147483647 h 96"/>
                  <a:gd name="T16" fmla="*/ 2147483647 w 74"/>
                  <a:gd name="T17" fmla="*/ 2147483647 h 96"/>
                  <a:gd name="T18" fmla="*/ 2147483647 w 74"/>
                  <a:gd name="T19" fmla="*/ 2147483647 h 96"/>
                  <a:gd name="T20" fmla="*/ 2147483647 w 74"/>
                  <a:gd name="T21" fmla="*/ 2147483647 h 96"/>
                  <a:gd name="T22" fmla="*/ 2147483647 w 74"/>
                  <a:gd name="T23" fmla="*/ 2147483647 h 96"/>
                  <a:gd name="T24" fmla="*/ 2147483647 w 74"/>
                  <a:gd name="T25" fmla="*/ 2147483647 h 96"/>
                  <a:gd name="T26" fmla="*/ 2147483647 w 74"/>
                  <a:gd name="T27" fmla="*/ 2147483647 h 96"/>
                  <a:gd name="T28" fmla="*/ 2147483647 w 74"/>
                  <a:gd name="T29" fmla="*/ 2147483647 h 96"/>
                  <a:gd name="T30" fmla="*/ 2147483647 w 74"/>
                  <a:gd name="T31" fmla="*/ 2147483647 h 96"/>
                  <a:gd name="T32" fmla="*/ 2147483647 w 74"/>
                  <a:gd name="T33" fmla="*/ 0 h 96"/>
                  <a:gd name="T34" fmla="*/ 2147483647 w 74"/>
                  <a:gd name="T35" fmla="*/ 0 h 96"/>
                  <a:gd name="T36" fmla="*/ 2147483647 w 74"/>
                  <a:gd name="T37" fmla="*/ 2147483647 h 96"/>
                  <a:gd name="T38" fmla="*/ 2147483647 w 74"/>
                  <a:gd name="T39" fmla="*/ 2147483647 h 96"/>
                  <a:gd name="T40" fmla="*/ 2147483647 w 74"/>
                  <a:gd name="T41" fmla="*/ 2147483647 h 96"/>
                  <a:gd name="T42" fmla="*/ 2147483647 w 74"/>
                  <a:gd name="T43" fmla="*/ 2147483647 h 96"/>
                  <a:gd name="T44" fmla="*/ 2147483647 w 74"/>
                  <a:gd name="T45" fmla="*/ 2147483647 h 96"/>
                  <a:gd name="T46" fmla="*/ 2147483647 w 74"/>
                  <a:gd name="T47" fmla="*/ 2147483647 h 96"/>
                  <a:gd name="T48" fmla="*/ 2147483647 w 74"/>
                  <a:gd name="T49" fmla="*/ 2147483647 h 96"/>
                  <a:gd name="T50" fmla="*/ 2147483647 w 74"/>
                  <a:gd name="T51" fmla="*/ 2147483647 h 96"/>
                  <a:gd name="T52" fmla="*/ 2147483647 w 74"/>
                  <a:gd name="T53" fmla="*/ 2147483647 h 96"/>
                  <a:gd name="T54" fmla="*/ 2147483647 w 74"/>
                  <a:gd name="T55" fmla="*/ 2147483647 h 96"/>
                  <a:gd name="T56" fmla="*/ 2147483647 w 74"/>
                  <a:gd name="T57" fmla="*/ 2147483647 h 96"/>
                  <a:gd name="T58" fmla="*/ 2147483647 w 74"/>
                  <a:gd name="T59" fmla="*/ 2147483647 h 96"/>
                  <a:gd name="T60" fmla="*/ 2147483647 w 74"/>
                  <a:gd name="T61" fmla="*/ 2147483647 h 96"/>
                  <a:gd name="T62" fmla="*/ 2147483647 w 74"/>
                  <a:gd name="T63" fmla="*/ 2147483647 h 96"/>
                  <a:gd name="T64" fmla="*/ 2147483647 w 74"/>
                  <a:gd name="T65" fmla="*/ 2147483647 h 96"/>
                  <a:gd name="T66" fmla="*/ 2147483647 w 74"/>
                  <a:gd name="T67" fmla="*/ 2147483647 h 96"/>
                  <a:gd name="T68" fmla="*/ 2147483647 w 74"/>
                  <a:gd name="T69" fmla="*/ 2147483647 h 96"/>
                  <a:gd name="T70" fmla="*/ 2147483647 w 74"/>
                  <a:gd name="T71" fmla="*/ 2147483647 h 96"/>
                  <a:gd name="T72" fmla="*/ 2147483647 w 74"/>
                  <a:gd name="T73" fmla="*/ 2147483647 h 96"/>
                  <a:gd name="T74" fmla="*/ 2147483647 w 74"/>
                  <a:gd name="T75" fmla="*/ 2147483647 h 96"/>
                  <a:gd name="T76" fmla="*/ 2147483647 w 74"/>
                  <a:gd name="T77" fmla="*/ 2147483647 h 96"/>
                  <a:gd name="T78" fmla="*/ 2147483647 w 74"/>
                  <a:gd name="T79" fmla="*/ 2147483647 h 96"/>
                  <a:gd name="T80" fmla="*/ 2147483647 w 74"/>
                  <a:gd name="T81" fmla="*/ 2147483647 h 96"/>
                  <a:gd name="T82" fmla="*/ 0 w 74"/>
                  <a:gd name="T83" fmla="*/ 2147483647 h 96"/>
                  <a:gd name="T84" fmla="*/ 2147483647 w 74"/>
                  <a:gd name="T85" fmla="*/ 2147483647 h 96"/>
                  <a:gd name="T86" fmla="*/ 2147483647 w 74"/>
                  <a:gd name="T87" fmla="*/ 2147483647 h 96"/>
                  <a:gd name="T88" fmla="*/ 2147483647 w 74"/>
                  <a:gd name="T89" fmla="*/ 2147483647 h 96"/>
                  <a:gd name="T90" fmla="*/ 2147483647 w 74"/>
                  <a:gd name="T91" fmla="*/ 2147483647 h 96"/>
                  <a:gd name="T92" fmla="*/ 2147483647 w 74"/>
                  <a:gd name="T93" fmla="*/ 2147483647 h 96"/>
                  <a:gd name="T94" fmla="*/ 2147483647 w 74"/>
                  <a:gd name="T95" fmla="*/ 2147483647 h 96"/>
                  <a:gd name="T96" fmla="*/ 2147483647 w 74"/>
                  <a:gd name="T97" fmla="*/ 2147483647 h 96"/>
                  <a:gd name="T98" fmla="*/ 2147483647 w 74"/>
                  <a:gd name="T99" fmla="*/ 2147483647 h 96"/>
                  <a:gd name="T100" fmla="*/ 2147483647 w 74"/>
                  <a:gd name="T101" fmla="*/ 2147483647 h 96"/>
                  <a:gd name="T102" fmla="*/ 2147483647 w 74"/>
                  <a:gd name="T103" fmla="*/ 2147483647 h 96"/>
                  <a:gd name="T104" fmla="*/ 2147483647 w 74"/>
                  <a:gd name="T105" fmla="*/ 2147483647 h 96"/>
                  <a:gd name="T106" fmla="*/ 2147483647 w 74"/>
                  <a:gd name="T107" fmla="*/ 2147483647 h 96"/>
                  <a:gd name="T108" fmla="*/ 2147483647 w 74"/>
                  <a:gd name="T109" fmla="*/ 2147483647 h 96"/>
                  <a:gd name="T110" fmla="*/ 2147483647 w 74"/>
                  <a:gd name="T111" fmla="*/ 2147483647 h 9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4"/>
                  <a:gd name="T169" fmla="*/ 0 h 96"/>
                  <a:gd name="T170" fmla="*/ 74 w 74"/>
                  <a:gd name="T171" fmla="*/ 96 h 9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4" h="96">
                    <a:moveTo>
                      <a:pt x="66" y="72"/>
                    </a:moveTo>
                    <a:cubicBezTo>
                      <a:pt x="60" y="71"/>
                      <a:pt x="60" y="71"/>
                      <a:pt x="60" y="71"/>
                    </a:cubicBezTo>
                    <a:cubicBezTo>
                      <a:pt x="60" y="71"/>
                      <a:pt x="63" y="71"/>
                      <a:pt x="65" y="69"/>
                    </a:cubicBezTo>
                    <a:cubicBezTo>
                      <a:pt x="67" y="66"/>
                      <a:pt x="67" y="64"/>
                      <a:pt x="69" y="64"/>
                    </a:cubicBezTo>
                    <a:cubicBezTo>
                      <a:pt x="70" y="63"/>
                      <a:pt x="73" y="60"/>
                      <a:pt x="73" y="60"/>
                    </a:cubicBezTo>
                    <a:cubicBezTo>
                      <a:pt x="73" y="60"/>
                      <a:pt x="71" y="56"/>
                      <a:pt x="73" y="54"/>
                    </a:cubicBezTo>
                    <a:cubicBezTo>
                      <a:pt x="74" y="52"/>
                      <a:pt x="73" y="51"/>
                      <a:pt x="72" y="50"/>
                    </a:cubicBezTo>
                    <a:cubicBezTo>
                      <a:pt x="70" y="50"/>
                      <a:pt x="64" y="49"/>
                      <a:pt x="63" y="50"/>
                    </a:cubicBezTo>
                    <a:cubicBezTo>
                      <a:pt x="62" y="51"/>
                      <a:pt x="60" y="50"/>
                      <a:pt x="59" y="50"/>
                    </a:cubicBezTo>
                    <a:cubicBezTo>
                      <a:pt x="59" y="49"/>
                      <a:pt x="59" y="48"/>
                      <a:pt x="59" y="45"/>
                    </a:cubicBezTo>
                    <a:cubicBezTo>
                      <a:pt x="57" y="34"/>
                      <a:pt x="56" y="35"/>
                      <a:pt x="56" y="35"/>
                    </a:cubicBezTo>
                    <a:cubicBezTo>
                      <a:pt x="56" y="35"/>
                      <a:pt x="55" y="29"/>
                      <a:pt x="54" y="27"/>
                    </a:cubicBezTo>
                    <a:cubicBezTo>
                      <a:pt x="52" y="25"/>
                      <a:pt x="50" y="21"/>
                      <a:pt x="49" y="21"/>
                    </a:cubicBezTo>
                    <a:cubicBezTo>
                      <a:pt x="48" y="21"/>
                      <a:pt x="45" y="20"/>
                      <a:pt x="44" y="17"/>
                    </a:cubicBezTo>
                    <a:cubicBezTo>
                      <a:pt x="44" y="15"/>
                      <a:pt x="41" y="13"/>
                      <a:pt x="42" y="10"/>
                    </a:cubicBezTo>
                    <a:cubicBezTo>
                      <a:pt x="42" y="7"/>
                      <a:pt x="41" y="4"/>
                      <a:pt x="39" y="2"/>
                    </a:cubicBezTo>
                    <a:cubicBezTo>
                      <a:pt x="38" y="1"/>
                      <a:pt x="36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4" y="3"/>
                      <a:pt x="35" y="5"/>
                      <a:pt x="33" y="6"/>
                    </a:cubicBezTo>
                    <a:cubicBezTo>
                      <a:pt x="32" y="7"/>
                      <a:pt x="27" y="13"/>
                      <a:pt x="26" y="13"/>
                    </a:cubicBezTo>
                    <a:cubicBezTo>
                      <a:pt x="25" y="14"/>
                      <a:pt x="22" y="16"/>
                      <a:pt x="22" y="16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2" y="20"/>
                      <a:pt x="22" y="18"/>
                      <a:pt x="23" y="22"/>
                    </a:cubicBezTo>
                    <a:cubicBezTo>
                      <a:pt x="24" y="27"/>
                      <a:pt x="25" y="28"/>
                      <a:pt x="25" y="28"/>
                    </a:cubicBezTo>
                    <a:cubicBezTo>
                      <a:pt x="25" y="28"/>
                      <a:pt x="29" y="27"/>
                      <a:pt x="28" y="29"/>
                    </a:cubicBezTo>
                    <a:cubicBezTo>
                      <a:pt x="26" y="32"/>
                      <a:pt x="26" y="33"/>
                      <a:pt x="26" y="35"/>
                    </a:cubicBezTo>
                    <a:cubicBezTo>
                      <a:pt x="27" y="36"/>
                      <a:pt x="26" y="42"/>
                      <a:pt x="26" y="43"/>
                    </a:cubicBezTo>
                    <a:cubicBezTo>
                      <a:pt x="27" y="45"/>
                      <a:pt x="26" y="47"/>
                      <a:pt x="28" y="48"/>
                    </a:cubicBezTo>
                    <a:cubicBezTo>
                      <a:pt x="30" y="49"/>
                      <a:pt x="27" y="51"/>
                      <a:pt x="26" y="53"/>
                    </a:cubicBezTo>
                    <a:cubicBezTo>
                      <a:pt x="26" y="55"/>
                      <a:pt x="30" y="53"/>
                      <a:pt x="27" y="56"/>
                    </a:cubicBezTo>
                    <a:cubicBezTo>
                      <a:pt x="24" y="58"/>
                      <a:pt x="27" y="59"/>
                      <a:pt x="27" y="59"/>
                    </a:cubicBezTo>
                    <a:cubicBezTo>
                      <a:pt x="27" y="59"/>
                      <a:pt x="29" y="60"/>
                      <a:pt x="29" y="62"/>
                    </a:cubicBezTo>
                    <a:cubicBezTo>
                      <a:pt x="29" y="63"/>
                      <a:pt x="29" y="64"/>
                      <a:pt x="29" y="64"/>
                    </a:cubicBezTo>
                    <a:cubicBezTo>
                      <a:pt x="29" y="64"/>
                      <a:pt x="27" y="66"/>
                      <a:pt x="29" y="68"/>
                    </a:cubicBezTo>
                    <a:cubicBezTo>
                      <a:pt x="30" y="69"/>
                      <a:pt x="31" y="68"/>
                      <a:pt x="32" y="68"/>
                    </a:cubicBezTo>
                    <a:cubicBezTo>
                      <a:pt x="29" y="73"/>
                      <a:pt x="29" y="73"/>
                      <a:pt x="29" y="73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26" y="76"/>
                      <a:pt x="20" y="75"/>
                      <a:pt x="18" y="76"/>
                    </a:cubicBezTo>
                    <a:cubicBezTo>
                      <a:pt x="16" y="77"/>
                      <a:pt x="13" y="79"/>
                      <a:pt x="13" y="79"/>
                    </a:cubicBezTo>
                    <a:cubicBezTo>
                      <a:pt x="13" y="79"/>
                      <a:pt x="9" y="81"/>
                      <a:pt x="9" y="83"/>
                    </a:cubicBezTo>
                    <a:cubicBezTo>
                      <a:pt x="8" y="85"/>
                      <a:pt x="6" y="89"/>
                      <a:pt x="4" y="89"/>
                    </a:cubicBezTo>
                    <a:cubicBezTo>
                      <a:pt x="3" y="89"/>
                      <a:pt x="0" y="92"/>
                      <a:pt x="0" y="92"/>
                    </a:cubicBezTo>
                    <a:cubicBezTo>
                      <a:pt x="3" y="93"/>
                      <a:pt x="3" y="93"/>
                      <a:pt x="3" y="93"/>
                    </a:cubicBezTo>
                    <a:cubicBezTo>
                      <a:pt x="3" y="93"/>
                      <a:pt x="4" y="96"/>
                      <a:pt x="5" y="95"/>
                    </a:cubicBezTo>
                    <a:cubicBezTo>
                      <a:pt x="6" y="94"/>
                      <a:pt x="7" y="93"/>
                      <a:pt x="9" y="91"/>
                    </a:cubicBezTo>
                    <a:cubicBezTo>
                      <a:pt x="11" y="90"/>
                      <a:pt x="14" y="88"/>
                      <a:pt x="16" y="90"/>
                    </a:cubicBezTo>
                    <a:cubicBezTo>
                      <a:pt x="18" y="91"/>
                      <a:pt x="20" y="92"/>
                      <a:pt x="21" y="91"/>
                    </a:cubicBezTo>
                    <a:cubicBezTo>
                      <a:pt x="22" y="90"/>
                      <a:pt x="22" y="86"/>
                      <a:pt x="23" y="85"/>
                    </a:cubicBezTo>
                    <a:cubicBezTo>
                      <a:pt x="24" y="84"/>
                      <a:pt x="29" y="84"/>
                      <a:pt x="31" y="85"/>
                    </a:cubicBezTo>
                    <a:cubicBezTo>
                      <a:pt x="34" y="85"/>
                      <a:pt x="41" y="84"/>
                      <a:pt x="43" y="84"/>
                    </a:cubicBezTo>
                    <a:cubicBezTo>
                      <a:pt x="45" y="85"/>
                      <a:pt x="46" y="83"/>
                      <a:pt x="48" y="83"/>
                    </a:cubicBezTo>
                    <a:cubicBezTo>
                      <a:pt x="50" y="82"/>
                      <a:pt x="55" y="82"/>
                      <a:pt x="56" y="83"/>
                    </a:cubicBezTo>
                    <a:cubicBezTo>
                      <a:pt x="57" y="84"/>
                      <a:pt x="61" y="82"/>
                      <a:pt x="63" y="81"/>
                    </a:cubicBezTo>
                    <a:cubicBezTo>
                      <a:pt x="65" y="81"/>
                      <a:pt x="66" y="77"/>
                      <a:pt x="68" y="77"/>
                    </a:cubicBezTo>
                    <a:cubicBezTo>
                      <a:pt x="69" y="76"/>
                      <a:pt x="73" y="72"/>
                      <a:pt x="71" y="72"/>
                    </a:cubicBezTo>
                    <a:cubicBezTo>
                      <a:pt x="69" y="73"/>
                      <a:pt x="66" y="72"/>
                      <a:pt x="66" y="7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79" name="Freeform 5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992738" y="3656013"/>
                <a:ext cx="108473" cy="119062"/>
              </a:xfrm>
              <a:custGeom>
                <a:avLst/>
                <a:gdLst>
                  <a:gd name="T0" fmla="*/ 2147483647 w 27"/>
                  <a:gd name="T1" fmla="*/ 2147483647 h 31"/>
                  <a:gd name="T2" fmla="*/ 2147483647 w 27"/>
                  <a:gd name="T3" fmla="*/ 2147483647 h 31"/>
                  <a:gd name="T4" fmla="*/ 2147483647 w 27"/>
                  <a:gd name="T5" fmla="*/ 2147483647 h 31"/>
                  <a:gd name="T6" fmla="*/ 2147483647 w 27"/>
                  <a:gd name="T7" fmla="*/ 2147483647 h 31"/>
                  <a:gd name="T8" fmla="*/ 2147483647 w 27"/>
                  <a:gd name="T9" fmla="*/ 2147483647 h 31"/>
                  <a:gd name="T10" fmla="*/ 2147483647 w 27"/>
                  <a:gd name="T11" fmla="*/ 2147483647 h 31"/>
                  <a:gd name="T12" fmla="*/ 2147483647 w 27"/>
                  <a:gd name="T13" fmla="*/ 2147483647 h 31"/>
                  <a:gd name="T14" fmla="*/ 2147483647 w 27"/>
                  <a:gd name="T15" fmla="*/ 2147483647 h 31"/>
                  <a:gd name="T16" fmla="*/ 2147483647 w 27"/>
                  <a:gd name="T17" fmla="*/ 2147483647 h 31"/>
                  <a:gd name="T18" fmla="*/ 2147483647 w 27"/>
                  <a:gd name="T19" fmla="*/ 2147483647 h 31"/>
                  <a:gd name="T20" fmla="*/ 2147483647 w 27"/>
                  <a:gd name="T21" fmla="*/ 2147483647 h 31"/>
                  <a:gd name="T22" fmla="*/ 2147483647 w 27"/>
                  <a:gd name="T23" fmla="*/ 2147483647 h 31"/>
                  <a:gd name="T24" fmla="*/ 2147483647 w 27"/>
                  <a:gd name="T25" fmla="*/ 2147483647 h 31"/>
                  <a:gd name="T26" fmla="*/ 2147483647 w 27"/>
                  <a:gd name="T27" fmla="*/ 2147483647 h 31"/>
                  <a:gd name="T28" fmla="*/ 2147483647 w 27"/>
                  <a:gd name="T29" fmla="*/ 2147483647 h 31"/>
                  <a:gd name="T30" fmla="*/ 2147483647 w 27"/>
                  <a:gd name="T31" fmla="*/ 2147483647 h 31"/>
                  <a:gd name="T32" fmla="*/ 2147483647 w 27"/>
                  <a:gd name="T33" fmla="*/ 2147483647 h 31"/>
                  <a:gd name="T34" fmla="*/ 2147483647 w 27"/>
                  <a:gd name="T35" fmla="*/ 2147483647 h 31"/>
                  <a:gd name="T36" fmla="*/ 2147483647 w 27"/>
                  <a:gd name="T37" fmla="*/ 2147483647 h 31"/>
                  <a:gd name="T38" fmla="*/ 2147483647 w 27"/>
                  <a:gd name="T39" fmla="*/ 2147483647 h 31"/>
                  <a:gd name="T40" fmla="*/ 2147483647 w 27"/>
                  <a:gd name="T41" fmla="*/ 0 h 31"/>
                  <a:gd name="T42" fmla="*/ 2147483647 w 27"/>
                  <a:gd name="T43" fmla="*/ 2147483647 h 31"/>
                  <a:gd name="T44" fmla="*/ 2147483647 w 27"/>
                  <a:gd name="T45" fmla="*/ 2147483647 h 31"/>
                  <a:gd name="T46" fmla="*/ 2147483647 w 27"/>
                  <a:gd name="T47" fmla="*/ 2147483647 h 31"/>
                  <a:gd name="T48" fmla="*/ 2147483647 w 27"/>
                  <a:gd name="T49" fmla="*/ 2147483647 h 31"/>
                  <a:gd name="T50" fmla="*/ 2147483647 w 27"/>
                  <a:gd name="T51" fmla="*/ 2147483647 h 31"/>
                  <a:gd name="T52" fmla="*/ 2147483647 w 27"/>
                  <a:gd name="T53" fmla="*/ 2147483647 h 31"/>
                  <a:gd name="T54" fmla="*/ 0 w 27"/>
                  <a:gd name="T55" fmla="*/ 2147483647 h 31"/>
                  <a:gd name="T56" fmla="*/ 2147483647 w 27"/>
                  <a:gd name="T57" fmla="*/ 2147483647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7"/>
                  <a:gd name="T88" fmla="*/ 0 h 31"/>
                  <a:gd name="T89" fmla="*/ 27 w 27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7" h="31">
                    <a:moveTo>
                      <a:pt x="3" y="27"/>
                    </a:moveTo>
                    <a:cubicBezTo>
                      <a:pt x="7" y="26"/>
                      <a:pt x="7" y="26"/>
                      <a:pt x="7" y="26"/>
                    </a:cubicBezTo>
                    <a:cubicBezTo>
                      <a:pt x="7" y="26"/>
                      <a:pt x="8" y="30"/>
                      <a:pt x="10" y="30"/>
                    </a:cubicBezTo>
                    <a:cubicBezTo>
                      <a:pt x="13" y="30"/>
                      <a:pt x="16" y="29"/>
                      <a:pt x="16" y="29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1"/>
                      <a:pt x="24" y="29"/>
                      <a:pt x="26" y="28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6" y="27"/>
                      <a:pt x="25" y="28"/>
                      <a:pt x="24" y="27"/>
                    </a:cubicBezTo>
                    <a:cubicBezTo>
                      <a:pt x="22" y="25"/>
                      <a:pt x="24" y="23"/>
                      <a:pt x="24" y="23"/>
                    </a:cubicBezTo>
                    <a:cubicBezTo>
                      <a:pt x="24" y="23"/>
                      <a:pt x="24" y="22"/>
                      <a:pt x="24" y="21"/>
                    </a:cubicBezTo>
                    <a:cubicBezTo>
                      <a:pt x="24" y="19"/>
                      <a:pt x="22" y="18"/>
                      <a:pt x="22" y="18"/>
                    </a:cubicBezTo>
                    <a:cubicBezTo>
                      <a:pt x="22" y="18"/>
                      <a:pt x="19" y="17"/>
                      <a:pt x="22" y="15"/>
                    </a:cubicBezTo>
                    <a:cubicBezTo>
                      <a:pt x="25" y="12"/>
                      <a:pt x="21" y="14"/>
                      <a:pt x="21" y="12"/>
                    </a:cubicBezTo>
                    <a:cubicBezTo>
                      <a:pt x="22" y="10"/>
                      <a:pt x="25" y="8"/>
                      <a:pt x="23" y="7"/>
                    </a:cubicBezTo>
                    <a:cubicBezTo>
                      <a:pt x="21" y="6"/>
                      <a:pt x="22" y="4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3"/>
                      <a:pt x="10" y="3"/>
                      <a:pt x="9" y="2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5"/>
                      <a:pt x="6" y="7"/>
                    </a:cubicBezTo>
                    <a:cubicBezTo>
                      <a:pt x="5" y="9"/>
                      <a:pt x="8" y="8"/>
                      <a:pt x="8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1" y="12"/>
                      <a:pt x="10" y="14"/>
                    </a:cubicBezTo>
                    <a:cubicBezTo>
                      <a:pt x="10" y="17"/>
                      <a:pt x="8" y="20"/>
                      <a:pt x="6" y="20"/>
                    </a:cubicBezTo>
                    <a:cubicBezTo>
                      <a:pt x="5" y="20"/>
                      <a:pt x="0" y="21"/>
                      <a:pt x="0" y="23"/>
                    </a:cubicBezTo>
                    <a:cubicBezTo>
                      <a:pt x="1" y="25"/>
                      <a:pt x="3" y="27"/>
                      <a:pt x="3" y="2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0" name="Freeform 52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879513" y="3533775"/>
                <a:ext cx="104076" cy="87313"/>
              </a:xfrm>
              <a:custGeom>
                <a:avLst/>
                <a:gdLst>
                  <a:gd name="T0" fmla="*/ 0 w 26"/>
                  <a:gd name="T1" fmla="*/ 2147483647 h 23"/>
                  <a:gd name="T2" fmla="*/ 2147483647 w 26"/>
                  <a:gd name="T3" fmla="*/ 2147483647 h 23"/>
                  <a:gd name="T4" fmla="*/ 2147483647 w 26"/>
                  <a:gd name="T5" fmla="*/ 2147483647 h 23"/>
                  <a:gd name="T6" fmla="*/ 2147483647 w 26"/>
                  <a:gd name="T7" fmla="*/ 2147483647 h 23"/>
                  <a:gd name="T8" fmla="*/ 2147483647 w 26"/>
                  <a:gd name="T9" fmla="*/ 2147483647 h 23"/>
                  <a:gd name="T10" fmla="*/ 2147483647 w 26"/>
                  <a:gd name="T11" fmla="*/ 0 h 23"/>
                  <a:gd name="T12" fmla="*/ 2147483647 w 26"/>
                  <a:gd name="T13" fmla="*/ 2147483647 h 23"/>
                  <a:gd name="T14" fmla="*/ 2147483647 w 26"/>
                  <a:gd name="T15" fmla="*/ 2147483647 h 23"/>
                  <a:gd name="T16" fmla="*/ 2147483647 w 26"/>
                  <a:gd name="T17" fmla="*/ 2147483647 h 23"/>
                  <a:gd name="T18" fmla="*/ 2147483647 w 26"/>
                  <a:gd name="T19" fmla="*/ 2147483647 h 23"/>
                  <a:gd name="T20" fmla="*/ 2147483647 w 26"/>
                  <a:gd name="T21" fmla="*/ 2147483647 h 23"/>
                  <a:gd name="T22" fmla="*/ 2147483647 w 26"/>
                  <a:gd name="T23" fmla="*/ 2147483647 h 23"/>
                  <a:gd name="T24" fmla="*/ 2147483647 w 26"/>
                  <a:gd name="T25" fmla="*/ 2147483647 h 23"/>
                  <a:gd name="T26" fmla="*/ 2147483647 w 26"/>
                  <a:gd name="T27" fmla="*/ 2147483647 h 23"/>
                  <a:gd name="T28" fmla="*/ 2147483647 w 26"/>
                  <a:gd name="T29" fmla="*/ 2147483647 h 23"/>
                  <a:gd name="T30" fmla="*/ 2147483647 w 26"/>
                  <a:gd name="T31" fmla="*/ 2147483647 h 23"/>
                  <a:gd name="T32" fmla="*/ 0 w 26"/>
                  <a:gd name="T33" fmla="*/ 2147483647 h 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6"/>
                  <a:gd name="T52" fmla="*/ 0 h 23"/>
                  <a:gd name="T53" fmla="*/ 26 w 26"/>
                  <a:gd name="T54" fmla="*/ 23 h 2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6" h="23">
                    <a:moveTo>
                      <a:pt x="0" y="14"/>
                    </a:moveTo>
                    <a:cubicBezTo>
                      <a:pt x="0" y="14"/>
                      <a:pt x="1" y="11"/>
                      <a:pt x="2" y="11"/>
                    </a:cubicBezTo>
                    <a:cubicBezTo>
                      <a:pt x="4" y="10"/>
                      <a:pt x="1" y="8"/>
                      <a:pt x="2" y="8"/>
                    </a:cubicBezTo>
                    <a:cubicBezTo>
                      <a:pt x="3" y="8"/>
                      <a:pt x="4" y="6"/>
                      <a:pt x="6" y="5"/>
                    </a:cubicBezTo>
                    <a:cubicBezTo>
                      <a:pt x="8" y="4"/>
                      <a:pt x="9" y="1"/>
                      <a:pt x="9" y="1"/>
                    </a:cubicBezTo>
                    <a:cubicBezTo>
                      <a:pt x="9" y="1"/>
                      <a:pt x="16" y="0"/>
                      <a:pt x="17" y="0"/>
                    </a:cubicBezTo>
                    <a:cubicBezTo>
                      <a:pt x="19" y="1"/>
                      <a:pt x="21" y="1"/>
                      <a:pt x="21" y="2"/>
                    </a:cubicBezTo>
                    <a:cubicBezTo>
                      <a:pt x="22" y="3"/>
                      <a:pt x="22" y="6"/>
                      <a:pt x="22" y="6"/>
                    </a:cubicBezTo>
                    <a:cubicBezTo>
                      <a:pt x="22" y="6"/>
                      <a:pt x="23" y="9"/>
                      <a:pt x="24" y="10"/>
                    </a:cubicBezTo>
                    <a:cubicBezTo>
                      <a:pt x="25" y="11"/>
                      <a:pt x="26" y="14"/>
                      <a:pt x="26" y="14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0"/>
                      <a:pt x="15" y="23"/>
                      <a:pt x="14" y="18"/>
                    </a:cubicBezTo>
                    <a:cubicBezTo>
                      <a:pt x="13" y="14"/>
                      <a:pt x="14" y="14"/>
                      <a:pt x="12" y="13"/>
                    </a:cubicBezTo>
                    <a:cubicBezTo>
                      <a:pt x="10" y="13"/>
                      <a:pt x="10" y="14"/>
                      <a:pt x="8" y="16"/>
                    </a:cubicBezTo>
                    <a:cubicBezTo>
                      <a:pt x="6" y="18"/>
                      <a:pt x="3" y="17"/>
                      <a:pt x="2" y="16"/>
                    </a:cubicBezTo>
                    <a:cubicBezTo>
                      <a:pt x="1" y="15"/>
                      <a:pt x="0" y="14"/>
                      <a:pt x="0" y="1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1" name="Freeform 53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776903" y="3524250"/>
                <a:ext cx="194959" cy="250825"/>
              </a:xfrm>
              <a:custGeom>
                <a:avLst/>
                <a:gdLst>
                  <a:gd name="T0" fmla="*/ 2147483647 w 49"/>
                  <a:gd name="T1" fmla="*/ 2147483647 h 64"/>
                  <a:gd name="T2" fmla="*/ 2147483647 w 49"/>
                  <a:gd name="T3" fmla="*/ 2147483647 h 64"/>
                  <a:gd name="T4" fmla="*/ 2147483647 w 49"/>
                  <a:gd name="T5" fmla="*/ 2147483647 h 64"/>
                  <a:gd name="T6" fmla="*/ 2147483647 w 49"/>
                  <a:gd name="T7" fmla="*/ 2147483647 h 64"/>
                  <a:gd name="T8" fmla="*/ 2147483647 w 49"/>
                  <a:gd name="T9" fmla="*/ 2147483647 h 64"/>
                  <a:gd name="T10" fmla="*/ 2147483647 w 49"/>
                  <a:gd name="T11" fmla="*/ 2147483647 h 64"/>
                  <a:gd name="T12" fmla="*/ 2147483647 w 49"/>
                  <a:gd name="T13" fmla="*/ 2147483647 h 64"/>
                  <a:gd name="T14" fmla="*/ 2147483647 w 49"/>
                  <a:gd name="T15" fmla="*/ 2147483647 h 64"/>
                  <a:gd name="T16" fmla="*/ 2147483647 w 49"/>
                  <a:gd name="T17" fmla="*/ 2147483647 h 64"/>
                  <a:gd name="T18" fmla="*/ 2147483647 w 49"/>
                  <a:gd name="T19" fmla="*/ 2147483647 h 64"/>
                  <a:gd name="T20" fmla="*/ 2147483647 w 49"/>
                  <a:gd name="T21" fmla="*/ 2147483647 h 64"/>
                  <a:gd name="T22" fmla="*/ 2147483647 w 49"/>
                  <a:gd name="T23" fmla="*/ 2147483647 h 64"/>
                  <a:gd name="T24" fmla="*/ 2147483647 w 49"/>
                  <a:gd name="T25" fmla="*/ 2147483647 h 64"/>
                  <a:gd name="T26" fmla="*/ 2147483647 w 49"/>
                  <a:gd name="T27" fmla="*/ 2147483647 h 64"/>
                  <a:gd name="T28" fmla="*/ 2147483647 w 49"/>
                  <a:gd name="T29" fmla="*/ 2147483647 h 64"/>
                  <a:gd name="T30" fmla="*/ 2147483647 w 49"/>
                  <a:gd name="T31" fmla="*/ 2147483647 h 64"/>
                  <a:gd name="T32" fmla="*/ 2147483647 w 49"/>
                  <a:gd name="T33" fmla="*/ 2147483647 h 64"/>
                  <a:gd name="T34" fmla="*/ 2147483647 w 49"/>
                  <a:gd name="T35" fmla="*/ 2147483647 h 64"/>
                  <a:gd name="T36" fmla="*/ 2147483647 w 49"/>
                  <a:gd name="T37" fmla="*/ 2147483647 h 64"/>
                  <a:gd name="T38" fmla="*/ 2147483647 w 49"/>
                  <a:gd name="T39" fmla="*/ 2147483647 h 64"/>
                  <a:gd name="T40" fmla="*/ 2147483647 w 49"/>
                  <a:gd name="T41" fmla="*/ 2147483647 h 64"/>
                  <a:gd name="T42" fmla="*/ 2147483647 w 49"/>
                  <a:gd name="T43" fmla="*/ 2147483647 h 64"/>
                  <a:gd name="T44" fmla="*/ 2147483647 w 49"/>
                  <a:gd name="T45" fmla="*/ 2147483647 h 64"/>
                  <a:gd name="T46" fmla="*/ 2147483647 w 49"/>
                  <a:gd name="T47" fmla="*/ 2147483647 h 64"/>
                  <a:gd name="T48" fmla="*/ 2147483647 w 49"/>
                  <a:gd name="T49" fmla="*/ 2147483647 h 64"/>
                  <a:gd name="T50" fmla="*/ 2147483647 w 49"/>
                  <a:gd name="T51" fmla="*/ 2147483647 h 64"/>
                  <a:gd name="T52" fmla="*/ 2147483647 w 49"/>
                  <a:gd name="T53" fmla="*/ 2147483647 h 64"/>
                  <a:gd name="T54" fmla="*/ 2147483647 w 49"/>
                  <a:gd name="T55" fmla="*/ 2147483647 h 64"/>
                  <a:gd name="T56" fmla="*/ 2147483647 w 49"/>
                  <a:gd name="T57" fmla="*/ 2147483647 h 64"/>
                  <a:gd name="T58" fmla="*/ 2147483647 w 49"/>
                  <a:gd name="T59" fmla="*/ 2147483647 h 64"/>
                  <a:gd name="T60" fmla="*/ 2147483647 w 49"/>
                  <a:gd name="T61" fmla="*/ 2147483647 h 64"/>
                  <a:gd name="T62" fmla="*/ 2147483647 w 49"/>
                  <a:gd name="T63" fmla="*/ 2147483647 h 64"/>
                  <a:gd name="T64" fmla="*/ 2147483647 w 49"/>
                  <a:gd name="T65" fmla="*/ 2147483647 h 64"/>
                  <a:gd name="T66" fmla="*/ 2147483647 w 49"/>
                  <a:gd name="T67" fmla="*/ 2147483647 h 64"/>
                  <a:gd name="T68" fmla="*/ 2147483647 w 49"/>
                  <a:gd name="T69" fmla="*/ 2147483647 h 64"/>
                  <a:gd name="T70" fmla="*/ 2147483647 w 49"/>
                  <a:gd name="T71" fmla="*/ 2147483647 h 64"/>
                  <a:gd name="T72" fmla="*/ 2147483647 w 49"/>
                  <a:gd name="T73" fmla="*/ 2147483647 h 64"/>
                  <a:gd name="T74" fmla="*/ 2147483647 w 49"/>
                  <a:gd name="T75" fmla="*/ 2147483647 h 64"/>
                  <a:gd name="T76" fmla="*/ 2147483647 w 49"/>
                  <a:gd name="T77" fmla="*/ 2147483647 h 64"/>
                  <a:gd name="T78" fmla="*/ 2147483647 w 49"/>
                  <a:gd name="T79" fmla="*/ 2147483647 h 64"/>
                  <a:gd name="T80" fmla="*/ 2147483647 w 49"/>
                  <a:gd name="T81" fmla="*/ 2147483647 h 64"/>
                  <a:gd name="T82" fmla="*/ 2147483647 w 49"/>
                  <a:gd name="T83" fmla="*/ 2147483647 h 64"/>
                  <a:gd name="T84" fmla="*/ 2147483647 w 49"/>
                  <a:gd name="T85" fmla="*/ 2147483647 h 64"/>
                  <a:gd name="T86" fmla="*/ 2147483647 w 49"/>
                  <a:gd name="T87" fmla="*/ 2147483647 h 64"/>
                  <a:gd name="T88" fmla="*/ 2147483647 w 49"/>
                  <a:gd name="T89" fmla="*/ 2147483647 h 64"/>
                  <a:gd name="T90" fmla="*/ 2147483647 w 49"/>
                  <a:gd name="T91" fmla="*/ 2147483647 h 64"/>
                  <a:gd name="T92" fmla="*/ 2147483647 w 49"/>
                  <a:gd name="T93" fmla="*/ 2147483647 h 64"/>
                  <a:gd name="T94" fmla="*/ 2147483647 w 49"/>
                  <a:gd name="T95" fmla="*/ 2147483647 h 6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9"/>
                  <a:gd name="T145" fmla="*/ 0 h 64"/>
                  <a:gd name="T146" fmla="*/ 49 w 49"/>
                  <a:gd name="T147" fmla="*/ 64 h 6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9" h="64">
                    <a:moveTo>
                      <a:pt x="46" y="35"/>
                    </a:moveTo>
                    <a:cubicBezTo>
                      <a:pt x="45" y="33"/>
                      <a:pt x="44" y="26"/>
                      <a:pt x="44" y="26"/>
                    </a:cubicBezTo>
                    <a:cubicBezTo>
                      <a:pt x="44" y="26"/>
                      <a:pt x="44" y="24"/>
                      <a:pt x="44" y="22"/>
                    </a:cubicBezTo>
                    <a:cubicBezTo>
                      <a:pt x="44" y="22"/>
                      <a:pt x="44" y="22"/>
                      <a:pt x="44" y="22"/>
                    </a:cubicBezTo>
                    <a:cubicBezTo>
                      <a:pt x="44" y="22"/>
                      <a:pt x="41" y="25"/>
                      <a:pt x="40" y="20"/>
                    </a:cubicBezTo>
                    <a:cubicBezTo>
                      <a:pt x="39" y="16"/>
                      <a:pt x="40" y="16"/>
                      <a:pt x="38" y="15"/>
                    </a:cubicBezTo>
                    <a:cubicBezTo>
                      <a:pt x="36" y="15"/>
                      <a:pt x="36" y="16"/>
                      <a:pt x="34" y="18"/>
                    </a:cubicBezTo>
                    <a:cubicBezTo>
                      <a:pt x="32" y="20"/>
                      <a:pt x="29" y="19"/>
                      <a:pt x="28" y="18"/>
                    </a:cubicBezTo>
                    <a:cubicBezTo>
                      <a:pt x="27" y="17"/>
                      <a:pt x="26" y="16"/>
                      <a:pt x="26" y="16"/>
                    </a:cubicBezTo>
                    <a:cubicBezTo>
                      <a:pt x="26" y="16"/>
                      <a:pt x="27" y="13"/>
                      <a:pt x="28" y="13"/>
                    </a:cubicBezTo>
                    <a:cubicBezTo>
                      <a:pt x="30" y="12"/>
                      <a:pt x="27" y="10"/>
                      <a:pt x="28" y="10"/>
                    </a:cubicBezTo>
                    <a:cubicBezTo>
                      <a:pt x="29" y="10"/>
                      <a:pt x="30" y="8"/>
                      <a:pt x="32" y="7"/>
                    </a:cubicBezTo>
                    <a:cubicBezTo>
                      <a:pt x="34" y="6"/>
                      <a:pt x="35" y="3"/>
                      <a:pt x="35" y="3"/>
                    </a:cubicBezTo>
                    <a:cubicBezTo>
                      <a:pt x="35" y="3"/>
                      <a:pt x="36" y="3"/>
                      <a:pt x="37" y="3"/>
                    </a:cubicBezTo>
                    <a:cubicBezTo>
                      <a:pt x="36" y="2"/>
                      <a:pt x="35" y="1"/>
                      <a:pt x="35" y="1"/>
                    </a:cubicBezTo>
                    <a:cubicBezTo>
                      <a:pt x="34" y="0"/>
                      <a:pt x="29" y="1"/>
                      <a:pt x="27" y="1"/>
                    </a:cubicBezTo>
                    <a:cubicBezTo>
                      <a:pt x="26" y="1"/>
                      <a:pt x="24" y="4"/>
                      <a:pt x="23" y="5"/>
                    </a:cubicBezTo>
                    <a:cubicBezTo>
                      <a:pt x="21" y="6"/>
                      <a:pt x="23" y="10"/>
                      <a:pt x="23" y="10"/>
                    </a:cubicBezTo>
                    <a:cubicBezTo>
                      <a:pt x="23" y="10"/>
                      <a:pt x="24" y="14"/>
                      <a:pt x="23" y="15"/>
                    </a:cubicBezTo>
                    <a:cubicBezTo>
                      <a:pt x="22" y="15"/>
                      <a:pt x="19" y="18"/>
                      <a:pt x="18" y="17"/>
                    </a:cubicBezTo>
                    <a:cubicBezTo>
                      <a:pt x="16" y="17"/>
                      <a:pt x="13" y="17"/>
                      <a:pt x="11" y="16"/>
                    </a:cubicBezTo>
                    <a:cubicBezTo>
                      <a:pt x="10" y="15"/>
                      <a:pt x="9" y="18"/>
                      <a:pt x="7" y="18"/>
                    </a:cubicBezTo>
                    <a:cubicBezTo>
                      <a:pt x="5" y="17"/>
                      <a:pt x="5" y="21"/>
                      <a:pt x="6" y="23"/>
                    </a:cubicBezTo>
                    <a:cubicBezTo>
                      <a:pt x="8" y="25"/>
                      <a:pt x="11" y="25"/>
                      <a:pt x="11" y="25"/>
                    </a:cubicBezTo>
                    <a:cubicBezTo>
                      <a:pt x="11" y="25"/>
                      <a:pt x="9" y="28"/>
                      <a:pt x="8" y="28"/>
                    </a:cubicBezTo>
                    <a:cubicBezTo>
                      <a:pt x="6" y="28"/>
                      <a:pt x="6" y="31"/>
                      <a:pt x="6" y="32"/>
                    </a:cubicBezTo>
                    <a:cubicBezTo>
                      <a:pt x="6" y="33"/>
                      <a:pt x="10" y="35"/>
                      <a:pt x="12" y="35"/>
                    </a:cubicBezTo>
                    <a:cubicBezTo>
                      <a:pt x="14" y="35"/>
                      <a:pt x="14" y="35"/>
                      <a:pt x="17" y="33"/>
                    </a:cubicBezTo>
                    <a:cubicBezTo>
                      <a:pt x="21" y="32"/>
                      <a:pt x="15" y="36"/>
                      <a:pt x="14" y="37"/>
                    </a:cubicBezTo>
                    <a:cubicBezTo>
                      <a:pt x="13" y="38"/>
                      <a:pt x="11" y="42"/>
                      <a:pt x="11" y="42"/>
                    </a:cubicBezTo>
                    <a:cubicBezTo>
                      <a:pt x="16" y="44"/>
                      <a:pt x="16" y="44"/>
                      <a:pt x="16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49"/>
                      <a:pt x="6" y="51"/>
                      <a:pt x="3" y="51"/>
                    </a:cubicBezTo>
                    <a:cubicBezTo>
                      <a:pt x="0" y="52"/>
                      <a:pt x="8" y="53"/>
                      <a:pt x="8" y="53"/>
                    </a:cubicBezTo>
                    <a:cubicBezTo>
                      <a:pt x="8" y="53"/>
                      <a:pt x="3" y="54"/>
                      <a:pt x="4" y="57"/>
                    </a:cubicBezTo>
                    <a:cubicBezTo>
                      <a:pt x="5" y="60"/>
                      <a:pt x="5" y="58"/>
                      <a:pt x="7" y="58"/>
                    </a:cubicBezTo>
                    <a:cubicBezTo>
                      <a:pt x="10" y="58"/>
                      <a:pt x="6" y="59"/>
                      <a:pt x="6" y="61"/>
                    </a:cubicBezTo>
                    <a:cubicBezTo>
                      <a:pt x="6" y="64"/>
                      <a:pt x="9" y="60"/>
                      <a:pt x="10" y="60"/>
                    </a:cubicBezTo>
                    <a:cubicBezTo>
                      <a:pt x="11" y="60"/>
                      <a:pt x="9" y="63"/>
                      <a:pt x="9" y="63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62"/>
                      <a:pt x="22" y="62"/>
                      <a:pt x="25" y="60"/>
                    </a:cubicBezTo>
                    <a:cubicBezTo>
                      <a:pt x="27" y="59"/>
                      <a:pt x="26" y="57"/>
                      <a:pt x="26" y="57"/>
                    </a:cubicBezTo>
                    <a:cubicBezTo>
                      <a:pt x="26" y="57"/>
                      <a:pt x="33" y="52"/>
                      <a:pt x="34" y="53"/>
                    </a:cubicBezTo>
                    <a:cubicBezTo>
                      <a:pt x="36" y="53"/>
                      <a:pt x="43" y="51"/>
                      <a:pt x="43" y="51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5"/>
                      <a:pt x="45" y="44"/>
                      <a:pt x="47" y="40"/>
                    </a:cubicBezTo>
                    <a:cubicBezTo>
                      <a:pt x="49" y="35"/>
                      <a:pt x="46" y="36"/>
                      <a:pt x="46" y="3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2" name="Freeform 54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1002998" y="3787776"/>
                <a:ext cx="511584" cy="498475"/>
              </a:xfrm>
              <a:custGeom>
                <a:avLst/>
                <a:gdLst>
                  <a:gd name="T0" fmla="*/ 2147483647 w 130"/>
                  <a:gd name="T1" fmla="*/ 2147483647 h 127"/>
                  <a:gd name="T2" fmla="*/ 2147483647 w 130"/>
                  <a:gd name="T3" fmla="*/ 2147483647 h 127"/>
                  <a:gd name="T4" fmla="*/ 2147483647 w 130"/>
                  <a:gd name="T5" fmla="*/ 2147483647 h 127"/>
                  <a:gd name="T6" fmla="*/ 2147483647 w 130"/>
                  <a:gd name="T7" fmla="*/ 2147483647 h 127"/>
                  <a:gd name="T8" fmla="*/ 2147483647 w 130"/>
                  <a:gd name="T9" fmla="*/ 2147483647 h 127"/>
                  <a:gd name="T10" fmla="*/ 2147483647 w 130"/>
                  <a:gd name="T11" fmla="*/ 2147483647 h 127"/>
                  <a:gd name="T12" fmla="*/ 2147483647 w 130"/>
                  <a:gd name="T13" fmla="*/ 2147483647 h 127"/>
                  <a:gd name="T14" fmla="*/ 2147483647 w 130"/>
                  <a:gd name="T15" fmla="*/ 2147483647 h 127"/>
                  <a:gd name="T16" fmla="*/ 2147483647 w 130"/>
                  <a:gd name="T17" fmla="*/ 2147483647 h 127"/>
                  <a:gd name="T18" fmla="*/ 2147483647 w 130"/>
                  <a:gd name="T19" fmla="*/ 2147483647 h 127"/>
                  <a:gd name="T20" fmla="*/ 2147483647 w 130"/>
                  <a:gd name="T21" fmla="*/ 2147483647 h 127"/>
                  <a:gd name="T22" fmla="*/ 2147483647 w 130"/>
                  <a:gd name="T23" fmla="*/ 2147483647 h 127"/>
                  <a:gd name="T24" fmla="*/ 2147483647 w 130"/>
                  <a:gd name="T25" fmla="*/ 2147483647 h 127"/>
                  <a:gd name="T26" fmla="*/ 2147483647 w 130"/>
                  <a:gd name="T27" fmla="*/ 2147483647 h 127"/>
                  <a:gd name="T28" fmla="*/ 2147483647 w 130"/>
                  <a:gd name="T29" fmla="*/ 2147483647 h 127"/>
                  <a:gd name="T30" fmla="*/ 2147483647 w 130"/>
                  <a:gd name="T31" fmla="*/ 2147483647 h 127"/>
                  <a:gd name="T32" fmla="*/ 2147483647 w 130"/>
                  <a:gd name="T33" fmla="*/ 2147483647 h 127"/>
                  <a:gd name="T34" fmla="*/ 2147483647 w 130"/>
                  <a:gd name="T35" fmla="*/ 2147483647 h 127"/>
                  <a:gd name="T36" fmla="*/ 2147483647 w 130"/>
                  <a:gd name="T37" fmla="*/ 2147483647 h 127"/>
                  <a:gd name="T38" fmla="*/ 2147483647 w 130"/>
                  <a:gd name="T39" fmla="*/ 2147483647 h 127"/>
                  <a:gd name="T40" fmla="*/ 2147483647 w 130"/>
                  <a:gd name="T41" fmla="*/ 2147483647 h 127"/>
                  <a:gd name="T42" fmla="*/ 2147483647 w 130"/>
                  <a:gd name="T43" fmla="*/ 2147483647 h 127"/>
                  <a:gd name="T44" fmla="*/ 2147483647 w 130"/>
                  <a:gd name="T45" fmla="*/ 2147483647 h 127"/>
                  <a:gd name="T46" fmla="*/ 2147483647 w 130"/>
                  <a:gd name="T47" fmla="*/ 2147483647 h 127"/>
                  <a:gd name="T48" fmla="*/ 2147483647 w 130"/>
                  <a:gd name="T49" fmla="*/ 2147483647 h 127"/>
                  <a:gd name="T50" fmla="*/ 2147483647 w 130"/>
                  <a:gd name="T51" fmla="*/ 2147483647 h 127"/>
                  <a:gd name="T52" fmla="*/ 2147483647 w 130"/>
                  <a:gd name="T53" fmla="*/ 2147483647 h 127"/>
                  <a:gd name="T54" fmla="*/ 2147483647 w 130"/>
                  <a:gd name="T55" fmla="*/ 2147483647 h 127"/>
                  <a:gd name="T56" fmla="*/ 2147483647 w 130"/>
                  <a:gd name="T57" fmla="*/ 2147483647 h 127"/>
                  <a:gd name="T58" fmla="*/ 2147483647 w 130"/>
                  <a:gd name="T59" fmla="*/ 2147483647 h 127"/>
                  <a:gd name="T60" fmla="*/ 2147483647 w 130"/>
                  <a:gd name="T61" fmla="*/ 2147483647 h 127"/>
                  <a:gd name="T62" fmla="*/ 2147483647 w 130"/>
                  <a:gd name="T63" fmla="*/ 2147483647 h 127"/>
                  <a:gd name="T64" fmla="*/ 2147483647 w 130"/>
                  <a:gd name="T65" fmla="*/ 2147483647 h 127"/>
                  <a:gd name="T66" fmla="*/ 2147483647 w 130"/>
                  <a:gd name="T67" fmla="*/ 2147483647 h 127"/>
                  <a:gd name="T68" fmla="*/ 2147483647 w 130"/>
                  <a:gd name="T69" fmla="*/ 2147483647 h 127"/>
                  <a:gd name="T70" fmla="*/ 2147483647 w 130"/>
                  <a:gd name="T71" fmla="*/ 2147483647 h 127"/>
                  <a:gd name="T72" fmla="*/ 2147483647 w 130"/>
                  <a:gd name="T73" fmla="*/ 2147483647 h 127"/>
                  <a:gd name="T74" fmla="*/ 2147483647 w 130"/>
                  <a:gd name="T75" fmla="*/ 2147483647 h 127"/>
                  <a:gd name="T76" fmla="*/ 2147483647 w 130"/>
                  <a:gd name="T77" fmla="*/ 2147483647 h 127"/>
                  <a:gd name="T78" fmla="*/ 2147483647 w 130"/>
                  <a:gd name="T79" fmla="*/ 2147483647 h 127"/>
                  <a:gd name="T80" fmla="*/ 2147483647 w 130"/>
                  <a:gd name="T81" fmla="*/ 2147483647 h 127"/>
                  <a:gd name="T82" fmla="*/ 2147483647 w 130"/>
                  <a:gd name="T83" fmla="*/ 2147483647 h 12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0"/>
                  <a:gd name="T127" fmla="*/ 0 h 127"/>
                  <a:gd name="T128" fmla="*/ 130 w 130"/>
                  <a:gd name="T129" fmla="*/ 127 h 12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0" h="127">
                    <a:moveTo>
                      <a:pt x="124" y="54"/>
                    </a:moveTo>
                    <a:cubicBezTo>
                      <a:pt x="124" y="52"/>
                      <a:pt x="123" y="48"/>
                      <a:pt x="124" y="46"/>
                    </a:cubicBezTo>
                    <a:cubicBezTo>
                      <a:pt x="125" y="43"/>
                      <a:pt x="127" y="39"/>
                      <a:pt x="128" y="38"/>
                    </a:cubicBezTo>
                    <a:cubicBezTo>
                      <a:pt x="129" y="36"/>
                      <a:pt x="130" y="34"/>
                      <a:pt x="128" y="34"/>
                    </a:cubicBezTo>
                    <a:cubicBezTo>
                      <a:pt x="126" y="34"/>
                      <a:pt x="124" y="34"/>
                      <a:pt x="123" y="33"/>
                    </a:cubicBezTo>
                    <a:cubicBezTo>
                      <a:pt x="122" y="32"/>
                      <a:pt x="119" y="32"/>
                      <a:pt x="118" y="32"/>
                    </a:cubicBezTo>
                    <a:cubicBezTo>
                      <a:pt x="117" y="32"/>
                      <a:pt x="115" y="31"/>
                      <a:pt x="115" y="31"/>
                    </a:cubicBezTo>
                    <a:cubicBezTo>
                      <a:pt x="115" y="31"/>
                      <a:pt x="113" y="27"/>
                      <a:pt x="112" y="27"/>
                    </a:cubicBezTo>
                    <a:cubicBezTo>
                      <a:pt x="108" y="29"/>
                      <a:pt x="108" y="26"/>
                      <a:pt x="107" y="26"/>
                    </a:cubicBezTo>
                    <a:cubicBezTo>
                      <a:pt x="106" y="25"/>
                      <a:pt x="104" y="27"/>
                      <a:pt x="103" y="26"/>
                    </a:cubicBezTo>
                    <a:cubicBezTo>
                      <a:pt x="102" y="25"/>
                      <a:pt x="100" y="22"/>
                      <a:pt x="99" y="21"/>
                    </a:cubicBezTo>
                    <a:cubicBezTo>
                      <a:pt x="97" y="21"/>
                      <a:pt x="97" y="17"/>
                      <a:pt x="97" y="17"/>
                    </a:cubicBezTo>
                    <a:cubicBezTo>
                      <a:pt x="97" y="17"/>
                      <a:pt x="95" y="19"/>
                      <a:pt x="94" y="19"/>
                    </a:cubicBezTo>
                    <a:cubicBezTo>
                      <a:pt x="93" y="19"/>
                      <a:pt x="91" y="19"/>
                      <a:pt x="91" y="18"/>
                    </a:cubicBezTo>
                    <a:cubicBezTo>
                      <a:pt x="91" y="17"/>
                      <a:pt x="89" y="15"/>
                      <a:pt x="87" y="14"/>
                    </a:cubicBezTo>
                    <a:cubicBezTo>
                      <a:pt x="85" y="14"/>
                      <a:pt x="85" y="12"/>
                      <a:pt x="83" y="12"/>
                    </a:cubicBezTo>
                    <a:cubicBezTo>
                      <a:pt x="82" y="11"/>
                      <a:pt x="82" y="7"/>
                      <a:pt x="80" y="7"/>
                    </a:cubicBezTo>
                    <a:cubicBezTo>
                      <a:pt x="77" y="7"/>
                      <a:pt x="81" y="12"/>
                      <a:pt x="76" y="6"/>
                    </a:cubicBezTo>
                    <a:cubicBezTo>
                      <a:pt x="71" y="0"/>
                      <a:pt x="73" y="2"/>
                      <a:pt x="73" y="2"/>
                    </a:cubicBezTo>
                    <a:cubicBezTo>
                      <a:pt x="73" y="2"/>
                      <a:pt x="66" y="5"/>
                      <a:pt x="65" y="7"/>
                    </a:cubicBezTo>
                    <a:cubicBezTo>
                      <a:pt x="65" y="9"/>
                      <a:pt x="63" y="17"/>
                      <a:pt x="62" y="18"/>
                    </a:cubicBezTo>
                    <a:cubicBezTo>
                      <a:pt x="60" y="19"/>
                      <a:pt x="54" y="22"/>
                      <a:pt x="52" y="23"/>
                    </a:cubicBezTo>
                    <a:cubicBezTo>
                      <a:pt x="50" y="23"/>
                      <a:pt x="50" y="27"/>
                      <a:pt x="49" y="28"/>
                    </a:cubicBezTo>
                    <a:cubicBezTo>
                      <a:pt x="48" y="29"/>
                      <a:pt x="39" y="29"/>
                      <a:pt x="38" y="29"/>
                    </a:cubicBezTo>
                    <a:cubicBezTo>
                      <a:pt x="37" y="30"/>
                      <a:pt x="37" y="24"/>
                      <a:pt x="36" y="23"/>
                    </a:cubicBezTo>
                    <a:cubicBezTo>
                      <a:pt x="35" y="22"/>
                      <a:pt x="31" y="23"/>
                      <a:pt x="31" y="23"/>
                    </a:cubicBezTo>
                    <a:cubicBezTo>
                      <a:pt x="31" y="23"/>
                      <a:pt x="32" y="28"/>
                      <a:pt x="33" y="31"/>
                    </a:cubicBezTo>
                    <a:cubicBezTo>
                      <a:pt x="33" y="34"/>
                      <a:pt x="34" y="34"/>
                      <a:pt x="36" y="39"/>
                    </a:cubicBezTo>
                    <a:cubicBezTo>
                      <a:pt x="38" y="43"/>
                      <a:pt x="33" y="40"/>
                      <a:pt x="31" y="39"/>
                    </a:cubicBezTo>
                    <a:cubicBezTo>
                      <a:pt x="30" y="39"/>
                      <a:pt x="26" y="39"/>
                      <a:pt x="24" y="40"/>
                    </a:cubicBezTo>
                    <a:cubicBezTo>
                      <a:pt x="23" y="42"/>
                      <a:pt x="21" y="39"/>
                      <a:pt x="20" y="37"/>
                    </a:cubicBezTo>
                    <a:cubicBezTo>
                      <a:pt x="19" y="36"/>
                      <a:pt x="19" y="37"/>
                      <a:pt x="16" y="37"/>
                    </a:cubicBezTo>
                    <a:cubicBezTo>
                      <a:pt x="12" y="37"/>
                      <a:pt x="15" y="38"/>
                      <a:pt x="15" y="38"/>
                    </a:cubicBezTo>
                    <a:cubicBezTo>
                      <a:pt x="15" y="38"/>
                      <a:pt x="10" y="38"/>
                      <a:pt x="8" y="40"/>
                    </a:cubicBezTo>
                    <a:cubicBezTo>
                      <a:pt x="6" y="41"/>
                      <a:pt x="6" y="39"/>
                      <a:pt x="3" y="40"/>
                    </a:cubicBezTo>
                    <a:cubicBezTo>
                      <a:pt x="0" y="41"/>
                      <a:pt x="3" y="43"/>
                      <a:pt x="4" y="44"/>
                    </a:cubicBezTo>
                    <a:cubicBezTo>
                      <a:pt x="5" y="45"/>
                      <a:pt x="6" y="46"/>
                      <a:pt x="6" y="46"/>
                    </a:cubicBezTo>
                    <a:cubicBezTo>
                      <a:pt x="6" y="46"/>
                      <a:pt x="2" y="48"/>
                      <a:pt x="4" y="48"/>
                    </a:cubicBezTo>
                    <a:cubicBezTo>
                      <a:pt x="5" y="49"/>
                      <a:pt x="7" y="51"/>
                      <a:pt x="9" y="51"/>
                    </a:cubicBezTo>
                    <a:cubicBezTo>
                      <a:pt x="10" y="51"/>
                      <a:pt x="10" y="51"/>
                      <a:pt x="18" y="55"/>
                    </a:cubicBezTo>
                    <a:cubicBezTo>
                      <a:pt x="22" y="57"/>
                      <a:pt x="23" y="57"/>
                      <a:pt x="23" y="57"/>
                    </a:cubicBezTo>
                    <a:cubicBezTo>
                      <a:pt x="24" y="58"/>
                      <a:pt x="28" y="60"/>
                      <a:pt x="29" y="60"/>
                    </a:cubicBezTo>
                    <a:cubicBezTo>
                      <a:pt x="30" y="60"/>
                      <a:pt x="30" y="63"/>
                      <a:pt x="29" y="64"/>
                    </a:cubicBezTo>
                    <a:cubicBezTo>
                      <a:pt x="28" y="65"/>
                      <a:pt x="32" y="71"/>
                      <a:pt x="34" y="71"/>
                    </a:cubicBezTo>
                    <a:cubicBezTo>
                      <a:pt x="35" y="72"/>
                      <a:pt x="39" y="74"/>
                      <a:pt x="38" y="76"/>
                    </a:cubicBezTo>
                    <a:cubicBezTo>
                      <a:pt x="38" y="78"/>
                      <a:pt x="37" y="80"/>
                      <a:pt x="38" y="82"/>
                    </a:cubicBezTo>
                    <a:cubicBezTo>
                      <a:pt x="39" y="83"/>
                      <a:pt x="42" y="87"/>
                      <a:pt x="42" y="87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5"/>
                      <a:pt x="37" y="88"/>
                    </a:cubicBezTo>
                    <a:cubicBezTo>
                      <a:pt x="37" y="91"/>
                      <a:pt x="37" y="101"/>
                      <a:pt x="36" y="105"/>
                    </a:cubicBezTo>
                    <a:cubicBezTo>
                      <a:pt x="35" y="110"/>
                      <a:pt x="32" y="114"/>
                      <a:pt x="32" y="114"/>
                    </a:cubicBezTo>
                    <a:cubicBezTo>
                      <a:pt x="34" y="114"/>
                      <a:pt x="37" y="117"/>
                      <a:pt x="37" y="117"/>
                    </a:cubicBezTo>
                    <a:cubicBezTo>
                      <a:pt x="42" y="120"/>
                      <a:pt x="42" y="120"/>
                      <a:pt x="42" y="120"/>
                    </a:cubicBezTo>
                    <a:cubicBezTo>
                      <a:pt x="42" y="120"/>
                      <a:pt x="46" y="121"/>
                      <a:pt x="48" y="122"/>
                    </a:cubicBezTo>
                    <a:cubicBezTo>
                      <a:pt x="49" y="124"/>
                      <a:pt x="56" y="122"/>
                      <a:pt x="56" y="122"/>
                    </a:cubicBezTo>
                    <a:cubicBezTo>
                      <a:pt x="58" y="120"/>
                      <a:pt x="58" y="120"/>
                      <a:pt x="58" y="120"/>
                    </a:cubicBezTo>
                    <a:cubicBezTo>
                      <a:pt x="58" y="120"/>
                      <a:pt x="63" y="122"/>
                      <a:pt x="65" y="124"/>
                    </a:cubicBezTo>
                    <a:cubicBezTo>
                      <a:pt x="67" y="125"/>
                      <a:pt x="69" y="126"/>
                      <a:pt x="70" y="127"/>
                    </a:cubicBezTo>
                    <a:cubicBezTo>
                      <a:pt x="71" y="127"/>
                      <a:pt x="73" y="126"/>
                      <a:pt x="74" y="127"/>
                    </a:cubicBezTo>
                    <a:cubicBezTo>
                      <a:pt x="75" y="127"/>
                      <a:pt x="79" y="126"/>
                      <a:pt x="79" y="126"/>
                    </a:cubicBezTo>
                    <a:cubicBezTo>
                      <a:pt x="79" y="126"/>
                      <a:pt x="79" y="121"/>
                      <a:pt x="80" y="119"/>
                    </a:cubicBezTo>
                    <a:cubicBezTo>
                      <a:pt x="80" y="118"/>
                      <a:pt x="83" y="115"/>
                      <a:pt x="85" y="114"/>
                    </a:cubicBezTo>
                    <a:cubicBezTo>
                      <a:pt x="87" y="113"/>
                      <a:pt x="94" y="112"/>
                      <a:pt x="96" y="113"/>
                    </a:cubicBezTo>
                    <a:cubicBezTo>
                      <a:pt x="98" y="113"/>
                      <a:pt x="105" y="116"/>
                      <a:pt x="106" y="117"/>
                    </a:cubicBezTo>
                    <a:cubicBezTo>
                      <a:pt x="107" y="118"/>
                      <a:pt x="108" y="120"/>
                      <a:pt x="112" y="119"/>
                    </a:cubicBezTo>
                    <a:cubicBezTo>
                      <a:pt x="116" y="118"/>
                      <a:pt x="114" y="117"/>
                      <a:pt x="116" y="114"/>
                    </a:cubicBezTo>
                    <a:cubicBezTo>
                      <a:pt x="118" y="112"/>
                      <a:pt x="123" y="108"/>
                      <a:pt x="123" y="108"/>
                    </a:cubicBezTo>
                    <a:cubicBezTo>
                      <a:pt x="124" y="108"/>
                      <a:pt x="124" y="108"/>
                      <a:pt x="124" y="108"/>
                    </a:cubicBezTo>
                    <a:cubicBezTo>
                      <a:pt x="124" y="106"/>
                      <a:pt x="125" y="105"/>
                      <a:pt x="125" y="104"/>
                    </a:cubicBezTo>
                    <a:cubicBezTo>
                      <a:pt x="125" y="103"/>
                      <a:pt x="123" y="103"/>
                      <a:pt x="121" y="103"/>
                    </a:cubicBezTo>
                    <a:cubicBezTo>
                      <a:pt x="119" y="103"/>
                      <a:pt x="118" y="101"/>
                      <a:pt x="117" y="99"/>
                    </a:cubicBezTo>
                    <a:cubicBezTo>
                      <a:pt x="116" y="97"/>
                      <a:pt x="117" y="96"/>
                      <a:pt x="118" y="95"/>
                    </a:cubicBezTo>
                    <a:cubicBezTo>
                      <a:pt x="119" y="93"/>
                      <a:pt x="117" y="94"/>
                      <a:pt x="115" y="92"/>
                    </a:cubicBezTo>
                    <a:cubicBezTo>
                      <a:pt x="114" y="90"/>
                      <a:pt x="118" y="89"/>
                      <a:pt x="119" y="88"/>
                    </a:cubicBezTo>
                    <a:cubicBezTo>
                      <a:pt x="120" y="87"/>
                      <a:pt x="118" y="85"/>
                      <a:pt x="117" y="82"/>
                    </a:cubicBezTo>
                    <a:cubicBezTo>
                      <a:pt x="116" y="80"/>
                      <a:pt x="119" y="80"/>
                      <a:pt x="119" y="80"/>
                    </a:cubicBezTo>
                    <a:cubicBezTo>
                      <a:pt x="119" y="80"/>
                      <a:pt x="117" y="78"/>
                      <a:pt x="116" y="75"/>
                    </a:cubicBezTo>
                    <a:cubicBezTo>
                      <a:pt x="115" y="73"/>
                      <a:pt x="116" y="70"/>
                      <a:pt x="115" y="71"/>
                    </a:cubicBezTo>
                    <a:cubicBezTo>
                      <a:pt x="114" y="71"/>
                      <a:pt x="111" y="71"/>
                      <a:pt x="111" y="73"/>
                    </a:cubicBezTo>
                    <a:cubicBezTo>
                      <a:pt x="110" y="75"/>
                      <a:pt x="108" y="71"/>
                      <a:pt x="110" y="69"/>
                    </a:cubicBezTo>
                    <a:cubicBezTo>
                      <a:pt x="112" y="67"/>
                      <a:pt x="114" y="62"/>
                      <a:pt x="116" y="62"/>
                    </a:cubicBezTo>
                    <a:cubicBezTo>
                      <a:pt x="118" y="61"/>
                      <a:pt x="118" y="59"/>
                      <a:pt x="118" y="59"/>
                    </a:cubicBezTo>
                    <a:cubicBezTo>
                      <a:pt x="118" y="59"/>
                      <a:pt x="116" y="56"/>
                      <a:pt x="118" y="56"/>
                    </a:cubicBezTo>
                    <a:cubicBezTo>
                      <a:pt x="120" y="56"/>
                      <a:pt x="120" y="58"/>
                      <a:pt x="123" y="57"/>
                    </a:cubicBezTo>
                    <a:cubicBezTo>
                      <a:pt x="125" y="56"/>
                      <a:pt x="124" y="54"/>
                      <a:pt x="124" y="5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3" name="Freeform 55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1424811" y="3999296"/>
                <a:ext cx="178834" cy="107950"/>
              </a:xfrm>
              <a:custGeom>
                <a:avLst/>
                <a:gdLst>
                  <a:gd name="T0" fmla="*/ 2147483647 w 45"/>
                  <a:gd name="T1" fmla="*/ 2147483647 h 28"/>
                  <a:gd name="T2" fmla="*/ 2147483647 w 45"/>
                  <a:gd name="T3" fmla="*/ 2147483647 h 28"/>
                  <a:gd name="T4" fmla="*/ 2147483647 w 45"/>
                  <a:gd name="T5" fmla="*/ 2147483647 h 28"/>
                  <a:gd name="T6" fmla="*/ 2147483647 w 45"/>
                  <a:gd name="T7" fmla="*/ 2147483647 h 28"/>
                  <a:gd name="T8" fmla="*/ 2147483647 w 45"/>
                  <a:gd name="T9" fmla="*/ 2147483647 h 28"/>
                  <a:gd name="T10" fmla="*/ 2147483647 w 45"/>
                  <a:gd name="T11" fmla="*/ 2147483647 h 28"/>
                  <a:gd name="T12" fmla="*/ 2147483647 w 45"/>
                  <a:gd name="T13" fmla="*/ 2147483647 h 28"/>
                  <a:gd name="T14" fmla="*/ 2147483647 w 45"/>
                  <a:gd name="T15" fmla="*/ 0 h 28"/>
                  <a:gd name="T16" fmla="*/ 2147483647 w 45"/>
                  <a:gd name="T17" fmla="*/ 2147483647 h 28"/>
                  <a:gd name="T18" fmla="*/ 2147483647 w 45"/>
                  <a:gd name="T19" fmla="*/ 2147483647 h 28"/>
                  <a:gd name="T20" fmla="*/ 2147483647 w 45"/>
                  <a:gd name="T21" fmla="*/ 2147483647 h 28"/>
                  <a:gd name="T22" fmla="*/ 2147483647 w 45"/>
                  <a:gd name="T23" fmla="*/ 2147483647 h 28"/>
                  <a:gd name="T24" fmla="*/ 2147483647 w 45"/>
                  <a:gd name="T25" fmla="*/ 2147483647 h 28"/>
                  <a:gd name="T26" fmla="*/ 2147483647 w 45"/>
                  <a:gd name="T27" fmla="*/ 2147483647 h 28"/>
                  <a:gd name="T28" fmla="*/ 2147483647 w 45"/>
                  <a:gd name="T29" fmla="*/ 2147483647 h 28"/>
                  <a:gd name="T30" fmla="*/ 2147483647 w 45"/>
                  <a:gd name="T31" fmla="*/ 2147483647 h 28"/>
                  <a:gd name="T32" fmla="*/ 2147483647 w 45"/>
                  <a:gd name="T33" fmla="*/ 2147483647 h 28"/>
                  <a:gd name="T34" fmla="*/ 2147483647 w 45"/>
                  <a:gd name="T35" fmla="*/ 2147483647 h 28"/>
                  <a:gd name="T36" fmla="*/ 2147483647 w 45"/>
                  <a:gd name="T37" fmla="*/ 2147483647 h 28"/>
                  <a:gd name="T38" fmla="*/ 2147483647 w 45"/>
                  <a:gd name="T39" fmla="*/ 2147483647 h 28"/>
                  <a:gd name="T40" fmla="*/ 2147483647 w 45"/>
                  <a:gd name="T41" fmla="*/ 2147483647 h 28"/>
                  <a:gd name="T42" fmla="*/ 2147483647 w 45"/>
                  <a:gd name="T43" fmla="*/ 2147483647 h 28"/>
                  <a:gd name="T44" fmla="*/ 2147483647 w 45"/>
                  <a:gd name="T45" fmla="*/ 2147483647 h 28"/>
                  <a:gd name="T46" fmla="*/ 2147483647 w 45"/>
                  <a:gd name="T47" fmla="*/ 2147483647 h 28"/>
                  <a:gd name="T48" fmla="*/ 2147483647 w 45"/>
                  <a:gd name="T49" fmla="*/ 2147483647 h 28"/>
                  <a:gd name="T50" fmla="*/ 2147483647 w 45"/>
                  <a:gd name="T51" fmla="*/ 2147483647 h 28"/>
                  <a:gd name="T52" fmla="*/ 2147483647 w 45"/>
                  <a:gd name="T53" fmla="*/ 2147483647 h 28"/>
                  <a:gd name="T54" fmla="*/ 2147483647 w 45"/>
                  <a:gd name="T55" fmla="*/ 2147483647 h 28"/>
                  <a:gd name="T56" fmla="*/ 2147483647 w 45"/>
                  <a:gd name="T57" fmla="*/ 2147483647 h 28"/>
                  <a:gd name="T58" fmla="*/ 2147483647 w 45"/>
                  <a:gd name="T59" fmla="*/ 2147483647 h 28"/>
                  <a:gd name="T60" fmla="*/ 2147483647 w 45"/>
                  <a:gd name="T61" fmla="*/ 2147483647 h 28"/>
                  <a:gd name="T62" fmla="*/ 2147483647 w 45"/>
                  <a:gd name="T63" fmla="*/ 2147483647 h 28"/>
                  <a:gd name="T64" fmla="*/ 2147483647 w 45"/>
                  <a:gd name="T65" fmla="*/ 2147483647 h 2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5"/>
                  <a:gd name="T100" fmla="*/ 0 h 28"/>
                  <a:gd name="T101" fmla="*/ 45 w 45"/>
                  <a:gd name="T102" fmla="*/ 28 h 2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5" h="28">
                    <a:moveTo>
                      <a:pt x="42" y="11"/>
                    </a:moveTo>
                    <a:cubicBezTo>
                      <a:pt x="39" y="12"/>
                      <a:pt x="39" y="12"/>
                      <a:pt x="39" y="12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6" y="3"/>
                      <a:pt x="31" y="0"/>
                      <a:pt x="29" y="0"/>
                    </a:cubicBezTo>
                    <a:cubicBezTo>
                      <a:pt x="27" y="0"/>
                      <a:pt x="25" y="2"/>
                      <a:pt x="23" y="2"/>
                    </a:cubicBezTo>
                    <a:cubicBezTo>
                      <a:pt x="21" y="2"/>
                      <a:pt x="17" y="2"/>
                      <a:pt x="16" y="1"/>
                    </a:cubicBezTo>
                    <a:cubicBezTo>
                      <a:pt x="16" y="2"/>
                      <a:pt x="17" y="3"/>
                      <a:pt x="15" y="4"/>
                    </a:cubicBezTo>
                    <a:cubicBezTo>
                      <a:pt x="12" y="5"/>
                      <a:pt x="12" y="3"/>
                      <a:pt x="10" y="3"/>
                    </a:cubicBezTo>
                    <a:cubicBezTo>
                      <a:pt x="8" y="3"/>
                      <a:pt x="10" y="6"/>
                      <a:pt x="10" y="6"/>
                    </a:cubicBezTo>
                    <a:cubicBezTo>
                      <a:pt x="10" y="6"/>
                      <a:pt x="10" y="8"/>
                      <a:pt x="8" y="9"/>
                    </a:cubicBezTo>
                    <a:cubicBezTo>
                      <a:pt x="6" y="9"/>
                      <a:pt x="4" y="14"/>
                      <a:pt x="2" y="16"/>
                    </a:cubicBezTo>
                    <a:cubicBezTo>
                      <a:pt x="0" y="18"/>
                      <a:pt x="2" y="22"/>
                      <a:pt x="3" y="20"/>
                    </a:cubicBezTo>
                    <a:cubicBezTo>
                      <a:pt x="3" y="18"/>
                      <a:pt x="6" y="18"/>
                      <a:pt x="7" y="18"/>
                    </a:cubicBezTo>
                    <a:cubicBezTo>
                      <a:pt x="8" y="17"/>
                      <a:pt x="7" y="20"/>
                      <a:pt x="8" y="22"/>
                    </a:cubicBezTo>
                    <a:cubicBezTo>
                      <a:pt x="9" y="25"/>
                      <a:pt x="11" y="27"/>
                      <a:pt x="11" y="27"/>
                    </a:cubicBezTo>
                    <a:cubicBezTo>
                      <a:pt x="12" y="28"/>
                      <a:pt x="12" y="27"/>
                      <a:pt x="12" y="27"/>
                    </a:cubicBezTo>
                    <a:cubicBezTo>
                      <a:pt x="12" y="27"/>
                      <a:pt x="16" y="26"/>
                      <a:pt x="19" y="24"/>
                    </a:cubicBezTo>
                    <a:cubicBezTo>
                      <a:pt x="22" y="23"/>
                      <a:pt x="22" y="20"/>
                      <a:pt x="22" y="20"/>
                    </a:cubicBezTo>
                    <a:cubicBezTo>
                      <a:pt x="22" y="20"/>
                      <a:pt x="25" y="19"/>
                      <a:pt x="25" y="20"/>
                    </a:cubicBezTo>
                    <a:cubicBezTo>
                      <a:pt x="25" y="21"/>
                      <a:pt x="28" y="22"/>
                      <a:pt x="29" y="22"/>
                    </a:cubicBezTo>
                    <a:cubicBezTo>
                      <a:pt x="30" y="22"/>
                      <a:pt x="31" y="20"/>
                      <a:pt x="32" y="19"/>
                    </a:cubicBezTo>
                    <a:cubicBezTo>
                      <a:pt x="32" y="17"/>
                      <a:pt x="36" y="20"/>
                      <a:pt x="36" y="20"/>
                    </a:cubicBezTo>
                    <a:cubicBezTo>
                      <a:pt x="36" y="20"/>
                      <a:pt x="39" y="21"/>
                      <a:pt x="40" y="22"/>
                    </a:cubicBezTo>
                    <a:cubicBezTo>
                      <a:pt x="41" y="22"/>
                      <a:pt x="40" y="20"/>
                      <a:pt x="39" y="18"/>
                    </a:cubicBezTo>
                    <a:cubicBezTo>
                      <a:pt x="39" y="17"/>
                      <a:pt x="42" y="16"/>
                      <a:pt x="43" y="16"/>
                    </a:cubicBezTo>
                    <a:cubicBezTo>
                      <a:pt x="45" y="16"/>
                      <a:pt x="45" y="14"/>
                      <a:pt x="45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4" y="13"/>
                      <a:pt x="44" y="13"/>
                      <a:pt x="44" y="13"/>
                    </a:cubicBezTo>
                    <a:lnTo>
                      <a:pt x="42" y="11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4" name="Freeform 56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2562314" y="4660901"/>
                <a:ext cx="54237" cy="79375"/>
              </a:xfrm>
              <a:custGeom>
                <a:avLst/>
                <a:gdLst>
                  <a:gd name="T0" fmla="*/ 2147483647 w 14"/>
                  <a:gd name="T1" fmla="*/ 2147483647 h 20"/>
                  <a:gd name="T2" fmla="*/ 2147483647 w 14"/>
                  <a:gd name="T3" fmla="*/ 2147483647 h 20"/>
                  <a:gd name="T4" fmla="*/ 2147483647 w 14"/>
                  <a:gd name="T5" fmla="*/ 2147483647 h 20"/>
                  <a:gd name="T6" fmla="*/ 0 w 14"/>
                  <a:gd name="T7" fmla="*/ 2147483647 h 20"/>
                  <a:gd name="T8" fmla="*/ 2147483647 w 14"/>
                  <a:gd name="T9" fmla="*/ 2147483647 h 20"/>
                  <a:gd name="T10" fmla="*/ 2147483647 w 14"/>
                  <a:gd name="T11" fmla="*/ 2147483647 h 20"/>
                  <a:gd name="T12" fmla="*/ 2147483647 w 14"/>
                  <a:gd name="T13" fmla="*/ 2147483647 h 20"/>
                  <a:gd name="T14" fmla="*/ 2147483647 w 14"/>
                  <a:gd name="T15" fmla="*/ 2147483647 h 20"/>
                  <a:gd name="T16" fmla="*/ 2147483647 w 14"/>
                  <a:gd name="T17" fmla="*/ 2147483647 h 20"/>
                  <a:gd name="T18" fmla="*/ 2147483647 w 14"/>
                  <a:gd name="T19" fmla="*/ 2147483647 h 20"/>
                  <a:gd name="T20" fmla="*/ 2147483647 w 14"/>
                  <a:gd name="T21" fmla="*/ 2147483647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20"/>
                  <a:gd name="T35" fmla="*/ 14 w 14"/>
                  <a:gd name="T36" fmla="*/ 20 h 2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20">
                    <a:moveTo>
                      <a:pt x="11" y="1"/>
                    </a:moveTo>
                    <a:cubicBezTo>
                      <a:pt x="11" y="0"/>
                      <a:pt x="8" y="2"/>
                      <a:pt x="7" y="2"/>
                    </a:cubicBezTo>
                    <a:cubicBezTo>
                      <a:pt x="6" y="3"/>
                      <a:pt x="2" y="12"/>
                      <a:pt x="2" y="1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5" y="18"/>
                      <a:pt x="6" y="17"/>
                    </a:cubicBezTo>
                    <a:cubicBezTo>
                      <a:pt x="7" y="16"/>
                      <a:pt x="8" y="15"/>
                      <a:pt x="8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11" y="11"/>
                      <a:pt x="12" y="10"/>
                    </a:cubicBezTo>
                    <a:cubicBezTo>
                      <a:pt x="12" y="9"/>
                      <a:pt x="14" y="6"/>
                      <a:pt x="13" y="5"/>
                    </a:cubicBezTo>
                    <a:cubicBezTo>
                      <a:pt x="13" y="4"/>
                      <a:pt x="12" y="2"/>
                      <a:pt x="11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5" name="Freeform 57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2576973" y="4535488"/>
                <a:ext cx="260922" cy="239712"/>
              </a:xfrm>
              <a:custGeom>
                <a:avLst/>
                <a:gdLst>
                  <a:gd name="T0" fmla="*/ 2147483647 w 66"/>
                  <a:gd name="T1" fmla="*/ 2147483647 h 61"/>
                  <a:gd name="T2" fmla="*/ 2147483647 w 66"/>
                  <a:gd name="T3" fmla="*/ 2147483647 h 61"/>
                  <a:gd name="T4" fmla="*/ 2147483647 w 66"/>
                  <a:gd name="T5" fmla="*/ 2147483647 h 61"/>
                  <a:gd name="T6" fmla="*/ 2147483647 w 66"/>
                  <a:gd name="T7" fmla="*/ 2147483647 h 61"/>
                  <a:gd name="T8" fmla="*/ 2147483647 w 66"/>
                  <a:gd name="T9" fmla="*/ 2147483647 h 61"/>
                  <a:gd name="T10" fmla="*/ 2147483647 w 66"/>
                  <a:gd name="T11" fmla="*/ 2147483647 h 61"/>
                  <a:gd name="T12" fmla="*/ 2147483647 w 66"/>
                  <a:gd name="T13" fmla="*/ 2147483647 h 61"/>
                  <a:gd name="T14" fmla="*/ 2147483647 w 66"/>
                  <a:gd name="T15" fmla="*/ 2147483647 h 61"/>
                  <a:gd name="T16" fmla="*/ 2147483647 w 66"/>
                  <a:gd name="T17" fmla="*/ 2147483647 h 61"/>
                  <a:gd name="T18" fmla="*/ 2147483647 w 66"/>
                  <a:gd name="T19" fmla="*/ 2147483647 h 61"/>
                  <a:gd name="T20" fmla="*/ 2147483647 w 66"/>
                  <a:gd name="T21" fmla="*/ 2147483647 h 61"/>
                  <a:gd name="T22" fmla="*/ 2147483647 w 66"/>
                  <a:gd name="T23" fmla="*/ 2147483647 h 61"/>
                  <a:gd name="T24" fmla="*/ 2147483647 w 66"/>
                  <a:gd name="T25" fmla="*/ 2147483647 h 61"/>
                  <a:gd name="T26" fmla="*/ 2147483647 w 66"/>
                  <a:gd name="T27" fmla="*/ 2147483647 h 61"/>
                  <a:gd name="T28" fmla="*/ 2147483647 w 66"/>
                  <a:gd name="T29" fmla="*/ 2147483647 h 61"/>
                  <a:gd name="T30" fmla="*/ 2147483647 w 66"/>
                  <a:gd name="T31" fmla="*/ 2147483647 h 61"/>
                  <a:gd name="T32" fmla="*/ 2147483647 w 66"/>
                  <a:gd name="T33" fmla="*/ 2147483647 h 61"/>
                  <a:gd name="T34" fmla="*/ 2147483647 w 66"/>
                  <a:gd name="T35" fmla="*/ 2147483647 h 61"/>
                  <a:gd name="T36" fmla="*/ 2147483647 w 66"/>
                  <a:gd name="T37" fmla="*/ 2147483647 h 61"/>
                  <a:gd name="T38" fmla="*/ 2147483647 w 66"/>
                  <a:gd name="T39" fmla="*/ 2147483647 h 61"/>
                  <a:gd name="T40" fmla="*/ 2147483647 w 66"/>
                  <a:gd name="T41" fmla="*/ 2147483647 h 61"/>
                  <a:gd name="T42" fmla="*/ 0 w 66"/>
                  <a:gd name="T43" fmla="*/ 2147483647 h 61"/>
                  <a:gd name="T44" fmla="*/ 0 w 66"/>
                  <a:gd name="T45" fmla="*/ 2147483647 h 61"/>
                  <a:gd name="T46" fmla="*/ 2147483647 w 66"/>
                  <a:gd name="T47" fmla="*/ 2147483647 h 61"/>
                  <a:gd name="T48" fmla="*/ 2147483647 w 66"/>
                  <a:gd name="T49" fmla="*/ 2147483647 h 61"/>
                  <a:gd name="T50" fmla="*/ 2147483647 w 66"/>
                  <a:gd name="T51" fmla="*/ 2147483647 h 61"/>
                  <a:gd name="T52" fmla="*/ 2147483647 w 66"/>
                  <a:gd name="T53" fmla="*/ 2147483647 h 61"/>
                  <a:gd name="T54" fmla="*/ 2147483647 w 66"/>
                  <a:gd name="T55" fmla="*/ 2147483647 h 61"/>
                  <a:gd name="T56" fmla="*/ 2147483647 w 66"/>
                  <a:gd name="T57" fmla="*/ 2147483647 h 61"/>
                  <a:gd name="T58" fmla="*/ 2147483647 w 66"/>
                  <a:gd name="T59" fmla="*/ 2147483647 h 61"/>
                  <a:gd name="T60" fmla="*/ 2147483647 w 66"/>
                  <a:gd name="T61" fmla="*/ 2147483647 h 61"/>
                  <a:gd name="T62" fmla="*/ 2147483647 w 66"/>
                  <a:gd name="T63" fmla="*/ 2147483647 h 61"/>
                  <a:gd name="T64" fmla="*/ 2147483647 w 66"/>
                  <a:gd name="T65" fmla="*/ 2147483647 h 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6"/>
                  <a:gd name="T100" fmla="*/ 0 h 61"/>
                  <a:gd name="T101" fmla="*/ 66 w 66"/>
                  <a:gd name="T102" fmla="*/ 61 h 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6" h="61">
                    <a:moveTo>
                      <a:pt x="61" y="3"/>
                    </a:moveTo>
                    <a:cubicBezTo>
                      <a:pt x="58" y="4"/>
                      <a:pt x="53" y="3"/>
                      <a:pt x="52" y="3"/>
                    </a:cubicBezTo>
                    <a:cubicBezTo>
                      <a:pt x="51" y="3"/>
                      <a:pt x="46" y="6"/>
                      <a:pt x="44" y="6"/>
                    </a:cubicBezTo>
                    <a:cubicBezTo>
                      <a:pt x="42" y="7"/>
                      <a:pt x="33" y="9"/>
                      <a:pt x="33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27" y="7"/>
                      <a:pt x="21" y="9"/>
                      <a:pt x="19" y="9"/>
                    </a:cubicBezTo>
                    <a:cubicBezTo>
                      <a:pt x="17" y="8"/>
                      <a:pt x="14" y="9"/>
                      <a:pt x="13" y="8"/>
                    </a:cubicBezTo>
                    <a:cubicBezTo>
                      <a:pt x="13" y="7"/>
                      <a:pt x="11" y="7"/>
                      <a:pt x="10" y="8"/>
                    </a:cubicBezTo>
                    <a:cubicBezTo>
                      <a:pt x="8" y="9"/>
                      <a:pt x="11" y="14"/>
                      <a:pt x="11" y="14"/>
                    </a:cubicBezTo>
                    <a:cubicBezTo>
                      <a:pt x="11" y="14"/>
                      <a:pt x="9" y="15"/>
                      <a:pt x="8" y="15"/>
                    </a:cubicBezTo>
                    <a:cubicBezTo>
                      <a:pt x="7" y="15"/>
                      <a:pt x="6" y="19"/>
                      <a:pt x="6" y="19"/>
                    </a:cubicBezTo>
                    <a:cubicBezTo>
                      <a:pt x="6" y="19"/>
                      <a:pt x="4" y="19"/>
                      <a:pt x="3" y="18"/>
                    </a:cubicBezTo>
                    <a:cubicBezTo>
                      <a:pt x="2" y="18"/>
                      <a:pt x="2" y="22"/>
                      <a:pt x="2" y="22"/>
                    </a:cubicBezTo>
                    <a:cubicBezTo>
                      <a:pt x="2" y="22"/>
                      <a:pt x="4" y="27"/>
                      <a:pt x="3" y="28"/>
                    </a:cubicBezTo>
                    <a:cubicBezTo>
                      <a:pt x="3" y="30"/>
                      <a:pt x="3" y="34"/>
                      <a:pt x="3" y="34"/>
                    </a:cubicBezTo>
                    <a:cubicBezTo>
                      <a:pt x="4" y="34"/>
                      <a:pt x="7" y="32"/>
                      <a:pt x="7" y="33"/>
                    </a:cubicBezTo>
                    <a:cubicBezTo>
                      <a:pt x="8" y="34"/>
                      <a:pt x="9" y="36"/>
                      <a:pt x="9" y="37"/>
                    </a:cubicBezTo>
                    <a:cubicBezTo>
                      <a:pt x="10" y="38"/>
                      <a:pt x="8" y="41"/>
                      <a:pt x="8" y="42"/>
                    </a:cubicBezTo>
                    <a:cubicBezTo>
                      <a:pt x="7" y="43"/>
                      <a:pt x="5" y="44"/>
                      <a:pt x="5" y="44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4" y="47"/>
                      <a:pt x="3" y="48"/>
                      <a:pt x="2" y="49"/>
                    </a:cubicBezTo>
                    <a:cubicBezTo>
                      <a:pt x="1" y="50"/>
                      <a:pt x="0" y="52"/>
                      <a:pt x="0" y="52"/>
                    </a:cubicBezTo>
                    <a:cubicBezTo>
                      <a:pt x="0" y="52"/>
                      <a:pt x="0" y="54"/>
                      <a:pt x="0" y="56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12" y="61"/>
                      <a:pt x="12" y="61"/>
                      <a:pt x="12" y="61"/>
                    </a:cubicBezTo>
                    <a:cubicBezTo>
                      <a:pt x="12" y="61"/>
                      <a:pt x="51" y="39"/>
                      <a:pt x="54" y="36"/>
                    </a:cubicBezTo>
                    <a:cubicBezTo>
                      <a:pt x="57" y="33"/>
                      <a:pt x="55" y="27"/>
                      <a:pt x="55" y="26"/>
                    </a:cubicBezTo>
                    <a:cubicBezTo>
                      <a:pt x="55" y="25"/>
                      <a:pt x="56" y="21"/>
                      <a:pt x="56" y="19"/>
                    </a:cubicBezTo>
                    <a:cubicBezTo>
                      <a:pt x="56" y="18"/>
                      <a:pt x="56" y="12"/>
                      <a:pt x="57" y="11"/>
                    </a:cubicBezTo>
                    <a:cubicBezTo>
                      <a:pt x="58" y="11"/>
                      <a:pt x="63" y="7"/>
                      <a:pt x="65" y="7"/>
                    </a:cubicBezTo>
                    <a:cubicBezTo>
                      <a:pt x="66" y="6"/>
                      <a:pt x="66" y="2"/>
                      <a:pt x="66" y="1"/>
                    </a:cubicBezTo>
                    <a:cubicBezTo>
                      <a:pt x="66" y="0"/>
                      <a:pt x="63" y="2"/>
                      <a:pt x="61" y="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6" name="Freeform 58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2535928" y="4776789"/>
                <a:ext cx="816481" cy="674687"/>
              </a:xfrm>
              <a:custGeom>
                <a:avLst/>
                <a:gdLst>
                  <a:gd name="T0" fmla="*/ 2147483647 w 207"/>
                  <a:gd name="T1" fmla="*/ 2147483647 h 172"/>
                  <a:gd name="T2" fmla="*/ 2147483647 w 207"/>
                  <a:gd name="T3" fmla="*/ 2147483647 h 172"/>
                  <a:gd name="T4" fmla="*/ 2147483647 w 207"/>
                  <a:gd name="T5" fmla="*/ 2147483647 h 172"/>
                  <a:gd name="T6" fmla="*/ 2147483647 w 207"/>
                  <a:gd name="T7" fmla="*/ 2147483647 h 172"/>
                  <a:gd name="T8" fmla="*/ 2147483647 w 207"/>
                  <a:gd name="T9" fmla="*/ 2147483647 h 172"/>
                  <a:gd name="T10" fmla="*/ 2147483647 w 207"/>
                  <a:gd name="T11" fmla="*/ 2147483647 h 172"/>
                  <a:gd name="T12" fmla="*/ 2147483647 w 207"/>
                  <a:gd name="T13" fmla="*/ 2147483647 h 172"/>
                  <a:gd name="T14" fmla="*/ 2147483647 w 207"/>
                  <a:gd name="T15" fmla="*/ 2147483647 h 172"/>
                  <a:gd name="T16" fmla="*/ 2147483647 w 207"/>
                  <a:gd name="T17" fmla="*/ 2147483647 h 172"/>
                  <a:gd name="T18" fmla="*/ 2147483647 w 207"/>
                  <a:gd name="T19" fmla="*/ 2147483647 h 172"/>
                  <a:gd name="T20" fmla="*/ 2147483647 w 207"/>
                  <a:gd name="T21" fmla="*/ 2147483647 h 172"/>
                  <a:gd name="T22" fmla="*/ 2147483647 w 207"/>
                  <a:gd name="T23" fmla="*/ 2147483647 h 172"/>
                  <a:gd name="T24" fmla="*/ 2147483647 w 207"/>
                  <a:gd name="T25" fmla="*/ 2147483647 h 172"/>
                  <a:gd name="T26" fmla="*/ 2147483647 w 207"/>
                  <a:gd name="T27" fmla="*/ 2147483647 h 172"/>
                  <a:gd name="T28" fmla="*/ 2147483647 w 207"/>
                  <a:gd name="T29" fmla="*/ 2147483647 h 172"/>
                  <a:gd name="T30" fmla="*/ 2147483647 w 207"/>
                  <a:gd name="T31" fmla="*/ 2147483647 h 172"/>
                  <a:gd name="T32" fmla="*/ 2147483647 w 207"/>
                  <a:gd name="T33" fmla="*/ 2147483647 h 172"/>
                  <a:gd name="T34" fmla="*/ 2147483647 w 207"/>
                  <a:gd name="T35" fmla="*/ 2147483647 h 172"/>
                  <a:gd name="T36" fmla="*/ 2147483647 w 207"/>
                  <a:gd name="T37" fmla="*/ 0 h 172"/>
                  <a:gd name="T38" fmla="*/ 2147483647 w 207"/>
                  <a:gd name="T39" fmla="*/ 0 h 172"/>
                  <a:gd name="T40" fmla="*/ 2147483647 w 207"/>
                  <a:gd name="T41" fmla="*/ 2147483647 h 172"/>
                  <a:gd name="T42" fmla="*/ 2147483647 w 207"/>
                  <a:gd name="T43" fmla="*/ 2147483647 h 172"/>
                  <a:gd name="T44" fmla="*/ 2147483647 w 207"/>
                  <a:gd name="T45" fmla="*/ 2147483647 h 172"/>
                  <a:gd name="T46" fmla="*/ 2147483647 w 207"/>
                  <a:gd name="T47" fmla="*/ 2147483647 h 172"/>
                  <a:gd name="T48" fmla="*/ 2147483647 w 207"/>
                  <a:gd name="T49" fmla="*/ 2147483647 h 172"/>
                  <a:gd name="T50" fmla="*/ 2147483647 w 207"/>
                  <a:gd name="T51" fmla="*/ 2147483647 h 172"/>
                  <a:gd name="T52" fmla="*/ 2147483647 w 207"/>
                  <a:gd name="T53" fmla="*/ 2147483647 h 172"/>
                  <a:gd name="T54" fmla="*/ 2147483647 w 207"/>
                  <a:gd name="T55" fmla="*/ 2147483647 h 172"/>
                  <a:gd name="T56" fmla="*/ 2147483647 w 207"/>
                  <a:gd name="T57" fmla="*/ 2147483647 h 172"/>
                  <a:gd name="T58" fmla="*/ 2147483647 w 207"/>
                  <a:gd name="T59" fmla="*/ 2147483647 h 172"/>
                  <a:gd name="T60" fmla="*/ 0 w 207"/>
                  <a:gd name="T61" fmla="*/ 2147483647 h 172"/>
                  <a:gd name="T62" fmla="*/ 2147483647 w 207"/>
                  <a:gd name="T63" fmla="*/ 2147483647 h 172"/>
                  <a:gd name="T64" fmla="*/ 2147483647 w 207"/>
                  <a:gd name="T65" fmla="*/ 2147483647 h 172"/>
                  <a:gd name="T66" fmla="*/ 2147483647 w 207"/>
                  <a:gd name="T67" fmla="*/ 2147483647 h 172"/>
                  <a:gd name="T68" fmla="*/ 2147483647 w 207"/>
                  <a:gd name="T69" fmla="*/ 2147483647 h 172"/>
                  <a:gd name="T70" fmla="*/ 2147483647 w 207"/>
                  <a:gd name="T71" fmla="*/ 2147483647 h 172"/>
                  <a:gd name="T72" fmla="*/ 2147483647 w 207"/>
                  <a:gd name="T73" fmla="*/ 2147483647 h 172"/>
                  <a:gd name="T74" fmla="*/ 2147483647 w 207"/>
                  <a:gd name="T75" fmla="*/ 2147483647 h 172"/>
                  <a:gd name="T76" fmla="*/ 2147483647 w 207"/>
                  <a:gd name="T77" fmla="*/ 2147483647 h 172"/>
                  <a:gd name="T78" fmla="*/ 2147483647 w 207"/>
                  <a:gd name="T79" fmla="*/ 2147483647 h 172"/>
                  <a:gd name="T80" fmla="*/ 2147483647 w 207"/>
                  <a:gd name="T81" fmla="*/ 2147483647 h 172"/>
                  <a:gd name="T82" fmla="*/ 2147483647 w 207"/>
                  <a:gd name="T83" fmla="*/ 2147483647 h 172"/>
                  <a:gd name="T84" fmla="*/ 2147483647 w 207"/>
                  <a:gd name="T85" fmla="*/ 2147483647 h 172"/>
                  <a:gd name="T86" fmla="*/ 2147483647 w 207"/>
                  <a:gd name="T87" fmla="*/ 2147483647 h 172"/>
                  <a:gd name="T88" fmla="*/ 2147483647 w 207"/>
                  <a:gd name="T89" fmla="*/ 2147483647 h 172"/>
                  <a:gd name="T90" fmla="*/ 2147483647 w 207"/>
                  <a:gd name="T91" fmla="*/ 2147483647 h 172"/>
                  <a:gd name="T92" fmla="*/ 2147483647 w 207"/>
                  <a:gd name="T93" fmla="*/ 2147483647 h 172"/>
                  <a:gd name="T94" fmla="*/ 2147483647 w 207"/>
                  <a:gd name="T95" fmla="*/ 2147483647 h 172"/>
                  <a:gd name="T96" fmla="*/ 2147483647 w 207"/>
                  <a:gd name="T97" fmla="*/ 2147483647 h 172"/>
                  <a:gd name="T98" fmla="*/ 2147483647 w 207"/>
                  <a:gd name="T99" fmla="*/ 2147483647 h 172"/>
                  <a:gd name="T100" fmla="*/ 2147483647 w 207"/>
                  <a:gd name="T101" fmla="*/ 2147483647 h 172"/>
                  <a:gd name="T102" fmla="*/ 2147483647 w 207"/>
                  <a:gd name="T103" fmla="*/ 2147483647 h 172"/>
                  <a:gd name="T104" fmla="*/ 2147483647 w 207"/>
                  <a:gd name="T105" fmla="*/ 2147483647 h 172"/>
                  <a:gd name="T106" fmla="*/ 2147483647 w 207"/>
                  <a:gd name="T107" fmla="*/ 2147483647 h 172"/>
                  <a:gd name="T108" fmla="*/ 2147483647 w 207"/>
                  <a:gd name="T109" fmla="*/ 2147483647 h 172"/>
                  <a:gd name="T110" fmla="*/ 2147483647 w 207"/>
                  <a:gd name="T111" fmla="*/ 2147483647 h 172"/>
                  <a:gd name="T112" fmla="*/ 2147483647 w 207"/>
                  <a:gd name="T113" fmla="*/ 2147483647 h 172"/>
                  <a:gd name="T114" fmla="*/ 2147483647 w 207"/>
                  <a:gd name="T115" fmla="*/ 2147483647 h 172"/>
                  <a:gd name="T116" fmla="*/ 2147483647 w 207"/>
                  <a:gd name="T117" fmla="*/ 2147483647 h 17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07"/>
                  <a:gd name="T178" fmla="*/ 0 h 172"/>
                  <a:gd name="T179" fmla="*/ 207 w 207"/>
                  <a:gd name="T180" fmla="*/ 172 h 17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07" h="172">
                    <a:moveTo>
                      <a:pt x="203" y="106"/>
                    </a:moveTo>
                    <a:cubicBezTo>
                      <a:pt x="201" y="108"/>
                      <a:pt x="201" y="108"/>
                      <a:pt x="201" y="108"/>
                    </a:cubicBezTo>
                    <a:cubicBezTo>
                      <a:pt x="175" y="104"/>
                      <a:pt x="175" y="104"/>
                      <a:pt x="175" y="104"/>
                    </a:cubicBezTo>
                    <a:cubicBezTo>
                      <a:pt x="167" y="89"/>
                      <a:pt x="167" y="89"/>
                      <a:pt x="167" y="89"/>
                    </a:cubicBezTo>
                    <a:cubicBezTo>
                      <a:pt x="165" y="88"/>
                      <a:pt x="165" y="88"/>
                      <a:pt x="165" y="88"/>
                    </a:cubicBezTo>
                    <a:cubicBezTo>
                      <a:pt x="165" y="88"/>
                      <a:pt x="164" y="86"/>
                      <a:pt x="163" y="86"/>
                    </a:cubicBezTo>
                    <a:cubicBezTo>
                      <a:pt x="162" y="86"/>
                      <a:pt x="159" y="83"/>
                      <a:pt x="159" y="83"/>
                    </a:cubicBezTo>
                    <a:cubicBezTo>
                      <a:pt x="155" y="76"/>
                      <a:pt x="155" y="76"/>
                      <a:pt x="155" y="76"/>
                    </a:cubicBezTo>
                    <a:cubicBezTo>
                      <a:pt x="153" y="70"/>
                      <a:pt x="153" y="70"/>
                      <a:pt x="153" y="70"/>
                    </a:cubicBezTo>
                    <a:cubicBezTo>
                      <a:pt x="153" y="70"/>
                      <a:pt x="154" y="65"/>
                      <a:pt x="153" y="64"/>
                    </a:cubicBezTo>
                    <a:cubicBezTo>
                      <a:pt x="152" y="63"/>
                      <a:pt x="149" y="60"/>
                      <a:pt x="148" y="59"/>
                    </a:cubicBezTo>
                    <a:cubicBezTo>
                      <a:pt x="147" y="59"/>
                      <a:pt x="142" y="54"/>
                      <a:pt x="141" y="52"/>
                    </a:cubicBezTo>
                    <a:cubicBezTo>
                      <a:pt x="140" y="50"/>
                      <a:pt x="136" y="42"/>
                      <a:pt x="136" y="42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28" y="42"/>
                      <a:pt x="128" y="37"/>
                      <a:pt x="125" y="37"/>
                    </a:cubicBezTo>
                    <a:cubicBezTo>
                      <a:pt x="121" y="37"/>
                      <a:pt x="99" y="35"/>
                      <a:pt x="99" y="35"/>
                    </a:cubicBezTo>
                    <a:cubicBezTo>
                      <a:pt x="99" y="35"/>
                      <a:pt x="80" y="18"/>
                      <a:pt x="75" y="14"/>
                    </a:cubicBezTo>
                    <a:cubicBezTo>
                      <a:pt x="69" y="11"/>
                      <a:pt x="58" y="4"/>
                      <a:pt x="58" y="4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1" y="30"/>
                      <a:pt x="20" y="31"/>
                    </a:cubicBezTo>
                    <a:cubicBezTo>
                      <a:pt x="19" y="32"/>
                      <a:pt x="15" y="34"/>
                      <a:pt x="15" y="34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4" y="33"/>
                      <a:pt x="3" y="40"/>
                      <a:pt x="2" y="41"/>
                    </a:cubicBezTo>
                    <a:cubicBezTo>
                      <a:pt x="1" y="43"/>
                      <a:pt x="0" y="47"/>
                      <a:pt x="0" y="47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5" y="47"/>
                      <a:pt x="12" y="57"/>
                      <a:pt x="14" y="60"/>
                    </a:cubicBezTo>
                    <a:cubicBezTo>
                      <a:pt x="16" y="64"/>
                      <a:pt x="19" y="69"/>
                      <a:pt x="22" y="73"/>
                    </a:cubicBezTo>
                    <a:cubicBezTo>
                      <a:pt x="24" y="77"/>
                      <a:pt x="27" y="80"/>
                      <a:pt x="26" y="82"/>
                    </a:cubicBezTo>
                    <a:cubicBezTo>
                      <a:pt x="25" y="83"/>
                      <a:pt x="26" y="85"/>
                      <a:pt x="28" y="87"/>
                    </a:cubicBezTo>
                    <a:cubicBezTo>
                      <a:pt x="29" y="89"/>
                      <a:pt x="36" y="90"/>
                      <a:pt x="37" y="94"/>
                    </a:cubicBezTo>
                    <a:cubicBezTo>
                      <a:pt x="38" y="97"/>
                      <a:pt x="43" y="104"/>
                      <a:pt x="43" y="106"/>
                    </a:cubicBezTo>
                    <a:cubicBezTo>
                      <a:pt x="44" y="108"/>
                      <a:pt x="43" y="110"/>
                      <a:pt x="43" y="115"/>
                    </a:cubicBezTo>
                    <a:cubicBezTo>
                      <a:pt x="44" y="119"/>
                      <a:pt x="47" y="125"/>
                      <a:pt x="49" y="128"/>
                    </a:cubicBezTo>
                    <a:cubicBezTo>
                      <a:pt x="51" y="131"/>
                      <a:pt x="56" y="130"/>
                      <a:pt x="58" y="134"/>
                    </a:cubicBezTo>
                    <a:cubicBezTo>
                      <a:pt x="60" y="137"/>
                      <a:pt x="64" y="145"/>
                      <a:pt x="65" y="147"/>
                    </a:cubicBezTo>
                    <a:cubicBezTo>
                      <a:pt x="67" y="150"/>
                      <a:pt x="71" y="154"/>
                      <a:pt x="73" y="158"/>
                    </a:cubicBezTo>
                    <a:cubicBezTo>
                      <a:pt x="75" y="162"/>
                      <a:pt x="78" y="163"/>
                      <a:pt x="79" y="166"/>
                    </a:cubicBezTo>
                    <a:cubicBezTo>
                      <a:pt x="80" y="169"/>
                      <a:pt x="81" y="172"/>
                      <a:pt x="81" y="172"/>
                    </a:cubicBezTo>
                    <a:cubicBezTo>
                      <a:pt x="81" y="172"/>
                      <a:pt x="85" y="169"/>
                      <a:pt x="85" y="167"/>
                    </a:cubicBezTo>
                    <a:cubicBezTo>
                      <a:pt x="85" y="166"/>
                      <a:pt x="85" y="163"/>
                      <a:pt x="87" y="161"/>
                    </a:cubicBezTo>
                    <a:cubicBezTo>
                      <a:pt x="89" y="160"/>
                      <a:pt x="92" y="163"/>
                      <a:pt x="92" y="163"/>
                    </a:cubicBezTo>
                    <a:cubicBezTo>
                      <a:pt x="92" y="163"/>
                      <a:pt x="102" y="161"/>
                      <a:pt x="105" y="161"/>
                    </a:cubicBezTo>
                    <a:cubicBezTo>
                      <a:pt x="107" y="162"/>
                      <a:pt x="114" y="164"/>
                      <a:pt x="115" y="163"/>
                    </a:cubicBezTo>
                    <a:cubicBezTo>
                      <a:pt x="116" y="163"/>
                      <a:pt x="120" y="163"/>
                      <a:pt x="120" y="163"/>
                    </a:cubicBezTo>
                    <a:cubicBezTo>
                      <a:pt x="120" y="163"/>
                      <a:pt x="120" y="167"/>
                      <a:pt x="122" y="167"/>
                    </a:cubicBezTo>
                    <a:cubicBezTo>
                      <a:pt x="125" y="166"/>
                      <a:pt x="127" y="162"/>
                      <a:pt x="130" y="158"/>
                    </a:cubicBezTo>
                    <a:cubicBezTo>
                      <a:pt x="134" y="154"/>
                      <a:pt x="141" y="150"/>
                      <a:pt x="142" y="149"/>
                    </a:cubicBezTo>
                    <a:cubicBezTo>
                      <a:pt x="144" y="149"/>
                      <a:pt x="159" y="147"/>
                      <a:pt x="160" y="147"/>
                    </a:cubicBezTo>
                    <a:cubicBezTo>
                      <a:pt x="161" y="147"/>
                      <a:pt x="171" y="145"/>
                      <a:pt x="171" y="145"/>
                    </a:cubicBezTo>
                    <a:cubicBezTo>
                      <a:pt x="200" y="134"/>
                      <a:pt x="200" y="134"/>
                      <a:pt x="200" y="134"/>
                    </a:cubicBezTo>
                    <a:cubicBezTo>
                      <a:pt x="207" y="113"/>
                      <a:pt x="207" y="113"/>
                      <a:pt x="207" y="113"/>
                    </a:cubicBezTo>
                    <a:lnTo>
                      <a:pt x="203" y="106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7" name="Freeform 59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3214266" y="5094289"/>
                <a:ext cx="300500" cy="346075"/>
              </a:xfrm>
              <a:custGeom>
                <a:avLst/>
                <a:gdLst>
                  <a:gd name="T0" fmla="*/ 2147483647 w 77"/>
                  <a:gd name="T1" fmla="*/ 2147483647 h 88"/>
                  <a:gd name="T2" fmla="*/ 2147483647 w 77"/>
                  <a:gd name="T3" fmla="*/ 2147483647 h 88"/>
                  <a:gd name="T4" fmla="*/ 2147483647 w 77"/>
                  <a:gd name="T5" fmla="*/ 2147483647 h 88"/>
                  <a:gd name="T6" fmla="*/ 2147483647 w 77"/>
                  <a:gd name="T7" fmla="*/ 2147483647 h 88"/>
                  <a:gd name="T8" fmla="*/ 2147483647 w 77"/>
                  <a:gd name="T9" fmla="*/ 2147483647 h 88"/>
                  <a:gd name="T10" fmla="*/ 2147483647 w 77"/>
                  <a:gd name="T11" fmla="*/ 2147483647 h 88"/>
                  <a:gd name="T12" fmla="*/ 2147483647 w 77"/>
                  <a:gd name="T13" fmla="*/ 0 h 88"/>
                  <a:gd name="T14" fmla="*/ 2147483647 w 77"/>
                  <a:gd name="T15" fmla="*/ 2147483647 h 88"/>
                  <a:gd name="T16" fmla="*/ 2147483647 w 77"/>
                  <a:gd name="T17" fmla="*/ 2147483647 h 88"/>
                  <a:gd name="T18" fmla="*/ 2147483647 w 77"/>
                  <a:gd name="T19" fmla="*/ 2147483647 h 88"/>
                  <a:gd name="T20" fmla="*/ 2147483647 w 77"/>
                  <a:gd name="T21" fmla="*/ 2147483647 h 88"/>
                  <a:gd name="T22" fmla="*/ 2147483647 w 77"/>
                  <a:gd name="T23" fmla="*/ 2147483647 h 88"/>
                  <a:gd name="T24" fmla="*/ 2147483647 w 77"/>
                  <a:gd name="T25" fmla="*/ 2147483647 h 88"/>
                  <a:gd name="T26" fmla="*/ 2147483647 w 77"/>
                  <a:gd name="T27" fmla="*/ 2147483647 h 88"/>
                  <a:gd name="T28" fmla="*/ 0 w 77"/>
                  <a:gd name="T29" fmla="*/ 2147483647 h 88"/>
                  <a:gd name="T30" fmla="*/ 2147483647 w 77"/>
                  <a:gd name="T31" fmla="*/ 2147483647 h 88"/>
                  <a:gd name="T32" fmla="*/ 2147483647 w 77"/>
                  <a:gd name="T33" fmla="*/ 2147483647 h 88"/>
                  <a:gd name="T34" fmla="*/ 2147483647 w 77"/>
                  <a:gd name="T35" fmla="*/ 2147483647 h 88"/>
                  <a:gd name="T36" fmla="*/ 2147483647 w 77"/>
                  <a:gd name="T37" fmla="*/ 2147483647 h 88"/>
                  <a:gd name="T38" fmla="*/ 2147483647 w 77"/>
                  <a:gd name="T39" fmla="*/ 2147483647 h 88"/>
                  <a:gd name="T40" fmla="*/ 2147483647 w 77"/>
                  <a:gd name="T41" fmla="*/ 2147483647 h 88"/>
                  <a:gd name="T42" fmla="*/ 2147483647 w 77"/>
                  <a:gd name="T43" fmla="*/ 2147483647 h 88"/>
                  <a:gd name="T44" fmla="*/ 2147483647 w 77"/>
                  <a:gd name="T45" fmla="*/ 2147483647 h 88"/>
                  <a:gd name="T46" fmla="*/ 2147483647 w 77"/>
                  <a:gd name="T47" fmla="*/ 2147483647 h 88"/>
                  <a:gd name="T48" fmla="*/ 2147483647 w 77"/>
                  <a:gd name="T49" fmla="*/ 2147483647 h 88"/>
                  <a:gd name="T50" fmla="*/ 2147483647 w 77"/>
                  <a:gd name="T51" fmla="*/ 2147483647 h 88"/>
                  <a:gd name="T52" fmla="*/ 2147483647 w 77"/>
                  <a:gd name="T53" fmla="*/ 2147483647 h 88"/>
                  <a:gd name="T54" fmla="*/ 2147483647 w 77"/>
                  <a:gd name="T55" fmla="*/ 2147483647 h 88"/>
                  <a:gd name="T56" fmla="*/ 2147483647 w 77"/>
                  <a:gd name="T57" fmla="*/ 2147483647 h 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7"/>
                  <a:gd name="T88" fmla="*/ 0 h 88"/>
                  <a:gd name="T89" fmla="*/ 77 w 77"/>
                  <a:gd name="T90" fmla="*/ 88 h 8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7" h="88">
                    <a:moveTo>
                      <a:pt x="76" y="27"/>
                    </a:moveTo>
                    <a:cubicBezTo>
                      <a:pt x="74" y="27"/>
                      <a:pt x="70" y="26"/>
                      <a:pt x="69" y="22"/>
                    </a:cubicBezTo>
                    <a:cubicBezTo>
                      <a:pt x="69" y="18"/>
                      <a:pt x="65" y="15"/>
                      <a:pt x="63" y="15"/>
                    </a:cubicBezTo>
                    <a:cubicBezTo>
                      <a:pt x="61" y="15"/>
                      <a:pt x="52" y="13"/>
                      <a:pt x="50" y="11"/>
                    </a:cubicBezTo>
                    <a:cubicBezTo>
                      <a:pt x="48" y="9"/>
                      <a:pt x="42" y="1"/>
                      <a:pt x="42" y="1"/>
                    </a:cubicBezTo>
                    <a:cubicBezTo>
                      <a:pt x="39" y="2"/>
                      <a:pt x="39" y="2"/>
                      <a:pt x="39" y="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8" y="9"/>
                      <a:pt x="39" y="9"/>
                      <a:pt x="37" y="10"/>
                    </a:cubicBezTo>
                    <a:cubicBezTo>
                      <a:pt x="36" y="11"/>
                      <a:pt x="34" y="13"/>
                      <a:pt x="33" y="14"/>
                    </a:cubicBezTo>
                    <a:cubicBezTo>
                      <a:pt x="33" y="16"/>
                      <a:pt x="31" y="23"/>
                      <a:pt x="31" y="25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28" y="53"/>
                      <a:pt x="28" y="53"/>
                      <a:pt x="28" y="53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9" y="88"/>
                      <a:pt x="9" y="88"/>
                      <a:pt x="9" y="88"/>
                    </a:cubicBezTo>
                    <a:cubicBezTo>
                      <a:pt x="9" y="88"/>
                      <a:pt x="15" y="85"/>
                      <a:pt x="19" y="85"/>
                    </a:cubicBezTo>
                    <a:cubicBezTo>
                      <a:pt x="23" y="84"/>
                      <a:pt x="23" y="84"/>
                      <a:pt x="26" y="85"/>
                    </a:cubicBezTo>
                    <a:cubicBezTo>
                      <a:pt x="30" y="85"/>
                      <a:pt x="31" y="83"/>
                      <a:pt x="31" y="80"/>
                    </a:cubicBezTo>
                    <a:cubicBezTo>
                      <a:pt x="32" y="76"/>
                      <a:pt x="33" y="74"/>
                      <a:pt x="36" y="75"/>
                    </a:cubicBezTo>
                    <a:cubicBezTo>
                      <a:pt x="39" y="75"/>
                      <a:pt x="43" y="75"/>
                      <a:pt x="44" y="72"/>
                    </a:cubicBezTo>
                    <a:cubicBezTo>
                      <a:pt x="45" y="70"/>
                      <a:pt x="44" y="66"/>
                      <a:pt x="49" y="65"/>
                    </a:cubicBezTo>
                    <a:cubicBezTo>
                      <a:pt x="53" y="65"/>
                      <a:pt x="57" y="64"/>
                      <a:pt x="57" y="64"/>
                    </a:cubicBezTo>
                    <a:cubicBezTo>
                      <a:pt x="57" y="64"/>
                      <a:pt x="55" y="56"/>
                      <a:pt x="56" y="53"/>
                    </a:cubicBezTo>
                    <a:cubicBezTo>
                      <a:pt x="57" y="50"/>
                      <a:pt x="60" y="48"/>
                      <a:pt x="60" y="48"/>
                    </a:cubicBezTo>
                    <a:cubicBezTo>
                      <a:pt x="60" y="48"/>
                      <a:pt x="61" y="49"/>
                      <a:pt x="62" y="49"/>
                    </a:cubicBezTo>
                    <a:cubicBezTo>
                      <a:pt x="63" y="49"/>
                      <a:pt x="64" y="44"/>
                      <a:pt x="67" y="42"/>
                    </a:cubicBezTo>
                    <a:cubicBezTo>
                      <a:pt x="69" y="40"/>
                      <a:pt x="72" y="37"/>
                      <a:pt x="74" y="34"/>
                    </a:cubicBezTo>
                    <a:cubicBezTo>
                      <a:pt x="76" y="30"/>
                      <a:pt x="77" y="28"/>
                      <a:pt x="76" y="2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8" name="Freeform 60"/>
              <p:cNvSpPr>
                <a:spLocks noEditPoints="1"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2856951" y="5345113"/>
                <a:ext cx="448551" cy="271462"/>
              </a:xfrm>
              <a:custGeom>
                <a:avLst/>
                <a:gdLst>
                  <a:gd name="T0" fmla="*/ 2147483647 w 114"/>
                  <a:gd name="T1" fmla="*/ 0 h 69"/>
                  <a:gd name="T2" fmla="*/ 2147483647 w 114"/>
                  <a:gd name="T3" fmla="*/ 2147483647 h 69"/>
                  <a:gd name="T4" fmla="*/ 2147483647 w 114"/>
                  <a:gd name="T5" fmla="*/ 2147483647 h 69"/>
                  <a:gd name="T6" fmla="*/ 2147483647 w 114"/>
                  <a:gd name="T7" fmla="*/ 2147483647 h 69"/>
                  <a:gd name="T8" fmla="*/ 2147483647 w 114"/>
                  <a:gd name="T9" fmla="*/ 2147483647 h 69"/>
                  <a:gd name="T10" fmla="*/ 2147483647 w 114"/>
                  <a:gd name="T11" fmla="*/ 2147483647 h 69"/>
                  <a:gd name="T12" fmla="*/ 2147483647 w 114"/>
                  <a:gd name="T13" fmla="*/ 2147483647 h 69"/>
                  <a:gd name="T14" fmla="*/ 2147483647 w 114"/>
                  <a:gd name="T15" fmla="*/ 2147483647 h 69"/>
                  <a:gd name="T16" fmla="*/ 2147483647 w 114"/>
                  <a:gd name="T17" fmla="*/ 2147483647 h 69"/>
                  <a:gd name="T18" fmla="*/ 2147483647 w 114"/>
                  <a:gd name="T19" fmla="*/ 2147483647 h 69"/>
                  <a:gd name="T20" fmla="*/ 2147483647 w 114"/>
                  <a:gd name="T21" fmla="*/ 2147483647 h 69"/>
                  <a:gd name="T22" fmla="*/ 0 w 114"/>
                  <a:gd name="T23" fmla="*/ 2147483647 h 69"/>
                  <a:gd name="T24" fmla="*/ 0 w 114"/>
                  <a:gd name="T25" fmla="*/ 2147483647 h 69"/>
                  <a:gd name="T26" fmla="*/ 2147483647 w 114"/>
                  <a:gd name="T27" fmla="*/ 2147483647 h 69"/>
                  <a:gd name="T28" fmla="*/ 2147483647 w 114"/>
                  <a:gd name="T29" fmla="*/ 2147483647 h 69"/>
                  <a:gd name="T30" fmla="*/ 2147483647 w 114"/>
                  <a:gd name="T31" fmla="*/ 2147483647 h 69"/>
                  <a:gd name="T32" fmla="*/ 2147483647 w 114"/>
                  <a:gd name="T33" fmla="*/ 2147483647 h 69"/>
                  <a:gd name="T34" fmla="*/ 2147483647 w 114"/>
                  <a:gd name="T35" fmla="*/ 2147483647 h 69"/>
                  <a:gd name="T36" fmla="*/ 2147483647 w 114"/>
                  <a:gd name="T37" fmla="*/ 2147483647 h 69"/>
                  <a:gd name="T38" fmla="*/ 2147483647 w 114"/>
                  <a:gd name="T39" fmla="*/ 2147483647 h 69"/>
                  <a:gd name="T40" fmla="*/ 2147483647 w 114"/>
                  <a:gd name="T41" fmla="*/ 2147483647 h 69"/>
                  <a:gd name="T42" fmla="*/ 2147483647 w 114"/>
                  <a:gd name="T43" fmla="*/ 2147483647 h 69"/>
                  <a:gd name="T44" fmla="*/ 2147483647 w 114"/>
                  <a:gd name="T45" fmla="*/ 2147483647 h 69"/>
                  <a:gd name="T46" fmla="*/ 2147483647 w 114"/>
                  <a:gd name="T47" fmla="*/ 2147483647 h 69"/>
                  <a:gd name="T48" fmla="*/ 2147483647 w 114"/>
                  <a:gd name="T49" fmla="*/ 2147483647 h 69"/>
                  <a:gd name="T50" fmla="*/ 2147483647 w 114"/>
                  <a:gd name="T51" fmla="*/ 2147483647 h 69"/>
                  <a:gd name="T52" fmla="*/ 2147483647 w 114"/>
                  <a:gd name="T53" fmla="*/ 0 h 69"/>
                  <a:gd name="T54" fmla="*/ 2147483647 w 114"/>
                  <a:gd name="T55" fmla="*/ 0 h 69"/>
                  <a:gd name="T56" fmla="*/ 2147483647 w 114"/>
                  <a:gd name="T57" fmla="*/ 2147483647 h 69"/>
                  <a:gd name="T58" fmla="*/ 2147483647 w 114"/>
                  <a:gd name="T59" fmla="*/ 2147483647 h 69"/>
                  <a:gd name="T60" fmla="*/ 2147483647 w 114"/>
                  <a:gd name="T61" fmla="*/ 2147483647 h 69"/>
                  <a:gd name="T62" fmla="*/ 2147483647 w 114"/>
                  <a:gd name="T63" fmla="*/ 2147483647 h 69"/>
                  <a:gd name="T64" fmla="*/ 2147483647 w 114"/>
                  <a:gd name="T65" fmla="*/ 2147483647 h 69"/>
                  <a:gd name="T66" fmla="*/ 2147483647 w 114"/>
                  <a:gd name="T67" fmla="*/ 2147483647 h 6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4"/>
                  <a:gd name="T103" fmla="*/ 0 h 69"/>
                  <a:gd name="T104" fmla="*/ 114 w 114"/>
                  <a:gd name="T105" fmla="*/ 69 h 6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4" h="69">
                    <a:moveTo>
                      <a:pt x="90" y="0"/>
                    </a:moveTo>
                    <a:cubicBezTo>
                      <a:pt x="90" y="0"/>
                      <a:pt x="80" y="2"/>
                      <a:pt x="79" y="2"/>
                    </a:cubicBezTo>
                    <a:cubicBezTo>
                      <a:pt x="78" y="2"/>
                      <a:pt x="63" y="4"/>
                      <a:pt x="61" y="4"/>
                    </a:cubicBezTo>
                    <a:cubicBezTo>
                      <a:pt x="60" y="5"/>
                      <a:pt x="53" y="9"/>
                      <a:pt x="49" y="13"/>
                    </a:cubicBezTo>
                    <a:cubicBezTo>
                      <a:pt x="46" y="17"/>
                      <a:pt x="44" y="21"/>
                      <a:pt x="41" y="22"/>
                    </a:cubicBezTo>
                    <a:cubicBezTo>
                      <a:pt x="39" y="22"/>
                      <a:pt x="39" y="18"/>
                      <a:pt x="39" y="18"/>
                    </a:cubicBezTo>
                    <a:cubicBezTo>
                      <a:pt x="39" y="18"/>
                      <a:pt x="35" y="18"/>
                      <a:pt x="34" y="18"/>
                    </a:cubicBezTo>
                    <a:cubicBezTo>
                      <a:pt x="33" y="19"/>
                      <a:pt x="26" y="17"/>
                      <a:pt x="24" y="16"/>
                    </a:cubicBezTo>
                    <a:cubicBezTo>
                      <a:pt x="21" y="16"/>
                      <a:pt x="11" y="18"/>
                      <a:pt x="11" y="18"/>
                    </a:cubicBezTo>
                    <a:cubicBezTo>
                      <a:pt x="11" y="18"/>
                      <a:pt x="8" y="15"/>
                      <a:pt x="6" y="16"/>
                    </a:cubicBezTo>
                    <a:cubicBezTo>
                      <a:pt x="4" y="18"/>
                      <a:pt x="4" y="21"/>
                      <a:pt x="4" y="22"/>
                    </a:cubicBezTo>
                    <a:cubicBezTo>
                      <a:pt x="4" y="24"/>
                      <a:pt x="0" y="27"/>
                      <a:pt x="0" y="27"/>
                    </a:cubicBezTo>
                    <a:cubicBezTo>
                      <a:pt x="0" y="27"/>
                      <a:pt x="0" y="33"/>
                      <a:pt x="0" y="37"/>
                    </a:cubicBezTo>
                    <a:cubicBezTo>
                      <a:pt x="0" y="41"/>
                      <a:pt x="2" y="48"/>
                      <a:pt x="3" y="51"/>
                    </a:cubicBezTo>
                    <a:cubicBezTo>
                      <a:pt x="3" y="54"/>
                      <a:pt x="4" y="62"/>
                      <a:pt x="7" y="63"/>
                    </a:cubicBezTo>
                    <a:cubicBezTo>
                      <a:pt x="9" y="64"/>
                      <a:pt x="12" y="66"/>
                      <a:pt x="15" y="64"/>
                    </a:cubicBezTo>
                    <a:cubicBezTo>
                      <a:pt x="18" y="63"/>
                      <a:pt x="22" y="62"/>
                      <a:pt x="25" y="60"/>
                    </a:cubicBezTo>
                    <a:cubicBezTo>
                      <a:pt x="27" y="58"/>
                      <a:pt x="33" y="57"/>
                      <a:pt x="36" y="57"/>
                    </a:cubicBezTo>
                    <a:cubicBezTo>
                      <a:pt x="38" y="57"/>
                      <a:pt x="44" y="54"/>
                      <a:pt x="47" y="53"/>
                    </a:cubicBezTo>
                    <a:cubicBezTo>
                      <a:pt x="51" y="51"/>
                      <a:pt x="56" y="52"/>
                      <a:pt x="58" y="51"/>
                    </a:cubicBezTo>
                    <a:cubicBezTo>
                      <a:pt x="60" y="49"/>
                      <a:pt x="62" y="44"/>
                      <a:pt x="65" y="44"/>
                    </a:cubicBezTo>
                    <a:cubicBezTo>
                      <a:pt x="69" y="44"/>
                      <a:pt x="70" y="41"/>
                      <a:pt x="75" y="40"/>
                    </a:cubicBezTo>
                    <a:cubicBezTo>
                      <a:pt x="79" y="39"/>
                      <a:pt x="80" y="38"/>
                      <a:pt x="85" y="38"/>
                    </a:cubicBezTo>
                    <a:cubicBezTo>
                      <a:pt x="89" y="37"/>
                      <a:pt x="92" y="34"/>
                      <a:pt x="92" y="34"/>
                    </a:cubicBezTo>
                    <a:cubicBezTo>
                      <a:pt x="92" y="34"/>
                      <a:pt x="90" y="29"/>
                      <a:pt x="93" y="28"/>
                    </a:cubicBezTo>
                    <a:cubicBezTo>
                      <a:pt x="95" y="27"/>
                      <a:pt x="100" y="24"/>
                      <a:pt x="100" y="24"/>
                    </a:cubicBezTo>
                    <a:cubicBezTo>
                      <a:pt x="91" y="0"/>
                      <a:pt x="91" y="0"/>
                      <a:pt x="91" y="0"/>
                    </a:cubicBezTo>
                    <a:lnTo>
                      <a:pt x="90" y="0"/>
                    </a:lnTo>
                    <a:close/>
                    <a:moveTo>
                      <a:pt x="110" y="65"/>
                    </a:moveTo>
                    <a:cubicBezTo>
                      <a:pt x="108" y="65"/>
                      <a:pt x="109" y="66"/>
                      <a:pt x="106" y="63"/>
                    </a:cubicBezTo>
                    <a:cubicBezTo>
                      <a:pt x="104" y="61"/>
                      <a:pt x="103" y="66"/>
                      <a:pt x="103" y="66"/>
                    </a:cubicBezTo>
                    <a:cubicBezTo>
                      <a:pt x="103" y="66"/>
                      <a:pt x="106" y="68"/>
                      <a:pt x="107" y="69"/>
                    </a:cubicBezTo>
                    <a:cubicBezTo>
                      <a:pt x="109" y="69"/>
                      <a:pt x="114" y="66"/>
                      <a:pt x="114" y="66"/>
                    </a:cubicBezTo>
                    <a:cubicBezTo>
                      <a:pt x="114" y="66"/>
                      <a:pt x="112" y="64"/>
                      <a:pt x="110" y="6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89" name="Freeform 61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3205824" y="5048250"/>
                <a:ext cx="181766" cy="152400"/>
              </a:xfrm>
              <a:custGeom>
                <a:avLst/>
                <a:gdLst>
                  <a:gd name="T0" fmla="*/ 2147483647 w 46"/>
                  <a:gd name="T1" fmla="*/ 2147483647 h 39"/>
                  <a:gd name="T2" fmla="*/ 2147483647 w 46"/>
                  <a:gd name="T3" fmla="*/ 2147483647 h 39"/>
                  <a:gd name="T4" fmla="*/ 2147483647 w 46"/>
                  <a:gd name="T5" fmla="*/ 2147483647 h 39"/>
                  <a:gd name="T6" fmla="*/ 2147483647 w 46"/>
                  <a:gd name="T7" fmla="*/ 2147483647 h 39"/>
                  <a:gd name="T8" fmla="*/ 2147483647 w 46"/>
                  <a:gd name="T9" fmla="*/ 2147483647 h 39"/>
                  <a:gd name="T10" fmla="*/ 2147483647 w 46"/>
                  <a:gd name="T11" fmla="*/ 2147483647 h 39"/>
                  <a:gd name="T12" fmla="*/ 2147483647 w 46"/>
                  <a:gd name="T13" fmla="*/ 2147483647 h 39"/>
                  <a:gd name="T14" fmla="*/ 2147483647 w 46"/>
                  <a:gd name="T15" fmla="*/ 2147483647 h 39"/>
                  <a:gd name="T16" fmla="*/ 2147483647 w 46"/>
                  <a:gd name="T17" fmla="*/ 2147483647 h 39"/>
                  <a:gd name="T18" fmla="*/ 2147483647 w 46"/>
                  <a:gd name="T19" fmla="*/ 2147483647 h 39"/>
                  <a:gd name="T20" fmla="*/ 2147483647 w 46"/>
                  <a:gd name="T21" fmla="*/ 2147483647 h 39"/>
                  <a:gd name="T22" fmla="*/ 2147483647 w 46"/>
                  <a:gd name="T23" fmla="*/ 0 h 39"/>
                  <a:gd name="T24" fmla="*/ 2147483647 w 46"/>
                  <a:gd name="T25" fmla="*/ 2147483647 h 39"/>
                  <a:gd name="T26" fmla="*/ 2147483647 w 46"/>
                  <a:gd name="T27" fmla="*/ 2147483647 h 39"/>
                  <a:gd name="T28" fmla="*/ 2147483647 w 46"/>
                  <a:gd name="T29" fmla="*/ 2147483647 h 39"/>
                  <a:gd name="T30" fmla="*/ 2147483647 w 46"/>
                  <a:gd name="T31" fmla="*/ 2147483647 h 39"/>
                  <a:gd name="T32" fmla="*/ 2147483647 w 46"/>
                  <a:gd name="T33" fmla="*/ 2147483647 h 39"/>
                  <a:gd name="T34" fmla="*/ 2147483647 w 46"/>
                  <a:gd name="T35" fmla="*/ 2147483647 h 39"/>
                  <a:gd name="T36" fmla="*/ 0 w 46"/>
                  <a:gd name="T37" fmla="*/ 2147483647 h 39"/>
                  <a:gd name="T38" fmla="*/ 2147483647 w 46"/>
                  <a:gd name="T39" fmla="*/ 2147483647 h 39"/>
                  <a:gd name="T40" fmla="*/ 2147483647 w 46"/>
                  <a:gd name="T41" fmla="*/ 2147483647 h 3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6"/>
                  <a:gd name="T64" fmla="*/ 0 h 39"/>
                  <a:gd name="T65" fmla="*/ 46 w 46"/>
                  <a:gd name="T66" fmla="*/ 39 h 3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6" h="39">
                    <a:moveTo>
                      <a:pt x="32" y="39"/>
                    </a:moveTo>
                    <a:cubicBezTo>
                      <a:pt x="34" y="37"/>
                      <a:pt x="34" y="37"/>
                      <a:pt x="34" y="37"/>
                    </a:cubicBezTo>
                    <a:cubicBezTo>
                      <a:pt x="34" y="35"/>
                      <a:pt x="36" y="28"/>
                      <a:pt x="36" y="26"/>
                    </a:cubicBezTo>
                    <a:cubicBezTo>
                      <a:pt x="37" y="25"/>
                      <a:pt x="39" y="23"/>
                      <a:pt x="40" y="22"/>
                    </a:cubicBezTo>
                    <a:cubicBezTo>
                      <a:pt x="42" y="21"/>
                      <a:pt x="41" y="21"/>
                      <a:pt x="41" y="21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5" y="13"/>
                      <a:pt x="45" y="13"/>
                      <a:pt x="45" y="13"/>
                    </a:cubicBezTo>
                    <a:cubicBezTo>
                      <a:pt x="45" y="13"/>
                      <a:pt x="45" y="9"/>
                      <a:pt x="45" y="8"/>
                    </a:cubicBezTo>
                    <a:cubicBezTo>
                      <a:pt x="46" y="7"/>
                      <a:pt x="44" y="5"/>
                      <a:pt x="43" y="4"/>
                    </a:cubicBezTo>
                    <a:cubicBezTo>
                      <a:pt x="42" y="4"/>
                      <a:pt x="43" y="0"/>
                      <a:pt x="43" y="0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41" y="1"/>
                      <a:pt x="37" y="5"/>
                      <a:pt x="36" y="6"/>
                    </a:cubicBezTo>
                    <a:cubicBezTo>
                      <a:pt x="35" y="7"/>
                      <a:pt x="33" y="11"/>
                      <a:pt x="29" y="13"/>
                    </a:cubicBezTo>
                    <a:cubicBezTo>
                      <a:pt x="25" y="15"/>
                      <a:pt x="25" y="19"/>
                      <a:pt x="22" y="20"/>
                    </a:cubicBezTo>
                    <a:cubicBezTo>
                      <a:pt x="19" y="22"/>
                      <a:pt x="16" y="22"/>
                      <a:pt x="12" y="22"/>
                    </a:cubicBezTo>
                    <a:cubicBezTo>
                      <a:pt x="8" y="21"/>
                      <a:pt x="8" y="21"/>
                      <a:pt x="6" y="21"/>
                    </a:cubicBezTo>
                    <a:cubicBezTo>
                      <a:pt x="3" y="22"/>
                      <a:pt x="1" y="23"/>
                      <a:pt x="0" y="23"/>
                    </a:cubicBezTo>
                    <a:cubicBezTo>
                      <a:pt x="6" y="35"/>
                      <a:pt x="6" y="35"/>
                      <a:pt x="6" y="35"/>
                    </a:cubicBezTo>
                    <a:lnTo>
                      <a:pt x="32" y="39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0" name="Freeform 62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3371466" y="5032375"/>
                <a:ext cx="16125" cy="31750"/>
              </a:xfrm>
              <a:custGeom>
                <a:avLst/>
                <a:gdLst>
                  <a:gd name="T0" fmla="*/ 2147483647 w 4"/>
                  <a:gd name="T1" fmla="*/ 2147483647 h 8"/>
                  <a:gd name="T2" fmla="*/ 2147483647 w 4"/>
                  <a:gd name="T3" fmla="*/ 2147483647 h 8"/>
                  <a:gd name="T4" fmla="*/ 2147483647 w 4"/>
                  <a:gd name="T5" fmla="*/ 2147483647 h 8"/>
                  <a:gd name="T6" fmla="*/ 2147483647 w 4"/>
                  <a:gd name="T7" fmla="*/ 2147483647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8"/>
                  <a:gd name="T14" fmla="*/ 4 w 4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8">
                    <a:moveTo>
                      <a:pt x="1" y="8"/>
                    </a:moveTo>
                    <a:cubicBezTo>
                      <a:pt x="2" y="7"/>
                      <a:pt x="4" y="3"/>
                      <a:pt x="4" y="1"/>
                    </a:cubicBezTo>
                    <a:cubicBezTo>
                      <a:pt x="4" y="0"/>
                      <a:pt x="1" y="4"/>
                      <a:pt x="1" y="4"/>
                    </a:cubicBezTo>
                    <a:cubicBezTo>
                      <a:pt x="1" y="4"/>
                      <a:pt x="0" y="8"/>
                      <a:pt x="1" y="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1" name="Freeform 63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3148655" y="5046664"/>
                <a:ext cx="11727" cy="9525"/>
              </a:xfrm>
              <a:custGeom>
                <a:avLst/>
                <a:gdLst>
                  <a:gd name="T0" fmla="*/ 0 w 3"/>
                  <a:gd name="T1" fmla="*/ 0 h 3"/>
                  <a:gd name="T2" fmla="*/ 2147483647 w 3"/>
                  <a:gd name="T3" fmla="*/ 0 h 3"/>
                  <a:gd name="T4" fmla="*/ 2147483647 w 3"/>
                  <a:gd name="T5" fmla="*/ 2147483647 h 3"/>
                  <a:gd name="T6" fmla="*/ 0 w 3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2"/>
                      <a:pt x="0" y="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2" name="Freeform 64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3164780" y="5051425"/>
                <a:ext cx="35181" cy="71438"/>
              </a:xfrm>
              <a:custGeom>
                <a:avLst/>
                <a:gdLst>
                  <a:gd name="T0" fmla="*/ 2147483647 w 9"/>
                  <a:gd name="T1" fmla="*/ 2147483647 h 18"/>
                  <a:gd name="T2" fmla="*/ 2147483647 w 9"/>
                  <a:gd name="T3" fmla="*/ 2147483647 h 18"/>
                  <a:gd name="T4" fmla="*/ 2147483647 w 9"/>
                  <a:gd name="T5" fmla="*/ 2147483647 h 18"/>
                  <a:gd name="T6" fmla="*/ 2147483647 w 9"/>
                  <a:gd name="T7" fmla="*/ 2147483647 h 18"/>
                  <a:gd name="T8" fmla="*/ 2147483647 w 9"/>
                  <a:gd name="T9" fmla="*/ 2147483647 h 18"/>
                  <a:gd name="T10" fmla="*/ 2147483647 w 9"/>
                  <a:gd name="T11" fmla="*/ 2147483647 h 18"/>
                  <a:gd name="T12" fmla="*/ 2147483647 w 9"/>
                  <a:gd name="T13" fmla="*/ 0 h 18"/>
                  <a:gd name="T14" fmla="*/ 2147483647 w 9"/>
                  <a:gd name="T15" fmla="*/ 2147483647 h 18"/>
                  <a:gd name="T16" fmla="*/ 0 w 9"/>
                  <a:gd name="T17" fmla="*/ 2147483647 h 18"/>
                  <a:gd name="T18" fmla="*/ 2147483647 w 9"/>
                  <a:gd name="T19" fmla="*/ 2147483647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8"/>
                  <a:gd name="T32" fmla="*/ 9 w 9"/>
                  <a:gd name="T33" fmla="*/ 18 h 1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8">
                    <a:moveTo>
                      <a:pt x="1" y="14"/>
                    </a:moveTo>
                    <a:cubicBezTo>
                      <a:pt x="1" y="14"/>
                      <a:pt x="4" y="16"/>
                      <a:pt x="4" y="16"/>
                    </a:cubicBezTo>
                    <a:cubicBezTo>
                      <a:pt x="5" y="16"/>
                      <a:pt x="6" y="18"/>
                      <a:pt x="6" y="18"/>
                    </a:cubicBezTo>
                    <a:cubicBezTo>
                      <a:pt x="7" y="15"/>
                      <a:pt x="7" y="13"/>
                      <a:pt x="8" y="11"/>
                    </a:cubicBezTo>
                    <a:cubicBezTo>
                      <a:pt x="9" y="10"/>
                      <a:pt x="9" y="7"/>
                      <a:pt x="8" y="6"/>
                    </a:cubicBezTo>
                    <a:cubicBezTo>
                      <a:pt x="7" y="5"/>
                      <a:pt x="8" y="4"/>
                      <a:pt x="9" y="2"/>
                    </a:cubicBezTo>
                    <a:cubicBezTo>
                      <a:pt x="9" y="0"/>
                      <a:pt x="7" y="0"/>
                      <a:pt x="5" y="0"/>
                    </a:cubicBezTo>
                    <a:cubicBezTo>
                      <a:pt x="3" y="0"/>
                      <a:pt x="2" y="1"/>
                      <a:pt x="1" y="2"/>
                    </a:cubicBezTo>
                    <a:cubicBezTo>
                      <a:pt x="0" y="4"/>
                      <a:pt x="0" y="8"/>
                      <a:pt x="0" y="9"/>
                    </a:cubicBezTo>
                    <a:cubicBezTo>
                      <a:pt x="1" y="9"/>
                      <a:pt x="1" y="11"/>
                      <a:pt x="1" y="1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3" name="Freeform 65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2999139" y="4872039"/>
                <a:ext cx="73293" cy="71437"/>
              </a:xfrm>
              <a:custGeom>
                <a:avLst/>
                <a:gdLst>
                  <a:gd name="T0" fmla="*/ 2147483647 w 19"/>
                  <a:gd name="T1" fmla="*/ 2147483647 h 18"/>
                  <a:gd name="T2" fmla="*/ 2147483647 w 19"/>
                  <a:gd name="T3" fmla="*/ 2147483647 h 18"/>
                  <a:gd name="T4" fmla="*/ 2147483647 w 19"/>
                  <a:gd name="T5" fmla="*/ 2147483647 h 18"/>
                  <a:gd name="T6" fmla="*/ 2147483647 w 19"/>
                  <a:gd name="T7" fmla="*/ 2147483647 h 18"/>
                  <a:gd name="T8" fmla="*/ 2147483647 w 19"/>
                  <a:gd name="T9" fmla="*/ 2147483647 h 18"/>
                  <a:gd name="T10" fmla="*/ 2147483647 w 19"/>
                  <a:gd name="T11" fmla="*/ 2147483647 h 18"/>
                  <a:gd name="T12" fmla="*/ 2147483647 w 19"/>
                  <a:gd name="T13" fmla="*/ 2147483647 h 18"/>
                  <a:gd name="T14" fmla="*/ 2147483647 w 19"/>
                  <a:gd name="T15" fmla="*/ 2147483647 h 18"/>
                  <a:gd name="T16" fmla="*/ 2147483647 w 19"/>
                  <a:gd name="T17" fmla="*/ 0 h 18"/>
                  <a:gd name="T18" fmla="*/ 2147483647 w 19"/>
                  <a:gd name="T19" fmla="*/ 2147483647 h 18"/>
                  <a:gd name="T20" fmla="*/ 0 w 19"/>
                  <a:gd name="T21" fmla="*/ 2147483647 h 18"/>
                  <a:gd name="T22" fmla="*/ 0 w 19"/>
                  <a:gd name="T23" fmla="*/ 2147483647 h 18"/>
                  <a:gd name="T24" fmla="*/ 2147483647 w 19"/>
                  <a:gd name="T25" fmla="*/ 2147483647 h 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18"/>
                  <a:gd name="T41" fmla="*/ 19 w 19"/>
                  <a:gd name="T42" fmla="*/ 18 h 1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18">
                    <a:moveTo>
                      <a:pt x="8" y="13"/>
                    </a:moveTo>
                    <a:cubicBezTo>
                      <a:pt x="11" y="13"/>
                      <a:pt x="11" y="18"/>
                      <a:pt x="11" y="18"/>
                    </a:cubicBezTo>
                    <a:cubicBezTo>
                      <a:pt x="19" y="18"/>
                      <a:pt x="19" y="18"/>
                      <a:pt x="19" y="18"/>
                    </a:cubicBezTo>
                    <a:cubicBezTo>
                      <a:pt x="19" y="18"/>
                      <a:pt x="19" y="17"/>
                      <a:pt x="19" y="17"/>
                    </a:cubicBezTo>
                    <a:cubicBezTo>
                      <a:pt x="18" y="16"/>
                      <a:pt x="17" y="13"/>
                      <a:pt x="16" y="11"/>
                    </a:cubicBezTo>
                    <a:cubicBezTo>
                      <a:pt x="15" y="9"/>
                      <a:pt x="15" y="6"/>
                      <a:pt x="16" y="7"/>
                    </a:cubicBezTo>
                    <a:cubicBezTo>
                      <a:pt x="17" y="8"/>
                      <a:pt x="19" y="3"/>
                      <a:pt x="19" y="3"/>
                    </a:cubicBezTo>
                    <a:cubicBezTo>
                      <a:pt x="19" y="3"/>
                      <a:pt x="17" y="2"/>
                      <a:pt x="15" y="1"/>
                    </a:cubicBezTo>
                    <a:cubicBezTo>
                      <a:pt x="14" y="0"/>
                      <a:pt x="11" y="1"/>
                      <a:pt x="9" y="0"/>
                    </a:cubicBezTo>
                    <a:cubicBezTo>
                      <a:pt x="7" y="0"/>
                      <a:pt x="7" y="2"/>
                      <a:pt x="4" y="5"/>
                    </a:cubicBezTo>
                    <a:cubicBezTo>
                      <a:pt x="2" y="8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3" y="13"/>
                      <a:pt x="7" y="13"/>
                      <a:pt x="8" y="1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4" name="Freeform 66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2547655" y="4732339"/>
                <a:ext cx="172971" cy="179387"/>
              </a:xfrm>
              <a:custGeom>
                <a:avLst/>
                <a:gdLst>
                  <a:gd name="T0" fmla="*/ 2147483647 w 44"/>
                  <a:gd name="T1" fmla="*/ 2147483647 h 46"/>
                  <a:gd name="T2" fmla="*/ 2147483647 w 44"/>
                  <a:gd name="T3" fmla="*/ 2147483647 h 46"/>
                  <a:gd name="T4" fmla="*/ 2147483647 w 44"/>
                  <a:gd name="T5" fmla="*/ 2147483647 h 46"/>
                  <a:gd name="T6" fmla="*/ 2147483647 w 44"/>
                  <a:gd name="T7" fmla="*/ 2147483647 h 46"/>
                  <a:gd name="T8" fmla="*/ 2147483647 w 44"/>
                  <a:gd name="T9" fmla="*/ 2147483647 h 46"/>
                  <a:gd name="T10" fmla="*/ 2147483647 w 44"/>
                  <a:gd name="T11" fmla="*/ 2147483647 h 46"/>
                  <a:gd name="T12" fmla="*/ 2147483647 w 44"/>
                  <a:gd name="T13" fmla="*/ 2147483647 h 46"/>
                  <a:gd name="T14" fmla="*/ 2147483647 w 44"/>
                  <a:gd name="T15" fmla="*/ 2147483647 h 46"/>
                  <a:gd name="T16" fmla="*/ 2147483647 w 44"/>
                  <a:gd name="T17" fmla="*/ 2147483647 h 46"/>
                  <a:gd name="T18" fmla="*/ 2147483647 w 44"/>
                  <a:gd name="T19" fmla="*/ 2147483647 h 46"/>
                  <a:gd name="T20" fmla="*/ 2147483647 w 44"/>
                  <a:gd name="T21" fmla="*/ 2147483647 h 46"/>
                  <a:gd name="T22" fmla="*/ 2147483647 w 44"/>
                  <a:gd name="T23" fmla="*/ 2147483647 h 46"/>
                  <a:gd name="T24" fmla="*/ 2147483647 w 44"/>
                  <a:gd name="T25" fmla="*/ 2147483647 h 46"/>
                  <a:gd name="T26" fmla="*/ 2147483647 w 44"/>
                  <a:gd name="T27" fmla="*/ 0 h 46"/>
                  <a:gd name="T28" fmla="*/ 2147483647 w 44"/>
                  <a:gd name="T29" fmla="*/ 2147483647 h 46"/>
                  <a:gd name="T30" fmla="*/ 2147483647 w 44"/>
                  <a:gd name="T31" fmla="*/ 2147483647 h 46"/>
                  <a:gd name="T32" fmla="*/ 2147483647 w 44"/>
                  <a:gd name="T33" fmla="*/ 2147483647 h 46"/>
                  <a:gd name="T34" fmla="*/ 2147483647 w 44"/>
                  <a:gd name="T35" fmla="*/ 2147483647 h 46"/>
                  <a:gd name="T36" fmla="*/ 2147483647 w 44"/>
                  <a:gd name="T37" fmla="*/ 2147483647 h 46"/>
                  <a:gd name="T38" fmla="*/ 2147483647 w 44"/>
                  <a:gd name="T39" fmla="*/ 2147483647 h 46"/>
                  <a:gd name="T40" fmla="*/ 2147483647 w 44"/>
                  <a:gd name="T41" fmla="*/ 2147483647 h 46"/>
                  <a:gd name="T42" fmla="*/ 2147483647 w 44"/>
                  <a:gd name="T43" fmla="*/ 2147483647 h 46"/>
                  <a:gd name="T44" fmla="*/ 0 w 44"/>
                  <a:gd name="T45" fmla="*/ 2147483647 h 46"/>
                  <a:gd name="T46" fmla="*/ 2147483647 w 44"/>
                  <a:gd name="T47" fmla="*/ 2147483647 h 46"/>
                  <a:gd name="T48" fmla="*/ 2147483647 w 44"/>
                  <a:gd name="T49" fmla="*/ 2147483647 h 4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4"/>
                  <a:gd name="T76" fmla="*/ 0 h 46"/>
                  <a:gd name="T77" fmla="*/ 44 w 44"/>
                  <a:gd name="T78" fmla="*/ 46 h 4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4" h="46">
                    <a:moveTo>
                      <a:pt x="12" y="46"/>
                    </a:moveTo>
                    <a:cubicBezTo>
                      <a:pt x="12" y="46"/>
                      <a:pt x="16" y="44"/>
                      <a:pt x="17" y="43"/>
                    </a:cubicBezTo>
                    <a:cubicBezTo>
                      <a:pt x="18" y="42"/>
                      <a:pt x="18" y="38"/>
                      <a:pt x="18" y="38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3" y="11"/>
                      <a:pt x="41" y="11"/>
                      <a:pt x="41" y="11"/>
                    </a:cubicBezTo>
                    <a:cubicBezTo>
                      <a:pt x="41" y="8"/>
                      <a:pt x="41" y="8"/>
                      <a:pt x="41" y="8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29" y="5"/>
                      <a:pt x="19" y="11"/>
                      <a:pt x="19" y="11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9"/>
                      <a:pt x="6" y="15"/>
                      <a:pt x="6" y="16"/>
                    </a:cubicBezTo>
                    <a:cubicBezTo>
                      <a:pt x="6" y="18"/>
                      <a:pt x="7" y="23"/>
                      <a:pt x="5" y="25"/>
                    </a:cubicBezTo>
                    <a:cubicBezTo>
                      <a:pt x="4" y="28"/>
                      <a:pt x="2" y="31"/>
                      <a:pt x="2" y="34"/>
                    </a:cubicBezTo>
                    <a:cubicBezTo>
                      <a:pt x="2" y="37"/>
                      <a:pt x="2" y="40"/>
                      <a:pt x="2" y="4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" y="45"/>
                      <a:pt x="1" y="45"/>
                      <a:pt x="1" y="45"/>
                    </a:cubicBezTo>
                    <a:lnTo>
                      <a:pt x="12" y="46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5" name="Freeform 67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2516873" y="4740276"/>
                <a:ext cx="60100" cy="157163"/>
              </a:xfrm>
              <a:custGeom>
                <a:avLst/>
                <a:gdLst>
                  <a:gd name="T0" fmla="*/ 2147483647 w 15"/>
                  <a:gd name="T1" fmla="*/ 2147483647 h 40"/>
                  <a:gd name="T2" fmla="*/ 2147483647 w 15"/>
                  <a:gd name="T3" fmla="*/ 2147483647 h 40"/>
                  <a:gd name="T4" fmla="*/ 2147483647 w 15"/>
                  <a:gd name="T5" fmla="*/ 2147483647 h 40"/>
                  <a:gd name="T6" fmla="*/ 2147483647 w 15"/>
                  <a:gd name="T7" fmla="*/ 2147483647 h 40"/>
                  <a:gd name="T8" fmla="*/ 2147483647 w 15"/>
                  <a:gd name="T9" fmla="*/ 2147483647 h 40"/>
                  <a:gd name="T10" fmla="*/ 2147483647 w 15"/>
                  <a:gd name="T11" fmla="*/ 2147483647 h 40"/>
                  <a:gd name="T12" fmla="*/ 2147483647 w 15"/>
                  <a:gd name="T13" fmla="*/ 0 h 40"/>
                  <a:gd name="T14" fmla="*/ 2147483647 w 15"/>
                  <a:gd name="T15" fmla="*/ 0 h 40"/>
                  <a:gd name="T16" fmla="*/ 2147483647 w 15"/>
                  <a:gd name="T17" fmla="*/ 2147483647 h 40"/>
                  <a:gd name="T18" fmla="*/ 2147483647 w 15"/>
                  <a:gd name="T19" fmla="*/ 2147483647 h 40"/>
                  <a:gd name="T20" fmla="*/ 0 w 15"/>
                  <a:gd name="T21" fmla="*/ 2147483647 h 40"/>
                  <a:gd name="T22" fmla="*/ 0 w 15"/>
                  <a:gd name="T23" fmla="*/ 2147483647 h 40"/>
                  <a:gd name="T24" fmla="*/ 2147483647 w 15"/>
                  <a:gd name="T25" fmla="*/ 2147483647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"/>
                  <a:gd name="T40" fmla="*/ 0 h 40"/>
                  <a:gd name="T41" fmla="*/ 15 w 15"/>
                  <a:gd name="T42" fmla="*/ 40 h 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" h="40">
                    <a:moveTo>
                      <a:pt x="1" y="20"/>
                    </a:moveTo>
                    <a:cubicBezTo>
                      <a:pt x="8" y="40"/>
                      <a:pt x="8" y="40"/>
                      <a:pt x="8" y="40"/>
                    </a:cubicBezTo>
                    <a:cubicBezTo>
                      <a:pt x="10" y="38"/>
                      <a:pt x="10" y="38"/>
                      <a:pt x="10" y="38"/>
                    </a:cubicBezTo>
                    <a:cubicBezTo>
                      <a:pt x="10" y="38"/>
                      <a:pt x="10" y="35"/>
                      <a:pt x="10" y="32"/>
                    </a:cubicBezTo>
                    <a:cubicBezTo>
                      <a:pt x="10" y="29"/>
                      <a:pt x="12" y="26"/>
                      <a:pt x="13" y="23"/>
                    </a:cubicBezTo>
                    <a:cubicBezTo>
                      <a:pt x="15" y="21"/>
                      <a:pt x="14" y="16"/>
                      <a:pt x="14" y="14"/>
                    </a:cubicBezTo>
                    <a:cubicBezTo>
                      <a:pt x="14" y="12"/>
                      <a:pt x="15" y="0"/>
                      <a:pt x="15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9" y="2"/>
                      <a:pt x="8" y="4"/>
                    </a:cubicBezTo>
                    <a:cubicBezTo>
                      <a:pt x="7" y="6"/>
                      <a:pt x="7" y="11"/>
                      <a:pt x="6" y="14"/>
                    </a:cubicBezTo>
                    <a:cubicBezTo>
                      <a:pt x="5" y="17"/>
                      <a:pt x="0" y="20"/>
                      <a:pt x="0" y="2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1" y="20"/>
                      <a:pt x="1" y="2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6" name="Freeform 68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2691309" y="4535489"/>
                <a:ext cx="381122" cy="384175"/>
              </a:xfrm>
              <a:custGeom>
                <a:avLst/>
                <a:gdLst>
                  <a:gd name="T0" fmla="*/ 2147483647 w 97"/>
                  <a:gd name="T1" fmla="*/ 2147483647 h 98"/>
                  <a:gd name="T2" fmla="*/ 2147483647 w 97"/>
                  <a:gd name="T3" fmla="*/ 2147483647 h 98"/>
                  <a:gd name="T4" fmla="*/ 2147483647 w 97"/>
                  <a:gd name="T5" fmla="*/ 2147483647 h 98"/>
                  <a:gd name="T6" fmla="*/ 2147483647 w 97"/>
                  <a:gd name="T7" fmla="*/ 2147483647 h 98"/>
                  <a:gd name="T8" fmla="*/ 2147483647 w 97"/>
                  <a:gd name="T9" fmla="*/ 2147483647 h 98"/>
                  <a:gd name="T10" fmla="*/ 2147483647 w 97"/>
                  <a:gd name="T11" fmla="*/ 2147483647 h 98"/>
                  <a:gd name="T12" fmla="*/ 2147483647 w 97"/>
                  <a:gd name="T13" fmla="*/ 2147483647 h 98"/>
                  <a:gd name="T14" fmla="*/ 2147483647 w 97"/>
                  <a:gd name="T15" fmla="*/ 2147483647 h 98"/>
                  <a:gd name="T16" fmla="*/ 2147483647 w 97"/>
                  <a:gd name="T17" fmla="*/ 2147483647 h 98"/>
                  <a:gd name="T18" fmla="*/ 2147483647 w 97"/>
                  <a:gd name="T19" fmla="*/ 2147483647 h 98"/>
                  <a:gd name="T20" fmla="*/ 2147483647 w 97"/>
                  <a:gd name="T21" fmla="*/ 2147483647 h 98"/>
                  <a:gd name="T22" fmla="*/ 2147483647 w 97"/>
                  <a:gd name="T23" fmla="*/ 2147483647 h 98"/>
                  <a:gd name="T24" fmla="*/ 2147483647 w 97"/>
                  <a:gd name="T25" fmla="*/ 2147483647 h 98"/>
                  <a:gd name="T26" fmla="*/ 2147483647 w 97"/>
                  <a:gd name="T27" fmla="*/ 0 h 98"/>
                  <a:gd name="T28" fmla="*/ 2147483647 w 97"/>
                  <a:gd name="T29" fmla="*/ 0 h 98"/>
                  <a:gd name="T30" fmla="*/ 2147483647 w 97"/>
                  <a:gd name="T31" fmla="*/ 2147483647 h 98"/>
                  <a:gd name="T32" fmla="*/ 2147483647 w 97"/>
                  <a:gd name="T33" fmla="*/ 2147483647 h 98"/>
                  <a:gd name="T34" fmla="*/ 2147483647 w 97"/>
                  <a:gd name="T35" fmla="*/ 2147483647 h 98"/>
                  <a:gd name="T36" fmla="*/ 2147483647 w 97"/>
                  <a:gd name="T37" fmla="*/ 2147483647 h 98"/>
                  <a:gd name="T38" fmla="*/ 2147483647 w 97"/>
                  <a:gd name="T39" fmla="*/ 2147483647 h 98"/>
                  <a:gd name="T40" fmla="*/ 2147483647 w 97"/>
                  <a:gd name="T41" fmla="*/ 2147483647 h 98"/>
                  <a:gd name="T42" fmla="*/ 2147483647 w 97"/>
                  <a:gd name="T43" fmla="*/ 2147483647 h 98"/>
                  <a:gd name="T44" fmla="*/ 2147483647 w 97"/>
                  <a:gd name="T45" fmla="*/ 2147483647 h 98"/>
                  <a:gd name="T46" fmla="*/ 2147483647 w 97"/>
                  <a:gd name="T47" fmla="*/ 2147483647 h 98"/>
                  <a:gd name="T48" fmla="*/ 2147483647 w 97"/>
                  <a:gd name="T49" fmla="*/ 2147483647 h 98"/>
                  <a:gd name="T50" fmla="*/ 0 w 97"/>
                  <a:gd name="T51" fmla="*/ 2147483647 h 98"/>
                  <a:gd name="T52" fmla="*/ 0 w 97"/>
                  <a:gd name="T53" fmla="*/ 2147483647 h 98"/>
                  <a:gd name="T54" fmla="*/ 2147483647 w 97"/>
                  <a:gd name="T55" fmla="*/ 2147483647 h 98"/>
                  <a:gd name="T56" fmla="*/ 2147483647 w 97"/>
                  <a:gd name="T57" fmla="*/ 2147483647 h 98"/>
                  <a:gd name="T58" fmla="*/ 2147483647 w 97"/>
                  <a:gd name="T59" fmla="*/ 2147483647 h 98"/>
                  <a:gd name="T60" fmla="*/ 2147483647 w 97"/>
                  <a:gd name="T61" fmla="*/ 2147483647 h 98"/>
                  <a:gd name="T62" fmla="*/ 2147483647 w 97"/>
                  <a:gd name="T63" fmla="*/ 2147483647 h 98"/>
                  <a:gd name="T64" fmla="*/ 2147483647 w 97"/>
                  <a:gd name="T65" fmla="*/ 2147483647 h 98"/>
                  <a:gd name="T66" fmla="*/ 2147483647 w 97"/>
                  <a:gd name="T67" fmla="*/ 2147483647 h 98"/>
                  <a:gd name="T68" fmla="*/ 2147483647 w 97"/>
                  <a:gd name="T69" fmla="*/ 2147483647 h 98"/>
                  <a:gd name="T70" fmla="*/ 2147483647 w 97"/>
                  <a:gd name="T71" fmla="*/ 2147483647 h 98"/>
                  <a:gd name="T72" fmla="*/ 2147483647 w 97"/>
                  <a:gd name="T73" fmla="*/ 2147483647 h 98"/>
                  <a:gd name="T74" fmla="*/ 2147483647 w 97"/>
                  <a:gd name="T75" fmla="*/ 2147483647 h 98"/>
                  <a:gd name="T76" fmla="*/ 2147483647 w 97"/>
                  <a:gd name="T77" fmla="*/ 2147483647 h 98"/>
                  <a:gd name="T78" fmla="*/ 2147483647 w 97"/>
                  <a:gd name="T79" fmla="*/ 2147483647 h 98"/>
                  <a:gd name="T80" fmla="*/ 2147483647 w 97"/>
                  <a:gd name="T81" fmla="*/ 2147483647 h 98"/>
                  <a:gd name="T82" fmla="*/ 2147483647 w 97"/>
                  <a:gd name="T83" fmla="*/ 2147483647 h 9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7"/>
                  <a:gd name="T127" fmla="*/ 0 h 98"/>
                  <a:gd name="T128" fmla="*/ 97 w 97"/>
                  <a:gd name="T129" fmla="*/ 98 h 9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7" h="98">
                    <a:moveTo>
                      <a:pt x="95" y="81"/>
                    </a:moveTo>
                    <a:cubicBezTo>
                      <a:pt x="91" y="80"/>
                      <a:pt x="94" y="77"/>
                      <a:pt x="93" y="76"/>
                    </a:cubicBezTo>
                    <a:cubicBezTo>
                      <a:pt x="92" y="75"/>
                      <a:pt x="90" y="73"/>
                      <a:pt x="90" y="73"/>
                    </a:cubicBezTo>
                    <a:cubicBezTo>
                      <a:pt x="91" y="64"/>
                      <a:pt x="91" y="64"/>
                      <a:pt x="91" y="64"/>
                    </a:cubicBezTo>
                    <a:cubicBezTo>
                      <a:pt x="91" y="64"/>
                      <a:pt x="87" y="59"/>
                      <a:pt x="84" y="57"/>
                    </a:cubicBezTo>
                    <a:cubicBezTo>
                      <a:pt x="82" y="56"/>
                      <a:pt x="74" y="52"/>
                      <a:pt x="74" y="52"/>
                    </a:cubicBezTo>
                    <a:cubicBezTo>
                      <a:pt x="74" y="52"/>
                      <a:pt x="72" y="45"/>
                      <a:pt x="70" y="44"/>
                    </a:cubicBezTo>
                    <a:cubicBezTo>
                      <a:pt x="68" y="43"/>
                      <a:pt x="68" y="40"/>
                      <a:pt x="68" y="40"/>
                    </a:cubicBezTo>
                    <a:cubicBezTo>
                      <a:pt x="68" y="40"/>
                      <a:pt x="68" y="36"/>
                      <a:pt x="70" y="33"/>
                    </a:cubicBezTo>
                    <a:cubicBezTo>
                      <a:pt x="71" y="31"/>
                      <a:pt x="74" y="29"/>
                      <a:pt x="74" y="27"/>
                    </a:cubicBezTo>
                    <a:cubicBezTo>
                      <a:pt x="74" y="24"/>
                      <a:pt x="73" y="22"/>
                      <a:pt x="73" y="22"/>
                    </a:cubicBezTo>
                    <a:cubicBezTo>
                      <a:pt x="73" y="22"/>
                      <a:pt x="73" y="19"/>
                      <a:pt x="70" y="18"/>
                    </a:cubicBezTo>
                    <a:cubicBezTo>
                      <a:pt x="68" y="17"/>
                      <a:pt x="66" y="12"/>
                      <a:pt x="65" y="10"/>
                    </a:cubicBezTo>
                    <a:cubicBezTo>
                      <a:pt x="64" y="9"/>
                      <a:pt x="60" y="0"/>
                      <a:pt x="60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59" y="1"/>
                      <a:pt x="59" y="1"/>
                    </a:cubicBezTo>
                    <a:cubicBezTo>
                      <a:pt x="59" y="1"/>
                      <a:pt x="57" y="6"/>
                      <a:pt x="56" y="5"/>
                    </a:cubicBezTo>
                    <a:cubicBezTo>
                      <a:pt x="56" y="4"/>
                      <a:pt x="54" y="1"/>
                      <a:pt x="52" y="2"/>
                    </a:cubicBezTo>
                    <a:cubicBezTo>
                      <a:pt x="50" y="2"/>
                      <a:pt x="46" y="2"/>
                      <a:pt x="45" y="1"/>
                    </a:cubicBezTo>
                    <a:cubicBezTo>
                      <a:pt x="44" y="0"/>
                      <a:pt x="37" y="1"/>
                      <a:pt x="37" y="1"/>
                    </a:cubicBezTo>
                    <a:cubicBezTo>
                      <a:pt x="37" y="2"/>
                      <a:pt x="37" y="6"/>
                      <a:pt x="36" y="7"/>
                    </a:cubicBezTo>
                    <a:cubicBezTo>
                      <a:pt x="34" y="7"/>
                      <a:pt x="29" y="11"/>
                      <a:pt x="28" y="11"/>
                    </a:cubicBezTo>
                    <a:cubicBezTo>
                      <a:pt x="27" y="12"/>
                      <a:pt x="27" y="18"/>
                      <a:pt x="27" y="19"/>
                    </a:cubicBezTo>
                    <a:cubicBezTo>
                      <a:pt x="27" y="21"/>
                      <a:pt x="26" y="25"/>
                      <a:pt x="26" y="26"/>
                    </a:cubicBezTo>
                    <a:cubicBezTo>
                      <a:pt x="26" y="27"/>
                      <a:pt x="28" y="33"/>
                      <a:pt x="25" y="36"/>
                    </a:cubicBezTo>
                    <a:cubicBezTo>
                      <a:pt x="23" y="37"/>
                      <a:pt x="11" y="45"/>
                      <a:pt x="0" y="51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1" y="50"/>
                      <a:pt x="2" y="50"/>
                      <a:pt x="3" y="50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1"/>
                      <a:pt x="7" y="61"/>
                      <a:pt x="8" y="63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9" y="66"/>
                      <a:pt x="30" y="73"/>
                      <a:pt x="36" y="76"/>
                    </a:cubicBezTo>
                    <a:cubicBezTo>
                      <a:pt x="41" y="80"/>
                      <a:pt x="60" y="97"/>
                      <a:pt x="60" y="97"/>
                    </a:cubicBezTo>
                    <a:cubicBezTo>
                      <a:pt x="60" y="97"/>
                      <a:pt x="70" y="98"/>
                      <a:pt x="78" y="98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8" y="98"/>
                      <a:pt x="80" y="94"/>
                      <a:pt x="82" y="91"/>
                    </a:cubicBezTo>
                    <a:cubicBezTo>
                      <a:pt x="85" y="88"/>
                      <a:pt x="85" y="86"/>
                      <a:pt x="87" y="86"/>
                    </a:cubicBezTo>
                    <a:cubicBezTo>
                      <a:pt x="89" y="87"/>
                      <a:pt x="92" y="86"/>
                      <a:pt x="93" y="87"/>
                    </a:cubicBezTo>
                    <a:cubicBezTo>
                      <a:pt x="94" y="87"/>
                      <a:pt x="95" y="88"/>
                      <a:pt x="96" y="88"/>
                    </a:cubicBezTo>
                    <a:cubicBezTo>
                      <a:pt x="96" y="87"/>
                      <a:pt x="97" y="81"/>
                      <a:pt x="95" y="8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7" name="Freeform 69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2899460" y="4422776"/>
                <a:ext cx="751984" cy="671513"/>
              </a:xfrm>
              <a:custGeom>
                <a:avLst/>
                <a:gdLst>
                  <a:gd name="T0" fmla="*/ 2147483647 w 190"/>
                  <a:gd name="T1" fmla="*/ 2147483647 h 172"/>
                  <a:gd name="T2" fmla="*/ 2147483647 w 190"/>
                  <a:gd name="T3" fmla="*/ 2147483647 h 172"/>
                  <a:gd name="T4" fmla="*/ 2147483647 w 190"/>
                  <a:gd name="T5" fmla="*/ 2147483647 h 172"/>
                  <a:gd name="T6" fmla="*/ 2147483647 w 190"/>
                  <a:gd name="T7" fmla="*/ 2147483647 h 172"/>
                  <a:gd name="T8" fmla="*/ 2147483647 w 190"/>
                  <a:gd name="T9" fmla="*/ 2147483647 h 172"/>
                  <a:gd name="T10" fmla="*/ 2147483647 w 190"/>
                  <a:gd name="T11" fmla="*/ 2147483647 h 172"/>
                  <a:gd name="T12" fmla="*/ 2147483647 w 190"/>
                  <a:gd name="T13" fmla="*/ 2147483647 h 172"/>
                  <a:gd name="T14" fmla="*/ 2147483647 w 190"/>
                  <a:gd name="T15" fmla="*/ 2147483647 h 172"/>
                  <a:gd name="T16" fmla="*/ 2147483647 w 190"/>
                  <a:gd name="T17" fmla="*/ 2147483647 h 172"/>
                  <a:gd name="T18" fmla="*/ 2147483647 w 190"/>
                  <a:gd name="T19" fmla="*/ 2147483647 h 172"/>
                  <a:gd name="T20" fmla="*/ 2147483647 w 190"/>
                  <a:gd name="T21" fmla="*/ 2147483647 h 172"/>
                  <a:gd name="T22" fmla="*/ 2147483647 w 190"/>
                  <a:gd name="T23" fmla="*/ 2147483647 h 172"/>
                  <a:gd name="T24" fmla="*/ 2147483647 w 190"/>
                  <a:gd name="T25" fmla="*/ 2147483647 h 172"/>
                  <a:gd name="T26" fmla="*/ 2147483647 w 190"/>
                  <a:gd name="T27" fmla="*/ 2147483647 h 172"/>
                  <a:gd name="T28" fmla="*/ 2147483647 w 190"/>
                  <a:gd name="T29" fmla="*/ 2147483647 h 172"/>
                  <a:gd name="T30" fmla="*/ 2147483647 w 190"/>
                  <a:gd name="T31" fmla="*/ 2147483647 h 172"/>
                  <a:gd name="T32" fmla="*/ 2147483647 w 190"/>
                  <a:gd name="T33" fmla="*/ 2147483647 h 172"/>
                  <a:gd name="T34" fmla="*/ 2147483647 w 190"/>
                  <a:gd name="T35" fmla="*/ 2147483647 h 172"/>
                  <a:gd name="T36" fmla="*/ 2147483647 w 190"/>
                  <a:gd name="T37" fmla="*/ 2147483647 h 172"/>
                  <a:gd name="T38" fmla="*/ 2147483647 w 190"/>
                  <a:gd name="T39" fmla="*/ 2147483647 h 172"/>
                  <a:gd name="T40" fmla="*/ 2147483647 w 190"/>
                  <a:gd name="T41" fmla="*/ 2147483647 h 172"/>
                  <a:gd name="T42" fmla="*/ 2147483647 w 190"/>
                  <a:gd name="T43" fmla="*/ 2147483647 h 172"/>
                  <a:gd name="T44" fmla="*/ 2147483647 w 190"/>
                  <a:gd name="T45" fmla="*/ 2147483647 h 172"/>
                  <a:gd name="T46" fmla="*/ 2147483647 w 190"/>
                  <a:gd name="T47" fmla="*/ 2147483647 h 172"/>
                  <a:gd name="T48" fmla="*/ 2147483647 w 190"/>
                  <a:gd name="T49" fmla="*/ 2147483647 h 172"/>
                  <a:gd name="T50" fmla="*/ 2147483647 w 190"/>
                  <a:gd name="T51" fmla="*/ 2147483647 h 172"/>
                  <a:gd name="T52" fmla="*/ 2147483647 w 190"/>
                  <a:gd name="T53" fmla="*/ 2147483647 h 172"/>
                  <a:gd name="T54" fmla="*/ 2147483647 w 190"/>
                  <a:gd name="T55" fmla="*/ 2147483647 h 172"/>
                  <a:gd name="T56" fmla="*/ 2147483647 w 190"/>
                  <a:gd name="T57" fmla="*/ 2147483647 h 172"/>
                  <a:gd name="T58" fmla="*/ 2147483647 w 190"/>
                  <a:gd name="T59" fmla="*/ 2147483647 h 172"/>
                  <a:gd name="T60" fmla="*/ 2147483647 w 190"/>
                  <a:gd name="T61" fmla="*/ 2147483647 h 172"/>
                  <a:gd name="T62" fmla="*/ 2147483647 w 190"/>
                  <a:gd name="T63" fmla="*/ 2147483647 h 172"/>
                  <a:gd name="T64" fmla="*/ 2147483647 w 190"/>
                  <a:gd name="T65" fmla="*/ 2147483647 h 172"/>
                  <a:gd name="T66" fmla="*/ 2147483647 w 190"/>
                  <a:gd name="T67" fmla="*/ 2147483647 h 172"/>
                  <a:gd name="T68" fmla="*/ 2147483647 w 190"/>
                  <a:gd name="T69" fmla="*/ 2147483647 h 172"/>
                  <a:gd name="T70" fmla="*/ 2147483647 w 190"/>
                  <a:gd name="T71" fmla="*/ 2147483647 h 172"/>
                  <a:gd name="T72" fmla="*/ 2147483647 w 190"/>
                  <a:gd name="T73" fmla="*/ 2147483647 h 172"/>
                  <a:gd name="T74" fmla="*/ 2147483647 w 190"/>
                  <a:gd name="T75" fmla="*/ 2147483647 h 172"/>
                  <a:gd name="T76" fmla="*/ 2147483647 w 190"/>
                  <a:gd name="T77" fmla="*/ 2147483647 h 172"/>
                  <a:gd name="T78" fmla="*/ 2147483647 w 190"/>
                  <a:gd name="T79" fmla="*/ 2147483647 h 172"/>
                  <a:gd name="T80" fmla="*/ 2147483647 w 190"/>
                  <a:gd name="T81" fmla="*/ 2147483647 h 172"/>
                  <a:gd name="T82" fmla="*/ 2147483647 w 190"/>
                  <a:gd name="T83" fmla="*/ 2147483647 h 172"/>
                  <a:gd name="T84" fmla="*/ 2147483647 w 190"/>
                  <a:gd name="T85" fmla="*/ 2147483647 h 17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90"/>
                  <a:gd name="T130" fmla="*/ 0 h 172"/>
                  <a:gd name="T131" fmla="*/ 190 w 190"/>
                  <a:gd name="T132" fmla="*/ 172 h 17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90" h="172">
                    <a:moveTo>
                      <a:pt x="185" y="147"/>
                    </a:moveTo>
                    <a:cubicBezTo>
                      <a:pt x="184" y="136"/>
                      <a:pt x="184" y="136"/>
                      <a:pt x="184" y="136"/>
                    </a:cubicBezTo>
                    <a:cubicBezTo>
                      <a:pt x="175" y="132"/>
                      <a:pt x="175" y="132"/>
                      <a:pt x="175" y="132"/>
                    </a:cubicBezTo>
                    <a:cubicBezTo>
                      <a:pt x="166" y="118"/>
                      <a:pt x="166" y="118"/>
                      <a:pt x="166" y="118"/>
                    </a:cubicBezTo>
                    <a:cubicBezTo>
                      <a:pt x="166" y="118"/>
                      <a:pt x="168" y="115"/>
                      <a:pt x="171" y="112"/>
                    </a:cubicBezTo>
                    <a:cubicBezTo>
                      <a:pt x="175" y="108"/>
                      <a:pt x="175" y="105"/>
                      <a:pt x="174" y="102"/>
                    </a:cubicBezTo>
                    <a:cubicBezTo>
                      <a:pt x="174" y="99"/>
                      <a:pt x="166" y="99"/>
                      <a:pt x="166" y="99"/>
                    </a:cubicBezTo>
                    <a:cubicBezTo>
                      <a:pt x="166" y="91"/>
                      <a:pt x="166" y="91"/>
                      <a:pt x="166" y="91"/>
                    </a:cubicBezTo>
                    <a:cubicBezTo>
                      <a:pt x="164" y="82"/>
                      <a:pt x="164" y="82"/>
                      <a:pt x="164" y="82"/>
                    </a:cubicBezTo>
                    <a:cubicBezTo>
                      <a:pt x="167" y="76"/>
                      <a:pt x="167" y="76"/>
                      <a:pt x="167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2" y="69"/>
                      <a:pt x="162" y="69"/>
                      <a:pt x="162" y="69"/>
                    </a:cubicBezTo>
                    <a:cubicBezTo>
                      <a:pt x="166" y="65"/>
                      <a:pt x="166" y="65"/>
                      <a:pt x="166" y="65"/>
                    </a:cubicBezTo>
                    <a:cubicBezTo>
                      <a:pt x="166" y="65"/>
                      <a:pt x="168" y="62"/>
                      <a:pt x="169" y="57"/>
                    </a:cubicBezTo>
                    <a:cubicBezTo>
                      <a:pt x="170" y="52"/>
                      <a:pt x="169" y="50"/>
                      <a:pt x="170" y="48"/>
                    </a:cubicBezTo>
                    <a:cubicBezTo>
                      <a:pt x="172" y="46"/>
                      <a:pt x="168" y="39"/>
                      <a:pt x="168" y="39"/>
                    </a:cubicBezTo>
                    <a:cubicBezTo>
                      <a:pt x="162" y="39"/>
                      <a:pt x="162" y="39"/>
                      <a:pt x="162" y="39"/>
                    </a:cubicBezTo>
                    <a:cubicBezTo>
                      <a:pt x="156" y="33"/>
                      <a:pt x="156" y="33"/>
                      <a:pt x="156" y="33"/>
                    </a:cubicBezTo>
                    <a:cubicBezTo>
                      <a:pt x="156" y="33"/>
                      <a:pt x="151" y="29"/>
                      <a:pt x="149" y="27"/>
                    </a:cubicBezTo>
                    <a:cubicBezTo>
                      <a:pt x="146" y="26"/>
                      <a:pt x="142" y="26"/>
                      <a:pt x="140" y="24"/>
                    </a:cubicBezTo>
                    <a:cubicBezTo>
                      <a:pt x="137" y="22"/>
                      <a:pt x="132" y="20"/>
                      <a:pt x="132" y="20"/>
                    </a:cubicBezTo>
                    <a:cubicBezTo>
                      <a:pt x="132" y="20"/>
                      <a:pt x="128" y="19"/>
                      <a:pt x="124" y="18"/>
                    </a:cubicBezTo>
                    <a:cubicBezTo>
                      <a:pt x="121" y="17"/>
                      <a:pt x="120" y="21"/>
                      <a:pt x="115" y="21"/>
                    </a:cubicBezTo>
                    <a:cubicBezTo>
                      <a:pt x="110" y="21"/>
                      <a:pt x="107" y="25"/>
                      <a:pt x="106" y="27"/>
                    </a:cubicBezTo>
                    <a:cubicBezTo>
                      <a:pt x="106" y="29"/>
                      <a:pt x="98" y="29"/>
                      <a:pt x="98" y="29"/>
                    </a:cubicBezTo>
                    <a:cubicBezTo>
                      <a:pt x="98" y="33"/>
                      <a:pt x="98" y="33"/>
                      <a:pt x="98" y="33"/>
                    </a:cubicBezTo>
                    <a:cubicBezTo>
                      <a:pt x="98" y="33"/>
                      <a:pt x="88" y="37"/>
                      <a:pt x="84" y="38"/>
                    </a:cubicBezTo>
                    <a:cubicBezTo>
                      <a:pt x="80" y="39"/>
                      <a:pt x="71" y="39"/>
                      <a:pt x="65" y="34"/>
                    </a:cubicBezTo>
                    <a:cubicBezTo>
                      <a:pt x="59" y="30"/>
                      <a:pt x="60" y="27"/>
                      <a:pt x="60" y="27"/>
                    </a:cubicBezTo>
                    <a:cubicBezTo>
                      <a:pt x="60" y="27"/>
                      <a:pt x="56" y="28"/>
                      <a:pt x="52" y="27"/>
                    </a:cubicBezTo>
                    <a:cubicBezTo>
                      <a:pt x="48" y="27"/>
                      <a:pt x="49" y="18"/>
                      <a:pt x="49" y="18"/>
                    </a:cubicBezTo>
                    <a:cubicBezTo>
                      <a:pt x="40" y="11"/>
                      <a:pt x="40" y="11"/>
                      <a:pt x="40" y="11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35" y="3"/>
                      <a:pt x="28" y="8"/>
                    </a:cubicBezTo>
                    <a:cubicBezTo>
                      <a:pt x="22" y="12"/>
                      <a:pt x="16" y="10"/>
                      <a:pt x="13" y="8"/>
                    </a:cubicBezTo>
                    <a:cubicBezTo>
                      <a:pt x="10" y="6"/>
                      <a:pt x="7" y="2"/>
                      <a:pt x="6" y="0"/>
                    </a:cubicBezTo>
                    <a:cubicBezTo>
                      <a:pt x="6" y="1"/>
                      <a:pt x="5" y="1"/>
                      <a:pt x="5" y="2"/>
                    </a:cubicBezTo>
                    <a:cubicBezTo>
                      <a:pt x="4" y="3"/>
                      <a:pt x="2" y="4"/>
                      <a:pt x="1" y="4"/>
                    </a:cubicBezTo>
                    <a:cubicBezTo>
                      <a:pt x="0" y="4"/>
                      <a:pt x="1" y="9"/>
                      <a:pt x="2" y="10"/>
                    </a:cubicBezTo>
                    <a:cubicBezTo>
                      <a:pt x="3" y="10"/>
                      <a:pt x="3" y="13"/>
                      <a:pt x="3" y="13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5" y="23"/>
                      <a:pt x="6" y="24"/>
                    </a:cubicBezTo>
                    <a:cubicBezTo>
                      <a:pt x="6" y="25"/>
                      <a:pt x="6" y="27"/>
                      <a:pt x="6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7" y="29"/>
                      <a:pt x="11" y="38"/>
                      <a:pt x="12" y="39"/>
                    </a:cubicBezTo>
                    <a:cubicBezTo>
                      <a:pt x="13" y="41"/>
                      <a:pt x="15" y="46"/>
                      <a:pt x="17" y="47"/>
                    </a:cubicBezTo>
                    <a:cubicBezTo>
                      <a:pt x="20" y="48"/>
                      <a:pt x="20" y="51"/>
                      <a:pt x="20" y="51"/>
                    </a:cubicBezTo>
                    <a:cubicBezTo>
                      <a:pt x="20" y="51"/>
                      <a:pt x="21" y="53"/>
                      <a:pt x="21" y="56"/>
                    </a:cubicBezTo>
                    <a:cubicBezTo>
                      <a:pt x="21" y="58"/>
                      <a:pt x="18" y="60"/>
                      <a:pt x="17" y="62"/>
                    </a:cubicBezTo>
                    <a:cubicBezTo>
                      <a:pt x="15" y="65"/>
                      <a:pt x="15" y="69"/>
                      <a:pt x="15" y="69"/>
                    </a:cubicBezTo>
                    <a:cubicBezTo>
                      <a:pt x="15" y="69"/>
                      <a:pt x="15" y="72"/>
                      <a:pt x="17" y="73"/>
                    </a:cubicBezTo>
                    <a:cubicBezTo>
                      <a:pt x="19" y="74"/>
                      <a:pt x="21" y="81"/>
                      <a:pt x="21" y="81"/>
                    </a:cubicBezTo>
                    <a:cubicBezTo>
                      <a:pt x="21" y="81"/>
                      <a:pt x="29" y="85"/>
                      <a:pt x="31" y="86"/>
                    </a:cubicBezTo>
                    <a:cubicBezTo>
                      <a:pt x="34" y="88"/>
                      <a:pt x="38" y="93"/>
                      <a:pt x="38" y="93"/>
                    </a:cubicBezTo>
                    <a:cubicBezTo>
                      <a:pt x="37" y="102"/>
                      <a:pt x="37" y="102"/>
                      <a:pt x="37" y="102"/>
                    </a:cubicBezTo>
                    <a:cubicBezTo>
                      <a:pt x="37" y="102"/>
                      <a:pt x="39" y="104"/>
                      <a:pt x="40" y="105"/>
                    </a:cubicBezTo>
                    <a:cubicBezTo>
                      <a:pt x="41" y="106"/>
                      <a:pt x="38" y="109"/>
                      <a:pt x="42" y="110"/>
                    </a:cubicBezTo>
                    <a:cubicBezTo>
                      <a:pt x="44" y="110"/>
                      <a:pt x="43" y="116"/>
                      <a:pt x="43" y="117"/>
                    </a:cubicBezTo>
                    <a:cubicBezTo>
                      <a:pt x="43" y="117"/>
                      <a:pt x="43" y="117"/>
                      <a:pt x="43" y="117"/>
                    </a:cubicBezTo>
                    <a:cubicBezTo>
                      <a:pt x="43" y="118"/>
                      <a:pt x="44" y="118"/>
                      <a:pt x="44" y="118"/>
                    </a:cubicBezTo>
                    <a:cubicBezTo>
                      <a:pt x="44" y="118"/>
                      <a:pt x="44" y="119"/>
                      <a:pt x="43" y="119"/>
                    </a:cubicBezTo>
                    <a:cubicBezTo>
                      <a:pt x="44" y="119"/>
                      <a:pt x="44" y="119"/>
                      <a:pt x="44" y="119"/>
                    </a:cubicBezTo>
                    <a:cubicBezTo>
                      <a:pt x="44" y="119"/>
                      <a:pt x="50" y="116"/>
                      <a:pt x="51" y="116"/>
                    </a:cubicBezTo>
                    <a:cubicBezTo>
                      <a:pt x="52" y="116"/>
                      <a:pt x="58" y="115"/>
                      <a:pt x="60" y="116"/>
                    </a:cubicBezTo>
                    <a:cubicBezTo>
                      <a:pt x="62" y="116"/>
                      <a:pt x="63" y="119"/>
                      <a:pt x="64" y="123"/>
                    </a:cubicBezTo>
                    <a:cubicBezTo>
                      <a:pt x="65" y="127"/>
                      <a:pt x="69" y="132"/>
                      <a:pt x="71" y="136"/>
                    </a:cubicBezTo>
                    <a:cubicBezTo>
                      <a:pt x="72" y="139"/>
                      <a:pt x="77" y="141"/>
                      <a:pt x="77" y="141"/>
                    </a:cubicBezTo>
                    <a:cubicBezTo>
                      <a:pt x="77" y="141"/>
                      <a:pt x="85" y="144"/>
                      <a:pt x="88" y="147"/>
                    </a:cubicBezTo>
                    <a:cubicBezTo>
                      <a:pt x="92" y="150"/>
                      <a:pt x="105" y="156"/>
                      <a:pt x="105" y="156"/>
                    </a:cubicBezTo>
                    <a:cubicBezTo>
                      <a:pt x="111" y="153"/>
                      <a:pt x="111" y="153"/>
                      <a:pt x="111" y="153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20" y="150"/>
                      <a:pt x="120" y="150"/>
                      <a:pt x="120" y="150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52"/>
                      <a:pt x="114" y="150"/>
                      <a:pt x="120" y="148"/>
                    </a:cubicBezTo>
                    <a:cubicBezTo>
                      <a:pt x="127" y="146"/>
                      <a:pt x="128" y="152"/>
                      <a:pt x="128" y="155"/>
                    </a:cubicBezTo>
                    <a:cubicBezTo>
                      <a:pt x="129" y="158"/>
                      <a:pt x="131" y="164"/>
                      <a:pt x="131" y="164"/>
                    </a:cubicBezTo>
                    <a:cubicBezTo>
                      <a:pt x="131" y="164"/>
                      <a:pt x="148" y="167"/>
                      <a:pt x="153" y="167"/>
                    </a:cubicBezTo>
                    <a:cubicBezTo>
                      <a:pt x="157" y="167"/>
                      <a:pt x="169" y="170"/>
                      <a:pt x="170" y="171"/>
                    </a:cubicBezTo>
                    <a:cubicBezTo>
                      <a:pt x="172" y="172"/>
                      <a:pt x="174" y="169"/>
                      <a:pt x="174" y="169"/>
                    </a:cubicBezTo>
                    <a:cubicBezTo>
                      <a:pt x="174" y="169"/>
                      <a:pt x="175" y="161"/>
                      <a:pt x="177" y="158"/>
                    </a:cubicBezTo>
                    <a:cubicBezTo>
                      <a:pt x="180" y="155"/>
                      <a:pt x="190" y="153"/>
                      <a:pt x="190" y="153"/>
                    </a:cubicBezTo>
                    <a:cubicBezTo>
                      <a:pt x="190" y="148"/>
                      <a:pt x="190" y="148"/>
                      <a:pt x="190" y="148"/>
                    </a:cubicBezTo>
                    <a:lnTo>
                      <a:pt x="185" y="147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8" name="Freeform 70"/>
              <p:cNvSpPr>
                <a:spLocks noEditPoints="1"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3890419" y="4241800"/>
                <a:ext cx="420701" cy="204788"/>
              </a:xfrm>
              <a:custGeom>
                <a:avLst/>
                <a:gdLst>
                  <a:gd name="T0" fmla="*/ 2147483647 w 107"/>
                  <a:gd name="T1" fmla="*/ 2147483647 h 52"/>
                  <a:gd name="T2" fmla="*/ 2147483647 w 107"/>
                  <a:gd name="T3" fmla="*/ 2147483647 h 52"/>
                  <a:gd name="T4" fmla="*/ 2147483647 w 107"/>
                  <a:gd name="T5" fmla="*/ 2147483647 h 52"/>
                  <a:gd name="T6" fmla="*/ 2147483647 w 107"/>
                  <a:gd name="T7" fmla="*/ 2147483647 h 52"/>
                  <a:gd name="T8" fmla="*/ 2147483647 w 107"/>
                  <a:gd name="T9" fmla="*/ 2147483647 h 52"/>
                  <a:gd name="T10" fmla="*/ 2147483647 w 107"/>
                  <a:gd name="T11" fmla="*/ 2147483647 h 52"/>
                  <a:gd name="T12" fmla="*/ 2147483647 w 107"/>
                  <a:gd name="T13" fmla="*/ 2147483647 h 52"/>
                  <a:gd name="T14" fmla="*/ 2147483647 w 107"/>
                  <a:gd name="T15" fmla="*/ 2147483647 h 52"/>
                  <a:gd name="T16" fmla="*/ 2147483647 w 107"/>
                  <a:gd name="T17" fmla="*/ 2147483647 h 52"/>
                  <a:gd name="T18" fmla="*/ 2147483647 w 107"/>
                  <a:gd name="T19" fmla="*/ 2147483647 h 52"/>
                  <a:gd name="T20" fmla="*/ 2147483647 w 107"/>
                  <a:gd name="T21" fmla="*/ 2147483647 h 52"/>
                  <a:gd name="T22" fmla="*/ 2147483647 w 107"/>
                  <a:gd name="T23" fmla="*/ 2147483647 h 52"/>
                  <a:gd name="T24" fmla="*/ 2147483647 w 107"/>
                  <a:gd name="T25" fmla="*/ 2147483647 h 52"/>
                  <a:gd name="T26" fmla="*/ 2147483647 w 107"/>
                  <a:gd name="T27" fmla="*/ 2147483647 h 52"/>
                  <a:gd name="T28" fmla="*/ 2147483647 w 107"/>
                  <a:gd name="T29" fmla="*/ 2147483647 h 52"/>
                  <a:gd name="T30" fmla="*/ 2147483647 w 107"/>
                  <a:gd name="T31" fmla="*/ 2147483647 h 52"/>
                  <a:gd name="T32" fmla="*/ 2147483647 w 107"/>
                  <a:gd name="T33" fmla="*/ 2147483647 h 52"/>
                  <a:gd name="T34" fmla="*/ 2147483647 w 107"/>
                  <a:gd name="T35" fmla="*/ 2147483647 h 52"/>
                  <a:gd name="T36" fmla="*/ 2147483647 w 107"/>
                  <a:gd name="T37" fmla="*/ 2147483647 h 52"/>
                  <a:gd name="T38" fmla="*/ 2147483647 w 107"/>
                  <a:gd name="T39" fmla="*/ 2147483647 h 52"/>
                  <a:gd name="T40" fmla="*/ 2147483647 w 107"/>
                  <a:gd name="T41" fmla="*/ 2147483647 h 52"/>
                  <a:gd name="T42" fmla="*/ 2147483647 w 107"/>
                  <a:gd name="T43" fmla="*/ 2147483647 h 52"/>
                  <a:gd name="T44" fmla="*/ 2147483647 w 107"/>
                  <a:gd name="T45" fmla="*/ 2147483647 h 52"/>
                  <a:gd name="T46" fmla="*/ 2147483647 w 107"/>
                  <a:gd name="T47" fmla="*/ 2147483647 h 52"/>
                  <a:gd name="T48" fmla="*/ 0 w 107"/>
                  <a:gd name="T49" fmla="*/ 2147483647 h 52"/>
                  <a:gd name="T50" fmla="*/ 2147483647 w 107"/>
                  <a:gd name="T51" fmla="*/ 2147483647 h 52"/>
                  <a:gd name="T52" fmla="*/ 2147483647 w 107"/>
                  <a:gd name="T53" fmla="*/ 2147483647 h 52"/>
                  <a:gd name="T54" fmla="*/ 2147483647 w 107"/>
                  <a:gd name="T55" fmla="*/ 2147483647 h 52"/>
                  <a:gd name="T56" fmla="*/ 2147483647 w 107"/>
                  <a:gd name="T57" fmla="*/ 2147483647 h 52"/>
                  <a:gd name="T58" fmla="*/ 2147483647 w 107"/>
                  <a:gd name="T59" fmla="*/ 2147483647 h 52"/>
                  <a:gd name="T60" fmla="*/ 2147483647 w 107"/>
                  <a:gd name="T61" fmla="*/ 2147483647 h 52"/>
                  <a:gd name="T62" fmla="*/ 2147483647 w 107"/>
                  <a:gd name="T63" fmla="*/ 2147483647 h 52"/>
                  <a:gd name="T64" fmla="*/ 2147483647 w 107"/>
                  <a:gd name="T65" fmla="*/ 2147483647 h 52"/>
                  <a:gd name="T66" fmla="*/ 2147483647 w 107"/>
                  <a:gd name="T67" fmla="*/ 2147483647 h 52"/>
                  <a:gd name="T68" fmla="*/ 2147483647 w 107"/>
                  <a:gd name="T69" fmla="*/ 2147483647 h 52"/>
                  <a:gd name="T70" fmla="*/ 2147483647 w 107"/>
                  <a:gd name="T71" fmla="*/ 2147483647 h 52"/>
                  <a:gd name="T72" fmla="*/ 2147483647 w 107"/>
                  <a:gd name="T73" fmla="*/ 2147483647 h 52"/>
                  <a:gd name="T74" fmla="*/ 2147483647 w 107"/>
                  <a:gd name="T75" fmla="*/ 2147483647 h 52"/>
                  <a:gd name="T76" fmla="*/ 2147483647 w 107"/>
                  <a:gd name="T77" fmla="*/ 2147483647 h 52"/>
                  <a:gd name="T78" fmla="*/ 2147483647 w 107"/>
                  <a:gd name="T79" fmla="*/ 2147483647 h 52"/>
                  <a:gd name="T80" fmla="*/ 2147483647 w 107"/>
                  <a:gd name="T81" fmla="*/ 2147483647 h 52"/>
                  <a:gd name="T82" fmla="*/ 2147483647 w 107"/>
                  <a:gd name="T83" fmla="*/ 2147483647 h 52"/>
                  <a:gd name="T84" fmla="*/ 2147483647 w 107"/>
                  <a:gd name="T85" fmla="*/ 2147483647 h 52"/>
                  <a:gd name="T86" fmla="*/ 2147483647 w 107"/>
                  <a:gd name="T87" fmla="*/ 2147483647 h 52"/>
                  <a:gd name="T88" fmla="*/ 2147483647 w 107"/>
                  <a:gd name="T89" fmla="*/ 2147483647 h 52"/>
                  <a:gd name="T90" fmla="*/ 2147483647 w 107"/>
                  <a:gd name="T91" fmla="*/ 2147483647 h 5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7"/>
                  <a:gd name="T139" fmla="*/ 0 h 52"/>
                  <a:gd name="T140" fmla="*/ 107 w 107"/>
                  <a:gd name="T141" fmla="*/ 52 h 5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7" h="52">
                    <a:moveTo>
                      <a:pt x="94" y="6"/>
                    </a:moveTo>
                    <a:cubicBezTo>
                      <a:pt x="92" y="5"/>
                      <a:pt x="80" y="3"/>
                      <a:pt x="78" y="3"/>
                    </a:cubicBezTo>
                    <a:cubicBezTo>
                      <a:pt x="76" y="3"/>
                      <a:pt x="69" y="4"/>
                      <a:pt x="68" y="4"/>
                    </a:cubicBezTo>
                    <a:cubicBezTo>
                      <a:pt x="67" y="5"/>
                      <a:pt x="59" y="6"/>
                      <a:pt x="58" y="5"/>
                    </a:cubicBezTo>
                    <a:cubicBezTo>
                      <a:pt x="56" y="4"/>
                      <a:pt x="49" y="0"/>
                      <a:pt x="47" y="1"/>
                    </a:cubicBezTo>
                    <a:cubicBezTo>
                      <a:pt x="44" y="1"/>
                      <a:pt x="41" y="3"/>
                      <a:pt x="41" y="4"/>
                    </a:cubicBezTo>
                    <a:cubicBezTo>
                      <a:pt x="41" y="6"/>
                      <a:pt x="41" y="11"/>
                      <a:pt x="41" y="11"/>
                    </a:cubicBezTo>
                    <a:cubicBezTo>
                      <a:pt x="41" y="11"/>
                      <a:pt x="30" y="5"/>
                      <a:pt x="27" y="5"/>
                    </a:cubicBezTo>
                    <a:cubicBezTo>
                      <a:pt x="25" y="5"/>
                      <a:pt x="19" y="5"/>
                      <a:pt x="18" y="6"/>
                    </a:cubicBezTo>
                    <a:cubicBezTo>
                      <a:pt x="17" y="7"/>
                      <a:pt x="16" y="12"/>
                      <a:pt x="14" y="15"/>
                    </a:cubicBezTo>
                    <a:cubicBezTo>
                      <a:pt x="16" y="14"/>
                      <a:pt x="18" y="13"/>
                      <a:pt x="18" y="14"/>
                    </a:cubicBezTo>
                    <a:cubicBezTo>
                      <a:pt x="19" y="16"/>
                      <a:pt x="13" y="20"/>
                      <a:pt x="12" y="21"/>
                    </a:cubicBezTo>
                    <a:cubicBezTo>
                      <a:pt x="10" y="22"/>
                      <a:pt x="13" y="25"/>
                      <a:pt x="13" y="25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4" y="23"/>
                      <a:pt x="26" y="26"/>
                      <a:pt x="27" y="27"/>
                    </a:cubicBezTo>
                    <a:cubicBezTo>
                      <a:pt x="29" y="28"/>
                      <a:pt x="34" y="31"/>
                      <a:pt x="34" y="31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7" y="39"/>
                      <a:pt x="15" y="41"/>
                      <a:pt x="13" y="42"/>
                    </a:cubicBezTo>
                    <a:cubicBezTo>
                      <a:pt x="11" y="44"/>
                      <a:pt x="9" y="40"/>
                      <a:pt x="6" y="40"/>
                    </a:cubicBezTo>
                    <a:cubicBezTo>
                      <a:pt x="3" y="40"/>
                      <a:pt x="1" y="43"/>
                      <a:pt x="1" y="43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11" y="46"/>
                      <a:pt x="12" y="47"/>
                    </a:cubicBezTo>
                    <a:cubicBezTo>
                      <a:pt x="13" y="48"/>
                      <a:pt x="17" y="50"/>
                      <a:pt x="17" y="50"/>
                    </a:cubicBezTo>
                    <a:cubicBezTo>
                      <a:pt x="17" y="50"/>
                      <a:pt x="19" y="48"/>
                      <a:pt x="21" y="48"/>
                    </a:cubicBezTo>
                    <a:cubicBezTo>
                      <a:pt x="23" y="48"/>
                      <a:pt x="27" y="52"/>
                      <a:pt x="27" y="52"/>
                    </a:cubicBezTo>
                    <a:cubicBezTo>
                      <a:pt x="27" y="52"/>
                      <a:pt x="34" y="50"/>
                      <a:pt x="36" y="50"/>
                    </a:cubicBezTo>
                    <a:cubicBezTo>
                      <a:pt x="38" y="50"/>
                      <a:pt x="44" y="48"/>
                      <a:pt x="44" y="48"/>
                    </a:cubicBezTo>
                    <a:cubicBezTo>
                      <a:pt x="44" y="48"/>
                      <a:pt x="44" y="41"/>
                      <a:pt x="47" y="41"/>
                    </a:cubicBezTo>
                    <a:cubicBezTo>
                      <a:pt x="49" y="40"/>
                      <a:pt x="51" y="40"/>
                      <a:pt x="53" y="39"/>
                    </a:cubicBezTo>
                    <a:cubicBezTo>
                      <a:pt x="55" y="38"/>
                      <a:pt x="58" y="36"/>
                      <a:pt x="60" y="35"/>
                    </a:cubicBezTo>
                    <a:cubicBezTo>
                      <a:pt x="61" y="34"/>
                      <a:pt x="62" y="38"/>
                      <a:pt x="64" y="38"/>
                    </a:cubicBezTo>
                    <a:cubicBezTo>
                      <a:pt x="66" y="37"/>
                      <a:pt x="71" y="35"/>
                      <a:pt x="71" y="35"/>
                    </a:cubicBezTo>
                    <a:cubicBezTo>
                      <a:pt x="71" y="35"/>
                      <a:pt x="73" y="29"/>
                      <a:pt x="75" y="30"/>
                    </a:cubicBezTo>
                    <a:cubicBezTo>
                      <a:pt x="77" y="30"/>
                      <a:pt x="84" y="29"/>
                      <a:pt x="87" y="28"/>
                    </a:cubicBezTo>
                    <a:cubicBezTo>
                      <a:pt x="91" y="26"/>
                      <a:pt x="90" y="21"/>
                      <a:pt x="93" y="21"/>
                    </a:cubicBezTo>
                    <a:cubicBezTo>
                      <a:pt x="96" y="21"/>
                      <a:pt x="101" y="20"/>
                      <a:pt x="102" y="19"/>
                    </a:cubicBezTo>
                    <a:cubicBezTo>
                      <a:pt x="103" y="18"/>
                      <a:pt x="107" y="14"/>
                      <a:pt x="107" y="14"/>
                    </a:cubicBezTo>
                    <a:cubicBezTo>
                      <a:pt x="107" y="14"/>
                      <a:pt x="96" y="6"/>
                      <a:pt x="94" y="6"/>
                    </a:cubicBezTo>
                    <a:close/>
                    <a:moveTo>
                      <a:pt x="83" y="14"/>
                    </a:moveTo>
                    <a:cubicBezTo>
                      <a:pt x="80" y="15"/>
                      <a:pt x="69" y="12"/>
                      <a:pt x="68" y="10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6" y="7"/>
                      <a:pt x="86" y="13"/>
                      <a:pt x="83" y="14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199" name="Freeform 71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3808290" y="4354513"/>
                <a:ext cx="299034" cy="215900"/>
              </a:xfrm>
              <a:custGeom>
                <a:avLst/>
                <a:gdLst>
                  <a:gd name="T0" fmla="*/ 2147483647 w 76"/>
                  <a:gd name="T1" fmla="*/ 2147483647 h 55"/>
                  <a:gd name="T2" fmla="*/ 2147483647 w 76"/>
                  <a:gd name="T3" fmla="*/ 2147483647 h 55"/>
                  <a:gd name="T4" fmla="*/ 2147483647 w 76"/>
                  <a:gd name="T5" fmla="*/ 2147483647 h 55"/>
                  <a:gd name="T6" fmla="*/ 2147483647 w 76"/>
                  <a:gd name="T7" fmla="*/ 0 h 55"/>
                  <a:gd name="T8" fmla="*/ 2147483647 w 76"/>
                  <a:gd name="T9" fmla="*/ 2147483647 h 55"/>
                  <a:gd name="T10" fmla="*/ 2147483647 w 76"/>
                  <a:gd name="T11" fmla="*/ 2147483647 h 55"/>
                  <a:gd name="T12" fmla="*/ 2147483647 w 76"/>
                  <a:gd name="T13" fmla="*/ 2147483647 h 55"/>
                  <a:gd name="T14" fmla="*/ 2147483647 w 76"/>
                  <a:gd name="T15" fmla="*/ 2147483647 h 55"/>
                  <a:gd name="T16" fmla="*/ 2147483647 w 76"/>
                  <a:gd name="T17" fmla="*/ 2147483647 h 55"/>
                  <a:gd name="T18" fmla="*/ 2147483647 w 76"/>
                  <a:gd name="T19" fmla="*/ 2147483647 h 55"/>
                  <a:gd name="T20" fmla="*/ 0 w 76"/>
                  <a:gd name="T21" fmla="*/ 2147483647 h 55"/>
                  <a:gd name="T22" fmla="*/ 2147483647 w 76"/>
                  <a:gd name="T23" fmla="*/ 2147483647 h 55"/>
                  <a:gd name="T24" fmla="*/ 2147483647 w 76"/>
                  <a:gd name="T25" fmla="*/ 2147483647 h 55"/>
                  <a:gd name="T26" fmla="*/ 2147483647 w 76"/>
                  <a:gd name="T27" fmla="*/ 2147483647 h 55"/>
                  <a:gd name="T28" fmla="*/ 2147483647 w 76"/>
                  <a:gd name="T29" fmla="*/ 2147483647 h 55"/>
                  <a:gd name="T30" fmla="*/ 2147483647 w 76"/>
                  <a:gd name="T31" fmla="*/ 2147483647 h 55"/>
                  <a:gd name="T32" fmla="*/ 2147483647 w 76"/>
                  <a:gd name="T33" fmla="*/ 2147483647 h 55"/>
                  <a:gd name="T34" fmla="*/ 2147483647 w 76"/>
                  <a:gd name="T35" fmla="*/ 2147483647 h 55"/>
                  <a:gd name="T36" fmla="*/ 2147483647 w 76"/>
                  <a:gd name="T37" fmla="*/ 2147483647 h 55"/>
                  <a:gd name="T38" fmla="*/ 2147483647 w 76"/>
                  <a:gd name="T39" fmla="*/ 2147483647 h 55"/>
                  <a:gd name="T40" fmla="*/ 2147483647 w 76"/>
                  <a:gd name="T41" fmla="*/ 2147483647 h 55"/>
                  <a:gd name="T42" fmla="*/ 2147483647 w 76"/>
                  <a:gd name="T43" fmla="*/ 2147483647 h 55"/>
                  <a:gd name="T44" fmla="*/ 2147483647 w 76"/>
                  <a:gd name="T45" fmla="*/ 2147483647 h 55"/>
                  <a:gd name="T46" fmla="*/ 2147483647 w 76"/>
                  <a:gd name="T47" fmla="*/ 2147483647 h 55"/>
                  <a:gd name="T48" fmla="*/ 2147483647 w 76"/>
                  <a:gd name="T49" fmla="*/ 2147483647 h 55"/>
                  <a:gd name="T50" fmla="*/ 2147483647 w 76"/>
                  <a:gd name="T51" fmla="*/ 2147483647 h 55"/>
                  <a:gd name="T52" fmla="*/ 2147483647 w 76"/>
                  <a:gd name="T53" fmla="*/ 2147483647 h 55"/>
                  <a:gd name="T54" fmla="*/ 2147483647 w 76"/>
                  <a:gd name="T55" fmla="*/ 2147483647 h 55"/>
                  <a:gd name="T56" fmla="*/ 2147483647 w 76"/>
                  <a:gd name="T57" fmla="*/ 2147483647 h 55"/>
                  <a:gd name="T58" fmla="*/ 2147483647 w 76"/>
                  <a:gd name="T59" fmla="*/ 2147483647 h 55"/>
                  <a:gd name="T60" fmla="*/ 2147483647 w 76"/>
                  <a:gd name="T61" fmla="*/ 2147483647 h 55"/>
                  <a:gd name="T62" fmla="*/ 2147483647 w 76"/>
                  <a:gd name="T63" fmla="*/ 2147483647 h 55"/>
                  <a:gd name="T64" fmla="*/ 2147483647 w 76"/>
                  <a:gd name="T65" fmla="*/ 2147483647 h 55"/>
                  <a:gd name="T66" fmla="*/ 2147483647 w 76"/>
                  <a:gd name="T67" fmla="*/ 2147483647 h 55"/>
                  <a:gd name="T68" fmla="*/ 2147483647 w 76"/>
                  <a:gd name="T69" fmla="*/ 2147483647 h 55"/>
                  <a:gd name="T70" fmla="*/ 2147483647 w 76"/>
                  <a:gd name="T71" fmla="*/ 2147483647 h 55"/>
                  <a:gd name="T72" fmla="*/ 2147483647 w 76"/>
                  <a:gd name="T73" fmla="*/ 2147483647 h 55"/>
                  <a:gd name="T74" fmla="*/ 2147483647 w 76"/>
                  <a:gd name="T75" fmla="*/ 2147483647 h 55"/>
                  <a:gd name="T76" fmla="*/ 2147483647 w 76"/>
                  <a:gd name="T77" fmla="*/ 2147483647 h 55"/>
                  <a:gd name="T78" fmla="*/ 2147483647 w 76"/>
                  <a:gd name="T79" fmla="*/ 2147483647 h 55"/>
                  <a:gd name="T80" fmla="*/ 2147483647 w 76"/>
                  <a:gd name="T81" fmla="*/ 2147483647 h 55"/>
                  <a:gd name="T82" fmla="*/ 2147483647 w 76"/>
                  <a:gd name="T83" fmla="*/ 2147483647 h 55"/>
                  <a:gd name="T84" fmla="*/ 2147483647 w 76"/>
                  <a:gd name="T85" fmla="*/ 2147483647 h 55"/>
                  <a:gd name="T86" fmla="*/ 2147483647 w 76"/>
                  <a:gd name="T87" fmla="*/ 2147483647 h 55"/>
                  <a:gd name="T88" fmla="*/ 2147483647 w 76"/>
                  <a:gd name="T89" fmla="*/ 2147483647 h 55"/>
                  <a:gd name="T90" fmla="*/ 2147483647 w 76"/>
                  <a:gd name="T91" fmla="*/ 2147483647 h 55"/>
                  <a:gd name="T92" fmla="*/ 2147483647 w 76"/>
                  <a:gd name="T93" fmla="*/ 2147483647 h 5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6"/>
                  <a:gd name="T142" fmla="*/ 0 h 55"/>
                  <a:gd name="T143" fmla="*/ 76 w 76"/>
                  <a:gd name="T144" fmla="*/ 55 h 5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6" h="55">
                    <a:moveTo>
                      <a:pt x="33" y="11"/>
                    </a:moveTo>
                    <a:cubicBezTo>
                      <a:pt x="30" y="7"/>
                      <a:pt x="30" y="7"/>
                      <a:pt x="30" y="7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0" y="2"/>
                      <a:pt x="19" y="3"/>
                    </a:cubicBezTo>
                    <a:cubicBezTo>
                      <a:pt x="18" y="5"/>
                      <a:pt x="18" y="9"/>
                      <a:pt x="18" y="9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4" y="19"/>
                      <a:pt x="11" y="19"/>
                    </a:cubicBezTo>
                    <a:cubicBezTo>
                      <a:pt x="9" y="19"/>
                      <a:pt x="4" y="18"/>
                      <a:pt x="2" y="19"/>
                    </a:cubicBezTo>
                    <a:cubicBezTo>
                      <a:pt x="1" y="19"/>
                      <a:pt x="0" y="23"/>
                      <a:pt x="0" y="23"/>
                    </a:cubicBezTo>
                    <a:cubicBezTo>
                      <a:pt x="0" y="23"/>
                      <a:pt x="5" y="26"/>
                      <a:pt x="6" y="28"/>
                    </a:cubicBezTo>
                    <a:cubicBezTo>
                      <a:pt x="7" y="30"/>
                      <a:pt x="7" y="32"/>
                      <a:pt x="8" y="34"/>
                    </a:cubicBezTo>
                    <a:cubicBezTo>
                      <a:pt x="10" y="36"/>
                      <a:pt x="8" y="40"/>
                      <a:pt x="6" y="42"/>
                    </a:cubicBezTo>
                    <a:cubicBezTo>
                      <a:pt x="5" y="43"/>
                      <a:pt x="4" y="46"/>
                      <a:pt x="3" y="48"/>
                    </a:cubicBezTo>
                    <a:cubicBezTo>
                      <a:pt x="4" y="49"/>
                      <a:pt x="4" y="49"/>
                      <a:pt x="4" y="50"/>
                    </a:cubicBezTo>
                    <a:cubicBezTo>
                      <a:pt x="6" y="51"/>
                      <a:pt x="9" y="51"/>
                      <a:pt x="11" y="49"/>
                    </a:cubicBezTo>
                    <a:cubicBezTo>
                      <a:pt x="13" y="47"/>
                      <a:pt x="15" y="48"/>
                      <a:pt x="17" y="50"/>
                    </a:cubicBezTo>
                    <a:cubicBezTo>
                      <a:pt x="20" y="52"/>
                      <a:pt x="20" y="48"/>
                      <a:pt x="20" y="46"/>
                    </a:cubicBezTo>
                    <a:cubicBezTo>
                      <a:pt x="20" y="44"/>
                      <a:pt x="24" y="44"/>
                      <a:pt x="27" y="45"/>
                    </a:cubicBezTo>
                    <a:cubicBezTo>
                      <a:pt x="29" y="45"/>
                      <a:pt x="28" y="40"/>
                      <a:pt x="28" y="40"/>
                    </a:cubicBezTo>
                    <a:cubicBezTo>
                      <a:pt x="28" y="40"/>
                      <a:pt x="30" y="36"/>
                      <a:pt x="32" y="34"/>
                    </a:cubicBezTo>
                    <a:cubicBezTo>
                      <a:pt x="33" y="32"/>
                      <a:pt x="34" y="32"/>
                      <a:pt x="37" y="33"/>
                    </a:cubicBezTo>
                    <a:cubicBezTo>
                      <a:pt x="40" y="35"/>
                      <a:pt x="38" y="39"/>
                      <a:pt x="38" y="39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1" y="39"/>
                      <a:pt x="41" y="44"/>
                      <a:pt x="40" y="49"/>
                    </a:cubicBezTo>
                    <a:cubicBezTo>
                      <a:pt x="38" y="53"/>
                      <a:pt x="42" y="55"/>
                      <a:pt x="45" y="54"/>
                    </a:cubicBezTo>
                    <a:cubicBezTo>
                      <a:pt x="47" y="52"/>
                      <a:pt x="53" y="48"/>
                      <a:pt x="57" y="46"/>
                    </a:cubicBezTo>
                    <a:cubicBezTo>
                      <a:pt x="60" y="44"/>
                      <a:pt x="62" y="48"/>
                      <a:pt x="62" y="48"/>
                    </a:cubicBezTo>
                    <a:cubicBezTo>
                      <a:pt x="62" y="48"/>
                      <a:pt x="62" y="48"/>
                      <a:pt x="66" y="47"/>
                    </a:cubicBezTo>
                    <a:cubicBezTo>
                      <a:pt x="70" y="45"/>
                      <a:pt x="73" y="47"/>
                      <a:pt x="73" y="47"/>
                    </a:cubicBezTo>
                    <a:cubicBezTo>
                      <a:pt x="73" y="47"/>
                      <a:pt x="76" y="47"/>
                      <a:pt x="76" y="46"/>
                    </a:cubicBezTo>
                    <a:cubicBezTo>
                      <a:pt x="76" y="45"/>
                      <a:pt x="75" y="43"/>
                      <a:pt x="74" y="39"/>
                    </a:cubicBezTo>
                    <a:cubicBezTo>
                      <a:pt x="73" y="35"/>
                      <a:pt x="73" y="33"/>
                      <a:pt x="70" y="31"/>
                    </a:cubicBezTo>
                    <a:cubicBezTo>
                      <a:pt x="68" y="30"/>
                      <a:pt x="67" y="32"/>
                      <a:pt x="65" y="32"/>
                    </a:cubicBezTo>
                    <a:cubicBezTo>
                      <a:pt x="62" y="32"/>
                      <a:pt x="62" y="27"/>
                      <a:pt x="62" y="23"/>
                    </a:cubicBezTo>
                    <a:cubicBezTo>
                      <a:pt x="62" y="22"/>
                      <a:pt x="62" y="21"/>
                      <a:pt x="61" y="20"/>
                    </a:cubicBezTo>
                    <a:cubicBezTo>
                      <a:pt x="59" y="20"/>
                      <a:pt x="56" y="21"/>
                      <a:pt x="55" y="21"/>
                    </a:cubicBezTo>
                    <a:cubicBezTo>
                      <a:pt x="53" y="21"/>
                      <a:pt x="46" y="23"/>
                      <a:pt x="46" y="23"/>
                    </a:cubicBezTo>
                    <a:cubicBezTo>
                      <a:pt x="46" y="23"/>
                      <a:pt x="42" y="19"/>
                      <a:pt x="40" y="19"/>
                    </a:cubicBezTo>
                    <a:cubicBezTo>
                      <a:pt x="38" y="19"/>
                      <a:pt x="36" y="21"/>
                      <a:pt x="36" y="21"/>
                    </a:cubicBezTo>
                    <a:cubicBezTo>
                      <a:pt x="36" y="21"/>
                      <a:pt x="32" y="19"/>
                      <a:pt x="31" y="18"/>
                    </a:cubicBezTo>
                    <a:cubicBezTo>
                      <a:pt x="30" y="17"/>
                      <a:pt x="19" y="19"/>
                      <a:pt x="19" y="19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22" y="11"/>
                      <a:pt x="25" y="11"/>
                    </a:cubicBezTo>
                    <a:cubicBezTo>
                      <a:pt x="28" y="11"/>
                      <a:pt x="30" y="15"/>
                      <a:pt x="32" y="13"/>
                    </a:cubicBezTo>
                    <a:cubicBezTo>
                      <a:pt x="34" y="12"/>
                      <a:pt x="36" y="10"/>
                      <a:pt x="37" y="10"/>
                    </a:cubicBezTo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0" name="Freeform 72"/>
              <p:cNvSpPr>
                <a:spLocks noEditPoints="1"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3371266" y="4115400"/>
                <a:ext cx="653771" cy="430213"/>
              </a:xfrm>
              <a:custGeom>
                <a:avLst/>
                <a:gdLst>
                  <a:gd name="T0" fmla="*/ 2147483647 w 165"/>
                  <a:gd name="T1" fmla="*/ 2147483647 h 110"/>
                  <a:gd name="T2" fmla="*/ 2147483647 w 165"/>
                  <a:gd name="T3" fmla="*/ 2147483647 h 110"/>
                  <a:gd name="T4" fmla="*/ 2147483647 w 165"/>
                  <a:gd name="T5" fmla="*/ 2147483647 h 110"/>
                  <a:gd name="T6" fmla="*/ 2147483647 w 165"/>
                  <a:gd name="T7" fmla="*/ 2147483647 h 110"/>
                  <a:gd name="T8" fmla="*/ 2147483647 w 165"/>
                  <a:gd name="T9" fmla="*/ 2147483647 h 110"/>
                  <a:gd name="T10" fmla="*/ 2147483647 w 165"/>
                  <a:gd name="T11" fmla="*/ 2147483647 h 110"/>
                  <a:gd name="T12" fmla="*/ 2147483647 w 165"/>
                  <a:gd name="T13" fmla="*/ 2147483647 h 110"/>
                  <a:gd name="T14" fmla="*/ 2147483647 w 165"/>
                  <a:gd name="T15" fmla="*/ 2147483647 h 110"/>
                  <a:gd name="T16" fmla="*/ 2147483647 w 165"/>
                  <a:gd name="T17" fmla="*/ 2147483647 h 110"/>
                  <a:gd name="T18" fmla="*/ 2147483647 w 165"/>
                  <a:gd name="T19" fmla="*/ 2147483647 h 110"/>
                  <a:gd name="T20" fmla="*/ 2147483647 w 165"/>
                  <a:gd name="T21" fmla="*/ 2147483647 h 110"/>
                  <a:gd name="T22" fmla="*/ 2147483647 w 165"/>
                  <a:gd name="T23" fmla="*/ 2147483647 h 110"/>
                  <a:gd name="T24" fmla="*/ 2147483647 w 165"/>
                  <a:gd name="T25" fmla="*/ 2147483647 h 110"/>
                  <a:gd name="T26" fmla="*/ 2147483647 w 165"/>
                  <a:gd name="T27" fmla="*/ 2147483647 h 110"/>
                  <a:gd name="T28" fmla="*/ 2147483647 w 165"/>
                  <a:gd name="T29" fmla="*/ 2147483647 h 110"/>
                  <a:gd name="T30" fmla="*/ 0 w 165"/>
                  <a:gd name="T31" fmla="*/ 2147483647 h 110"/>
                  <a:gd name="T32" fmla="*/ 2147483647 w 165"/>
                  <a:gd name="T33" fmla="*/ 2147483647 h 110"/>
                  <a:gd name="T34" fmla="*/ 2147483647 w 165"/>
                  <a:gd name="T35" fmla="*/ 2147483647 h 110"/>
                  <a:gd name="T36" fmla="*/ 2147483647 w 165"/>
                  <a:gd name="T37" fmla="*/ 2147483647 h 110"/>
                  <a:gd name="T38" fmla="*/ 2147483647 w 165"/>
                  <a:gd name="T39" fmla="*/ 2147483647 h 110"/>
                  <a:gd name="T40" fmla="*/ 2147483647 w 165"/>
                  <a:gd name="T41" fmla="*/ 2147483647 h 110"/>
                  <a:gd name="T42" fmla="*/ 2147483647 w 165"/>
                  <a:gd name="T43" fmla="*/ 2147483647 h 110"/>
                  <a:gd name="T44" fmla="*/ 2147483647 w 165"/>
                  <a:gd name="T45" fmla="*/ 2147483647 h 110"/>
                  <a:gd name="T46" fmla="*/ 2147483647 w 165"/>
                  <a:gd name="T47" fmla="*/ 2147483647 h 110"/>
                  <a:gd name="T48" fmla="*/ 2147483647 w 165"/>
                  <a:gd name="T49" fmla="*/ 2147483647 h 110"/>
                  <a:gd name="T50" fmla="*/ 2147483647 w 165"/>
                  <a:gd name="T51" fmla="*/ 2147483647 h 110"/>
                  <a:gd name="T52" fmla="*/ 2147483647 w 165"/>
                  <a:gd name="T53" fmla="*/ 2147483647 h 110"/>
                  <a:gd name="T54" fmla="*/ 2147483647 w 165"/>
                  <a:gd name="T55" fmla="*/ 2147483647 h 110"/>
                  <a:gd name="T56" fmla="*/ 2147483647 w 165"/>
                  <a:gd name="T57" fmla="*/ 2147483647 h 110"/>
                  <a:gd name="T58" fmla="*/ 2147483647 w 165"/>
                  <a:gd name="T59" fmla="*/ 2147483647 h 110"/>
                  <a:gd name="T60" fmla="*/ 2147483647 w 165"/>
                  <a:gd name="T61" fmla="*/ 2147483647 h 110"/>
                  <a:gd name="T62" fmla="*/ 2147483647 w 165"/>
                  <a:gd name="T63" fmla="*/ 2147483647 h 110"/>
                  <a:gd name="T64" fmla="*/ 2147483647 w 165"/>
                  <a:gd name="T65" fmla="*/ 2147483647 h 110"/>
                  <a:gd name="T66" fmla="*/ 2147483647 w 165"/>
                  <a:gd name="T67" fmla="*/ 2147483647 h 110"/>
                  <a:gd name="T68" fmla="*/ 2147483647 w 165"/>
                  <a:gd name="T69" fmla="*/ 2147483647 h 110"/>
                  <a:gd name="T70" fmla="*/ 2147483647 w 165"/>
                  <a:gd name="T71" fmla="*/ 2147483647 h 110"/>
                  <a:gd name="T72" fmla="*/ 2147483647 w 165"/>
                  <a:gd name="T73" fmla="*/ 2147483647 h 110"/>
                  <a:gd name="T74" fmla="*/ 2147483647 w 165"/>
                  <a:gd name="T75" fmla="*/ 2147483647 h 11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5"/>
                  <a:gd name="T115" fmla="*/ 0 h 110"/>
                  <a:gd name="T116" fmla="*/ 165 w 165"/>
                  <a:gd name="T117" fmla="*/ 110 h 11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5" h="110">
                    <a:moveTo>
                      <a:pt x="158" y="59"/>
                    </a:moveTo>
                    <a:cubicBezTo>
                      <a:pt x="157" y="58"/>
                      <a:pt x="155" y="55"/>
                      <a:pt x="155" y="55"/>
                    </a:cubicBezTo>
                    <a:cubicBezTo>
                      <a:pt x="148" y="59"/>
                      <a:pt x="148" y="59"/>
                      <a:pt x="148" y="59"/>
                    </a:cubicBezTo>
                    <a:cubicBezTo>
                      <a:pt x="144" y="57"/>
                      <a:pt x="144" y="57"/>
                      <a:pt x="144" y="57"/>
                    </a:cubicBezTo>
                    <a:cubicBezTo>
                      <a:pt x="144" y="57"/>
                      <a:pt x="141" y="54"/>
                      <a:pt x="143" y="53"/>
                    </a:cubicBezTo>
                    <a:cubicBezTo>
                      <a:pt x="144" y="52"/>
                      <a:pt x="150" y="48"/>
                      <a:pt x="149" y="46"/>
                    </a:cubicBezTo>
                    <a:cubicBezTo>
                      <a:pt x="149" y="44"/>
                      <a:pt x="144" y="47"/>
                      <a:pt x="144" y="47"/>
                    </a:cubicBezTo>
                    <a:cubicBezTo>
                      <a:pt x="142" y="46"/>
                      <a:pt x="142" y="46"/>
                      <a:pt x="142" y="46"/>
                    </a:cubicBezTo>
                    <a:cubicBezTo>
                      <a:pt x="136" y="52"/>
                      <a:pt x="136" y="52"/>
                      <a:pt x="136" y="52"/>
                    </a:cubicBezTo>
                    <a:cubicBezTo>
                      <a:pt x="131" y="56"/>
                      <a:pt x="131" y="56"/>
                      <a:pt x="131" y="56"/>
                    </a:cubicBezTo>
                    <a:cubicBezTo>
                      <a:pt x="125" y="62"/>
                      <a:pt x="125" y="62"/>
                      <a:pt x="125" y="62"/>
                    </a:cubicBezTo>
                    <a:cubicBezTo>
                      <a:pt x="118" y="60"/>
                      <a:pt x="118" y="60"/>
                      <a:pt x="118" y="60"/>
                    </a:cubicBezTo>
                    <a:cubicBezTo>
                      <a:pt x="104" y="58"/>
                      <a:pt x="104" y="58"/>
                      <a:pt x="104" y="58"/>
                    </a:cubicBezTo>
                    <a:cubicBezTo>
                      <a:pt x="103" y="50"/>
                      <a:pt x="103" y="50"/>
                      <a:pt x="103" y="50"/>
                    </a:cubicBezTo>
                    <a:cubicBezTo>
                      <a:pt x="99" y="49"/>
                      <a:pt x="99" y="49"/>
                      <a:pt x="99" y="49"/>
                    </a:cubicBezTo>
                    <a:cubicBezTo>
                      <a:pt x="100" y="44"/>
                      <a:pt x="100" y="44"/>
                      <a:pt x="100" y="44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89" y="24"/>
                      <a:pt x="89" y="24"/>
                      <a:pt x="89" y="24"/>
                    </a:cubicBezTo>
                    <a:cubicBezTo>
                      <a:pt x="84" y="27"/>
                      <a:pt x="84" y="27"/>
                      <a:pt x="84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59" y="30"/>
                      <a:pt x="59" y="30"/>
                      <a:pt x="59" y="30"/>
                    </a:cubicBezTo>
                    <a:cubicBezTo>
                      <a:pt x="50" y="17"/>
                      <a:pt x="50" y="17"/>
                      <a:pt x="50" y="17"/>
                    </a:cubicBezTo>
                    <a:cubicBezTo>
                      <a:pt x="50" y="17"/>
                      <a:pt x="42" y="22"/>
                      <a:pt x="40" y="24"/>
                    </a:cubicBezTo>
                    <a:cubicBezTo>
                      <a:pt x="39" y="26"/>
                      <a:pt x="36" y="30"/>
                      <a:pt x="36" y="30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5" y="23"/>
                      <a:pt x="32" y="22"/>
                      <a:pt x="29" y="22"/>
                    </a:cubicBezTo>
                    <a:cubicBezTo>
                      <a:pt x="26" y="23"/>
                      <a:pt x="27" y="25"/>
                      <a:pt x="24" y="24"/>
                    </a:cubicBezTo>
                    <a:cubicBezTo>
                      <a:pt x="22" y="22"/>
                      <a:pt x="22" y="15"/>
                      <a:pt x="22" y="12"/>
                    </a:cubicBezTo>
                    <a:cubicBezTo>
                      <a:pt x="22" y="8"/>
                      <a:pt x="26" y="0"/>
                      <a:pt x="26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2" y="58"/>
                      <a:pt x="2" y="58"/>
                      <a:pt x="2" y="58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1" y="49"/>
                      <a:pt x="11" y="49"/>
                      <a:pt x="11" y="49"/>
                    </a:cubicBezTo>
                    <a:cubicBezTo>
                      <a:pt x="11" y="49"/>
                      <a:pt x="13" y="45"/>
                      <a:pt x="16" y="46"/>
                    </a:cubicBezTo>
                    <a:cubicBezTo>
                      <a:pt x="20" y="47"/>
                      <a:pt x="21" y="42"/>
                      <a:pt x="21" y="42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5" y="44"/>
                      <a:pt x="22" y="39"/>
                      <a:pt x="23" y="39"/>
                    </a:cubicBezTo>
                    <a:cubicBezTo>
                      <a:pt x="24" y="39"/>
                      <a:pt x="27" y="38"/>
                      <a:pt x="27" y="38"/>
                    </a:cubicBezTo>
                    <a:cubicBezTo>
                      <a:pt x="27" y="38"/>
                      <a:pt x="31" y="42"/>
                      <a:pt x="33" y="44"/>
                    </a:cubicBezTo>
                    <a:cubicBezTo>
                      <a:pt x="35" y="45"/>
                      <a:pt x="36" y="43"/>
                      <a:pt x="38" y="45"/>
                    </a:cubicBezTo>
                    <a:cubicBezTo>
                      <a:pt x="39" y="46"/>
                      <a:pt x="41" y="52"/>
                      <a:pt x="41" y="53"/>
                    </a:cubicBezTo>
                    <a:cubicBezTo>
                      <a:pt x="41" y="54"/>
                      <a:pt x="42" y="58"/>
                      <a:pt x="44" y="58"/>
                    </a:cubicBezTo>
                    <a:cubicBezTo>
                      <a:pt x="46" y="59"/>
                      <a:pt x="52" y="59"/>
                      <a:pt x="52" y="59"/>
                    </a:cubicBezTo>
                    <a:cubicBezTo>
                      <a:pt x="52" y="59"/>
                      <a:pt x="58" y="59"/>
                      <a:pt x="58" y="60"/>
                    </a:cubicBezTo>
                    <a:cubicBezTo>
                      <a:pt x="59" y="62"/>
                      <a:pt x="63" y="73"/>
                      <a:pt x="64" y="75"/>
                    </a:cubicBezTo>
                    <a:cubicBezTo>
                      <a:pt x="64" y="77"/>
                      <a:pt x="74" y="81"/>
                      <a:pt x="77" y="83"/>
                    </a:cubicBezTo>
                    <a:cubicBezTo>
                      <a:pt x="79" y="85"/>
                      <a:pt x="85" y="90"/>
                      <a:pt x="90" y="93"/>
                    </a:cubicBezTo>
                    <a:cubicBezTo>
                      <a:pt x="94" y="96"/>
                      <a:pt x="101" y="98"/>
                      <a:pt x="102" y="99"/>
                    </a:cubicBezTo>
                    <a:cubicBezTo>
                      <a:pt x="104" y="101"/>
                      <a:pt x="107" y="110"/>
                      <a:pt x="107" y="110"/>
                    </a:cubicBezTo>
                    <a:cubicBezTo>
                      <a:pt x="115" y="109"/>
                      <a:pt x="115" y="109"/>
                      <a:pt x="115" y="109"/>
                    </a:cubicBezTo>
                    <a:cubicBezTo>
                      <a:pt x="115" y="109"/>
                      <a:pt x="116" y="105"/>
                      <a:pt x="118" y="103"/>
                    </a:cubicBezTo>
                    <a:cubicBezTo>
                      <a:pt x="120" y="101"/>
                      <a:pt x="122" y="97"/>
                      <a:pt x="120" y="95"/>
                    </a:cubicBezTo>
                    <a:cubicBezTo>
                      <a:pt x="119" y="93"/>
                      <a:pt x="119" y="91"/>
                      <a:pt x="118" y="89"/>
                    </a:cubicBezTo>
                    <a:cubicBezTo>
                      <a:pt x="117" y="87"/>
                      <a:pt x="112" y="84"/>
                      <a:pt x="112" y="84"/>
                    </a:cubicBezTo>
                    <a:cubicBezTo>
                      <a:pt x="112" y="84"/>
                      <a:pt x="113" y="80"/>
                      <a:pt x="114" y="80"/>
                    </a:cubicBezTo>
                    <a:cubicBezTo>
                      <a:pt x="116" y="79"/>
                      <a:pt x="121" y="80"/>
                      <a:pt x="123" y="80"/>
                    </a:cubicBezTo>
                    <a:cubicBezTo>
                      <a:pt x="126" y="80"/>
                      <a:pt x="124" y="72"/>
                      <a:pt x="124" y="72"/>
                    </a:cubicBezTo>
                    <a:cubicBezTo>
                      <a:pt x="130" y="70"/>
                      <a:pt x="130" y="70"/>
                      <a:pt x="130" y="70"/>
                    </a:cubicBezTo>
                    <a:cubicBezTo>
                      <a:pt x="130" y="70"/>
                      <a:pt x="130" y="66"/>
                      <a:pt x="131" y="64"/>
                    </a:cubicBezTo>
                    <a:cubicBezTo>
                      <a:pt x="132" y="63"/>
                      <a:pt x="137" y="66"/>
                      <a:pt x="137" y="66"/>
                    </a:cubicBezTo>
                    <a:cubicBezTo>
                      <a:pt x="142" y="61"/>
                      <a:pt x="142" y="61"/>
                      <a:pt x="142" y="61"/>
                    </a:cubicBezTo>
                    <a:cubicBezTo>
                      <a:pt x="144" y="66"/>
                      <a:pt x="144" y="66"/>
                      <a:pt x="144" y="66"/>
                    </a:cubicBezTo>
                    <a:cubicBezTo>
                      <a:pt x="142" y="68"/>
                      <a:pt x="142" y="68"/>
                      <a:pt x="142" y="68"/>
                    </a:cubicBezTo>
                    <a:cubicBezTo>
                      <a:pt x="145" y="72"/>
                      <a:pt x="145" y="72"/>
                      <a:pt x="145" y="72"/>
                    </a:cubicBezTo>
                    <a:cubicBezTo>
                      <a:pt x="154" y="70"/>
                      <a:pt x="154" y="70"/>
                      <a:pt x="154" y="70"/>
                    </a:cubicBezTo>
                    <a:cubicBezTo>
                      <a:pt x="160" y="69"/>
                      <a:pt x="160" y="69"/>
                      <a:pt x="160" y="69"/>
                    </a:cubicBezTo>
                    <a:cubicBezTo>
                      <a:pt x="163" y="67"/>
                      <a:pt x="163" y="67"/>
                      <a:pt x="163" y="67"/>
                    </a:cubicBezTo>
                    <a:cubicBezTo>
                      <a:pt x="165" y="63"/>
                      <a:pt x="165" y="63"/>
                      <a:pt x="165" y="63"/>
                    </a:cubicBezTo>
                    <a:cubicBezTo>
                      <a:pt x="165" y="63"/>
                      <a:pt x="160" y="60"/>
                      <a:pt x="158" y="59"/>
                    </a:cubicBezTo>
                    <a:close/>
                    <a:moveTo>
                      <a:pt x="32" y="8"/>
                    </a:moveTo>
                    <a:cubicBezTo>
                      <a:pt x="34" y="6"/>
                      <a:pt x="32" y="0"/>
                      <a:pt x="30" y="3"/>
                    </a:cubicBezTo>
                    <a:cubicBezTo>
                      <a:pt x="29" y="4"/>
                      <a:pt x="30" y="7"/>
                      <a:pt x="30" y="7"/>
                    </a:cubicBezTo>
                    <a:cubicBezTo>
                      <a:pt x="30" y="7"/>
                      <a:pt x="30" y="10"/>
                      <a:pt x="32" y="8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1" name="Freeform 73"/>
              <p:cNvSpPr>
                <a:spLocks noEditPoints="1"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3541505" y="4481514"/>
                <a:ext cx="555559" cy="427037"/>
              </a:xfrm>
              <a:custGeom>
                <a:avLst/>
                <a:gdLst>
                  <a:gd name="T0" fmla="*/ 2147483647 w 141"/>
                  <a:gd name="T1" fmla="*/ 2147483647 h 109"/>
                  <a:gd name="T2" fmla="*/ 2147483647 w 141"/>
                  <a:gd name="T3" fmla="*/ 2147483647 h 109"/>
                  <a:gd name="T4" fmla="*/ 2147483647 w 141"/>
                  <a:gd name="T5" fmla="*/ 2147483647 h 109"/>
                  <a:gd name="T6" fmla="*/ 2147483647 w 141"/>
                  <a:gd name="T7" fmla="*/ 2147483647 h 109"/>
                  <a:gd name="T8" fmla="*/ 2147483647 w 141"/>
                  <a:gd name="T9" fmla="*/ 2147483647 h 109"/>
                  <a:gd name="T10" fmla="*/ 2147483647 w 141"/>
                  <a:gd name="T11" fmla="*/ 2147483647 h 109"/>
                  <a:gd name="T12" fmla="*/ 2147483647 w 141"/>
                  <a:gd name="T13" fmla="*/ 2147483647 h 109"/>
                  <a:gd name="T14" fmla="*/ 2147483647 w 141"/>
                  <a:gd name="T15" fmla="*/ 2147483647 h 109"/>
                  <a:gd name="T16" fmla="*/ 2147483647 w 141"/>
                  <a:gd name="T17" fmla="*/ 2147483647 h 109"/>
                  <a:gd name="T18" fmla="*/ 2147483647 w 141"/>
                  <a:gd name="T19" fmla="*/ 2147483647 h 109"/>
                  <a:gd name="T20" fmla="*/ 2147483647 w 141"/>
                  <a:gd name="T21" fmla="*/ 2147483647 h 109"/>
                  <a:gd name="T22" fmla="*/ 2147483647 w 141"/>
                  <a:gd name="T23" fmla="*/ 2147483647 h 109"/>
                  <a:gd name="T24" fmla="*/ 2147483647 w 141"/>
                  <a:gd name="T25" fmla="*/ 2147483647 h 109"/>
                  <a:gd name="T26" fmla="*/ 2147483647 w 141"/>
                  <a:gd name="T27" fmla="*/ 2147483647 h 109"/>
                  <a:gd name="T28" fmla="*/ 2147483647 w 141"/>
                  <a:gd name="T29" fmla="*/ 2147483647 h 109"/>
                  <a:gd name="T30" fmla="*/ 2147483647 w 141"/>
                  <a:gd name="T31" fmla="*/ 2147483647 h 109"/>
                  <a:gd name="T32" fmla="*/ 2147483647 w 141"/>
                  <a:gd name="T33" fmla="*/ 2147483647 h 109"/>
                  <a:gd name="T34" fmla="*/ 2147483647 w 141"/>
                  <a:gd name="T35" fmla="*/ 2147483647 h 109"/>
                  <a:gd name="T36" fmla="*/ 2147483647 w 141"/>
                  <a:gd name="T37" fmla="*/ 2147483647 h 109"/>
                  <a:gd name="T38" fmla="*/ 2147483647 w 141"/>
                  <a:gd name="T39" fmla="*/ 2147483647 h 109"/>
                  <a:gd name="T40" fmla="*/ 2147483647 w 141"/>
                  <a:gd name="T41" fmla="*/ 2147483647 h 109"/>
                  <a:gd name="T42" fmla="*/ 2147483647 w 141"/>
                  <a:gd name="T43" fmla="*/ 2147483647 h 109"/>
                  <a:gd name="T44" fmla="*/ 2147483647 w 141"/>
                  <a:gd name="T45" fmla="*/ 2147483647 h 109"/>
                  <a:gd name="T46" fmla="*/ 2147483647 w 141"/>
                  <a:gd name="T47" fmla="*/ 2147483647 h 109"/>
                  <a:gd name="T48" fmla="*/ 2147483647 w 141"/>
                  <a:gd name="T49" fmla="*/ 2147483647 h 109"/>
                  <a:gd name="T50" fmla="*/ 2147483647 w 141"/>
                  <a:gd name="T51" fmla="*/ 2147483647 h 109"/>
                  <a:gd name="T52" fmla="*/ 2147483647 w 141"/>
                  <a:gd name="T53" fmla="*/ 2147483647 h 109"/>
                  <a:gd name="T54" fmla="*/ 2147483647 w 141"/>
                  <a:gd name="T55" fmla="*/ 2147483647 h 109"/>
                  <a:gd name="T56" fmla="*/ 2147483647 w 141"/>
                  <a:gd name="T57" fmla="*/ 2147483647 h 109"/>
                  <a:gd name="T58" fmla="*/ 2147483647 w 141"/>
                  <a:gd name="T59" fmla="*/ 2147483647 h 109"/>
                  <a:gd name="T60" fmla="*/ 2147483647 w 141"/>
                  <a:gd name="T61" fmla="*/ 2147483647 h 109"/>
                  <a:gd name="T62" fmla="*/ 2147483647 w 141"/>
                  <a:gd name="T63" fmla="*/ 2147483647 h 109"/>
                  <a:gd name="T64" fmla="*/ 2147483647 w 141"/>
                  <a:gd name="T65" fmla="*/ 2147483647 h 109"/>
                  <a:gd name="T66" fmla="*/ 2147483647 w 141"/>
                  <a:gd name="T67" fmla="*/ 2147483647 h 109"/>
                  <a:gd name="T68" fmla="*/ 2147483647 w 141"/>
                  <a:gd name="T69" fmla="*/ 2147483647 h 109"/>
                  <a:gd name="T70" fmla="*/ 2147483647 w 141"/>
                  <a:gd name="T71" fmla="*/ 2147483647 h 109"/>
                  <a:gd name="T72" fmla="*/ 2147483647 w 141"/>
                  <a:gd name="T73" fmla="*/ 2147483647 h 109"/>
                  <a:gd name="T74" fmla="*/ 2147483647 w 141"/>
                  <a:gd name="T75" fmla="*/ 2147483647 h 10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1"/>
                  <a:gd name="T115" fmla="*/ 0 h 109"/>
                  <a:gd name="T116" fmla="*/ 141 w 141"/>
                  <a:gd name="T117" fmla="*/ 109 h 10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1" h="109">
                    <a:moveTo>
                      <a:pt x="71" y="16"/>
                    </a:move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lose/>
                    <a:moveTo>
                      <a:pt x="134" y="15"/>
                    </a:moveTo>
                    <a:cubicBezTo>
                      <a:pt x="130" y="16"/>
                      <a:pt x="130" y="16"/>
                      <a:pt x="130" y="16"/>
                    </a:cubicBezTo>
                    <a:cubicBezTo>
                      <a:pt x="130" y="16"/>
                      <a:pt x="128" y="12"/>
                      <a:pt x="125" y="14"/>
                    </a:cubicBezTo>
                    <a:cubicBezTo>
                      <a:pt x="121" y="16"/>
                      <a:pt x="115" y="20"/>
                      <a:pt x="113" y="22"/>
                    </a:cubicBezTo>
                    <a:cubicBezTo>
                      <a:pt x="110" y="23"/>
                      <a:pt x="106" y="21"/>
                      <a:pt x="108" y="17"/>
                    </a:cubicBezTo>
                    <a:cubicBezTo>
                      <a:pt x="109" y="12"/>
                      <a:pt x="109" y="7"/>
                      <a:pt x="109" y="7"/>
                    </a:cubicBezTo>
                    <a:cubicBezTo>
                      <a:pt x="106" y="7"/>
                      <a:pt x="106" y="7"/>
                      <a:pt x="106" y="7"/>
                    </a:cubicBezTo>
                    <a:cubicBezTo>
                      <a:pt x="106" y="7"/>
                      <a:pt x="108" y="3"/>
                      <a:pt x="105" y="1"/>
                    </a:cubicBezTo>
                    <a:cubicBezTo>
                      <a:pt x="102" y="0"/>
                      <a:pt x="101" y="0"/>
                      <a:pt x="100" y="2"/>
                    </a:cubicBezTo>
                    <a:cubicBezTo>
                      <a:pt x="98" y="4"/>
                      <a:pt x="96" y="8"/>
                      <a:pt x="96" y="8"/>
                    </a:cubicBezTo>
                    <a:cubicBezTo>
                      <a:pt x="96" y="8"/>
                      <a:pt x="97" y="13"/>
                      <a:pt x="95" y="13"/>
                    </a:cubicBezTo>
                    <a:cubicBezTo>
                      <a:pt x="92" y="12"/>
                      <a:pt x="88" y="12"/>
                      <a:pt x="88" y="14"/>
                    </a:cubicBezTo>
                    <a:cubicBezTo>
                      <a:pt x="88" y="16"/>
                      <a:pt x="88" y="20"/>
                      <a:pt x="85" y="18"/>
                    </a:cubicBezTo>
                    <a:cubicBezTo>
                      <a:pt x="83" y="16"/>
                      <a:pt x="81" y="15"/>
                      <a:pt x="79" y="17"/>
                    </a:cubicBezTo>
                    <a:cubicBezTo>
                      <a:pt x="77" y="19"/>
                      <a:pt x="74" y="19"/>
                      <a:pt x="72" y="18"/>
                    </a:cubicBezTo>
                    <a:cubicBezTo>
                      <a:pt x="72" y="17"/>
                      <a:pt x="72" y="17"/>
                      <a:pt x="71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50" y="15"/>
                      <a:pt x="43" y="17"/>
                      <a:pt x="43" y="18"/>
                    </a:cubicBezTo>
                    <a:cubicBezTo>
                      <a:pt x="43" y="19"/>
                      <a:pt x="40" y="25"/>
                      <a:pt x="40" y="27"/>
                    </a:cubicBezTo>
                    <a:cubicBezTo>
                      <a:pt x="41" y="29"/>
                      <a:pt x="37" y="31"/>
                      <a:pt x="35" y="31"/>
                    </a:cubicBezTo>
                    <a:cubicBezTo>
                      <a:pt x="34" y="31"/>
                      <a:pt x="27" y="32"/>
                      <a:pt x="27" y="34"/>
                    </a:cubicBezTo>
                    <a:cubicBezTo>
                      <a:pt x="27" y="35"/>
                      <a:pt x="26" y="39"/>
                      <a:pt x="24" y="39"/>
                    </a:cubicBezTo>
                    <a:cubicBezTo>
                      <a:pt x="22" y="39"/>
                      <a:pt x="18" y="42"/>
                      <a:pt x="18" y="42"/>
                    </a:cubicBezTo>
                    <a:cubicBezTo>
                      <a:pt x="18" y="42"/>
                      <a:pt x="16" y="38"/>
                      <a:pt x="14" y="38"/>
                    </a:cubicBezTo>
                    <a:cubicBezTo>
                      <a:pt x="12" y="38"/>
                      <a:pt x="10" y="37"/>
                      <a:pt x="7" y="37"/>
                    </a:cubicBezTo>
                    <a:cubicBezTo>
                      <a:pt x="7" y="38"/>
                      <a:pt x="7" y="40"/>
                      <a:pt x="7" y="42"/>
                    </a:cubicBezTo>
                    <a:cubicBezTo>
                      <a:pt x="6" y="47"/>
                      <a:pt x="4" y="50"/>
                      <a:pt x="4" y="5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2" y="67"/>
                      <a:pt x="2" y="67"/>
                      <a:pt x="2" y="67"/>
                    </a:cubicBezTo>
                    <a:cubicBezTo>
                      <a:pt x="4" y="76"/>
                      <a:pt x="4" y="76"/>
                      <a:pt x="4" y="76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4" y="84"/>
                      <a:pt x="12" y="84"/>
                      <a:pt x="12" y="87"/>
                    </a:cubicBezTo>
                    <a:cubicBezTo>
                      <a:pt x="13" y="90"/>
                      <a:pt x="13" y="93"/>
                      <a:pt x="9" y="97"/>
                    </a:cubicBezTo>
                    <a:cubicBezTo>
                      <a:pt x="6" y="100"/>
                      <a:pt x="4" y="103"/>
                      <a:pt x="4" y="103"/>
                    </a:cubicBezTo>
                    <a:cubicBezTo>
                      <a:pt x="20" y="109"/>
                      <a:pt x="20" y="109"/>
                      <a:pt x="20" y="109"/>
                    </a:cubicBezTo>
                    <a:cubicBezTo>
                      <a:pt x="20" y="109"/>
                      <a:pt x="30" y="107"/>
                      <a:pt x="32" y="107"/>
                    </a:cubicBezTo>
                    <a:cubicBezTo>
                      <a:pt x="34" y="108"/>
                      <a:pt x="36" y="109"/>
                      <a:pt x="36" y="109"/>
                    </a:cubicBezTo>
                    <a:cubicBezTo>
                      <a:pt x="36" y="109"/>
                      <a:pt x="39" y="105"/>
                      <a:pt x="42" y="106"/>
                    </a:cubicBezTo>
                    <a:cubicBezTo>
                      <a:pt x="45" y="107"/>
                      <a:pt x="51" y="105"/>
                      <a:pt x="54" y="105"/>
                    </a:cubicBezTo>
                    <a:cubicBezTo>
                      <a:pt x="57" y="104"/>
                      <a:pt x="58" y="98"/>
                      <a:pt x="58" y="97"/>
                    </a:cubicBezTo>
                    <a:cubicBezTo>
                      <a:pt x="58" y="96"/>
                      <a:pt x="60" y="91"/>
                      <a:pt x="62" y="89"/>
                    </a:cubicBezTo>
                    <a:cubicBezTo>
                      <a:pt x="63" y="86"/>
                      <a:pt x="66" y="87"/>
                      <a:pt x="67" y="87"/>
                    </a:cubicBezTo>
                    <a:cubicBezTo>
                      <a:pt x="68" y="87"/>
                      <a:pt x="72" y="86"/>
                      <a:pt x="72" y="86"/>
                    </a:cubicBezTo>
                    <a:cubicBezTo>
                      <a:pt x="72" y="86"/>
                      <a:pt x="72" y="84"/>
                      <a:pt x="74" y="82"/>
                    </a:cubicBezTo>
                    <a:cubicBezTo>
                      <a:pt x="77" y="80"/>
                      <a:pt x="82" y="80"/>
                      <a:pt x="82" y="81"/>
                    </a:cubicBezTo>
                    <a:cubicBezTo>
                      <a:pt x="82" y="83"/>
                      <a:pt x="82" y="85"/>
                      <a:pt x="85" y="81"/>
                    </a:cubicBezTo>
                    <a:cubicBezTo>
                      <a:pt x="88" y="77"/>
                      <a:pt x="86" y="77"/>
                      <a:pt x="88" y="72"/>
                    </a:cubicBezTo>
                    <a:cubicBezTo>
                      <a:pt x="90" y="67"/>
                      <a:pt x="91" y="65"/>
                      <a:pt x="94" y="65"/>
                    </a:cubicBezTo>
                    <a:cubicBezTo>
                      <a:pt x="96" y="64"/>
                      <a:pt x="96" y="60"/>
                      <a:pt x="95" y="58"/>
                    </a:cubicBezTo>
                    <a:cubicBezTo>
                      <a:pt x="94" y="57"/>
                      <a:pt x="96" y="55"/>
                      <a:pt x="99" y="56"/>
                    </a:cubicBezTo>
                    <a:cubicBezTo>
                      <a:pt x="102" y="57"/>
                      <a:pt x="104" y="57"/>
                      <a:pt x="105" y="55"/>
                    </a:cubicBezTo>
                    <a:cubicBezTo>
                      <a:pt x="106" y="53"/>
                      <a:pt x="104" y="52"/>
                      <a:pt x="104" y="50"/>
                    </a:cubicBezTo>
                    <a:cubicBezTo>
                      <a:pt x="104" y="48"/>
                      <a:pt x="107" y="46"/>
                      <a:pt x="108" y="43"/>
                    </a:cubicBezTo>
                    <a:cubicBezTo>
                      <a:pt x="110" y="40"/>
                      <a:pt x="110" y="36"/>
                      <a:pt x="108" y="33"/>
                    </a:cubicBezTo>
                    <a:cubicBezTo>
                      <a:pt x="107" y="31"/>
                      <a:pt x="108" y="27"/>
                      <a:pt x="108" y="27"/>
                    </a:cubicBezTo>
                    <a:cubicBezTo>
                      <a:pt x="108" y="27"/>
                      <a:pt x="113" y="24"/>
                      <a:pt x="116" y="23"/>
                    </a:cubicBezTo>
                    <a:cubicBezTo>
                      <a:pt x="119" y="22"/>
                      <a:pt x="124" y="20"/>
                      <a:pt x="128" y="20"/>
                    </a:cubicBezTo>
                    <a:cubicBezTo>
                      <a:pt x="133" y="21"/>
                      <a:pt x="136" y="21"/>
                      <a:pt x="138" y="20"/>
                    </a:cubicBezTo>
                    <a:cubicBezTo>
                      <a:pt x="140" y="19"/>
                      <a:pt x="137" y="16"/>
                      <a:pt x="139" y="16"/>
                    </a:cubicBezTo>
                    <a:cubicBezTo>
                      <a:pt x="140" y="16"/>
                      <a:pt x="140" y="16"/>
                      <a:pt x="141" y="15"/>
                    </a:cubicBezTo>
                    <a:cubicBezTo>
                      <a:pt x="140" y="15"/>
                      <a:pt x="138" y="14"/>
                      <a:pt x="134" y="15"/>
                    </a:cubicBezTo>
                    <a:close/>
                    <a:moveTo>
                      <a:pt x="71" y="16"/>
                    </a:moveTo>
                    <a:cubicBezTo>
                      <a:pt x="71" y="15"/>
                      <a:pt x="71" y="15"/>
                      <a:pt x="71" y="15"/>
                    </a:cubicBezTo>
                    <a:cubicBezTo>
                      <a:pt x="71" y="15"/>
                      <a:pt x="71" y="15"/>
                      <a:pt x="71" y="16"/>
                    </a:cubicBezTo>
                    <a:close/>
                    <a:moveTo>
                      <a:pt x="7" y="37"/>
                    </a:moveTo>
                    <a:cubicBezTo>
                      <a:pt x="7" y="37"/>
                      <a:pt x="7" y="37"/>
                      <a:pt x="7" y="37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7" y="36"/>
                      <a:pt x="7" y="3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2" name="Freeform 74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3814194" y="4354513"/>
                <a:ext cx="299034" cy="215900"/>
              </a:xfrm>
              <a:custGeom>
                <a:avLst/>
                <a:gdLst>
                  <a:gd name="T0" fmla="*/ 2147483647 w 76"/>
                  <a:gd name="T1" fmla="*/ 2147483647 h 55"/>
                  <a:gd name="T2" fmla="*/ 2147483647 w 76"/>
                  <a:gd name="T3" fmla="*/ 2147483647 h 55"/>
                  <a:gd name="T4" fmla="*/ 2147483647 w 76"/>
                  <a:gd name="T5" fmla="*/ 2147483647 h 55"/>
                  <a:gd name="T6" fmla="*/ 2147483647 w 76"/>
                  <a:gd name="T7" fmla="*/ 0 h 55"/>
                  <a:gd name="T8" fmla="*/ 2147483647 w 76"/>
                  <a:gd name="T9" fmla="*/ 2147483647 h 55"/>
                  <a:gd name="T10" fmla="*/ 2147483647 w 76"/>
                  <a:gd name="T11" fmla="*/ 2147483647 h 55"/>
                  <a:gd name="T12" fmla="*/ 2147483647 w 76"/>
                  <a:gd name="T13" fmla="*/ 2147483647 h 55"/>
                  <a:gd name="T14" fmla="*/ 2147483647 w 76"/>
                  <a:gd name="T15" fmla="*/ 2147483647 h 55"/>
                  <a:gd name="T16" fmla="*/ 2147483647 w 76"/>
                  <a:gd name="T17" fmla="*/ 2147483647 h 55"/>
                  <a:gd name="T18" fmla="*/ 2147483647 w 76"/>
                  <a:gd name="T19" fmla="*/ 2147483647 h 55"/>
                  <a:gd name="T20" fmla="*/ 0 w 76"/>
                  <a:gd name="T21" fmla="*/ 2147483647 h 55"/>
                  <a:gd name="T22" fmla="*/ 2147483647 w 76"/>
                  <a:gd name="T23" fmla="*/ 2147483647 h 55"/>
                  <a:gd name="T24" fmla="*/ 2147483647 w 76"/>
                  <a:gd name="T25" fmla="*/ 2147483647 h 55"/>
                  <a:gd name="T26" fmla="*/ 2147483647 w 76"/>
                  <a:gd name="T27" fmla="*/ 2147483647 h 55"/>
                  <a:gd name="T28" fmla="*/ 2147483647 w 76"/>
                  <a:gd name="T29" fmla="*/ 2147483647 h 55"/>
                  <a:gd name="T30" fmla="*/ 2147483647 w 76"/>
                  <a:gd name="T31" fmla="*/ 2147483647 h 55"/>
                  <a:gd name="T32" fmla="*/ 2147483647 w 76"/>
                  <a:gd name="T33" fmla="*/ 2147483647 h 55"/>
                  <a:gd name="T34" fmla="*/ 2147483647 w 76"/>
                  <a:gd name="T35" fmla="*/ 2147483647 h 55"/>
                  <a:gd name="T36" fmla="*/ 2147483647 w 76"/>
                  <a:gd name="T37" fmla="*/ 2147483647 h 55"/>
                  <a:gd name="T38" fmla="*/ 2147483647 w 76"/>
                  <a:gd name="T39" fmla="*/ 2147483647 h 55"/>
                  <a:gd name="T40" fmla="*/ 2147483647 w 76"/>
                  <a:gd name="T41" fmla="*/ 2147483647 h 55"/>
                  <a:gd name="T42" fmla="*/ 2147483647 w 76"/>
                  <a:gd name="T43" fmla="*/ 2147483647 h 55"/>
                  <a:gd name="T44" fmla="*/ 2147483647 w 76"/>
                  <a:gd name="T45" fmla="*/ 2147483647 h 55"/>
                  <a:gd name="T46" fmla="*/ 2147483647 w 76"/>
                  <a:gd name="T47" fmla="*/ 2147483647 h 55"/>
                  <a:gd name="T48" fmla="*/ 2147483647 w 76"/>
                  <a:gd name="T49" fmla="*/ 2147483647 h 55"/>
                  <a:gd name="T50" fmla="*/ 2147483647 w 76"/>
                  <a:gd name="T51" fmla="*/ 2147483647 h 55"/>
                  <a:gd name="T52" fmla="*/ 2147483647 w 76"/>
                  <a:gd name="T53" fmla="*/ 2147483647 h 55"/>
                  <a:gd name="T54" fmla="*/ 2147483647 w 76"/>
                  <a:gd name="T55" fmla="*/ 2147483647 h 55"/>
                  <a:gd name="T56" fmla="*/ 2147483647 w 76"/>
                  <a:gd name="T57" fmla="*/ 2147483647 h 55"/>
                  <a:gd name="T58" fmla="*/ 2147483647 w 76"/>
                  <a:gd name="T59" fmla="*/ 2147483647 h 55"/>
                  <a:gd name="T60" fmla="*/ 2147483647 w 76"/>
                  <a:gd name="T61" fmla="*/ 2147483647 h 55"/>
                  <a:gd name="T62" fmla="*/ 2147483647 w 76"/>
                  <a:gd name="T63" fmla="*/ 2147483647 h 55"/>
                  <a:gd name="T64" fmla="*/ 2147483647 w 76"/>
                  <a:gd name="T65" fmla="*/ 2147483647 h 55"/>
                  <a:gd name="T66" fmla="*/ 2147483647 w 76"/>
                  <a:gd name="T67" fmla="*/ 2147483647 h 55"/>
                  <a:gd name="T68" fmla="*/ 2147483647 w 76"/>
                  <a:gd name="T69" fmla="*/ 2147483647 h 55"/>
                  <a:gd name="T70" fmla="*/ 2147483647 w 76"/>
                  <a:gd name="T71" fmla="*/ 2147483647 h 55"/>
                  <a:gd name="T72" fmla="*/ 2147483647 w 76"/>
                  <a:gd name="T73" fmla="*/ 2147483647 h 55"/>
                  <a:gd name="T74" fmla="*/ 2147483647 w 76"/>
                  <a:gd name="T75" fmla="*/ 2147483647 h 55"/>
                  <a:gd name="T76" fmla="*/ 2147483647 w 76"/>
                  <a:gd name="T77" fmla="*/ 2147483647 h 55"/>
                  <a:gd name="T78" fmla="*/ 2147483647 w 76"/>
                  <a:gd name="T79" fmla="*/ 2147483647 h 55"/>
                  <a:gd name="T80" fmla="*/ 2147483647 w 76"/>
                  <a:gd name="T81" fmla="*/ 2147483647 h 55"/>
                  <a:gd name="T82" fmla="*/ 2147483647 w 76"/>
                  <a:gd name="T83" fmla="*/ 2147483647 h 55"/>
                  <a:gd name="T84" fmla="*/ 2147483647 w 76"/>
                  <a:gd name="T85" fmla="*/ 2147483647 h 55"/>
                  <a:gd name="T86" fmla="*/ 2147483647 w 76"/>
                  <a:gd name="T87" fmla="*/ 2147483647 h 55"/>
                  <a:gd name="T88" fmla="*/ 2147483647 w 76"/>
                  <a:gd name="T89" fmla="*/ 2147483647 h 55"/>
                  <a:gd name="T90" fmla="*/ 2147483647 w 76"/>
                  <a:gd name="T91" fmla="*/ 2147483647 h 55"/>
                  <a:gd name="T92" fmla="*/ 2147483647 w 76"/>
                  <a:gd name="T93" fmla="*/ 2147483647 h 5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6"/>
                  <a:gd name="T142" fmla="*/ 0 h 55"/>
                  <a:gd name="T143" fmla="*/ 76 w 76"/>
                  <a:gd name="T144" fmla="*/ 55 h 5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6" h="55">
                    <a:moveTo>
                      <a:pt x="33" y="11"/>
                    </a:moveTo>
                    <a:cubicBezTo>
                      <a:pt x="30" y="7"/>
                      <a:pt x="30" y="7"/>
                      <a:pt x="30" y="7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0" y="2"/>
                      <a:pt x="19" y="3"/>
                    </a:cubicBezTo>
                    <a:cubicBezTo>
                      <a:pt x="18" y="5"/>
                      <a:pt x="18" y="9"/>
                      <a:pt x="18" y="9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4" y="19"/>
                      <a:pt x="11" y="19"/>
                    </a:cubicBezTo>
                    <a:cubicBezTo>
                      <a:pt x="9" y="19"/>
                      <a:pt x="4" y="18"/>
                      <a:pt x="2" y="19"/>
                    </a:cubicBezTo>
                    <a:cubicBezTo>
                      <a:pt x="1" y="19"/>
                      <a:pt x="0" y="23"/>
                      <a:pt x="0" y="23"/>
                    </a:cubicBezTo>
                    <a:cubicBezTo>
                      <a:pt x="0" y="23"/>
                      <a:pt x="5" y="26"/>
                      <a:pt x="6" y="28"/>
                    </a:cubicBezTo>
                    <a:cubicBezTo>
                      <a:pt x="7" y="30"/>
                      <a:pt x="7" y="32"/>
                      <a:pt x="8" y="34"/>
                    </a:cubicBezTo>
                    <a:cubicBezTo>
                      <a:pt x="10" y="36"/>
                      <a:pt x="8" y="40"/>
                      <a:pt x="6" y="42"/>
                    </a:cubicBezTo>
                    <a:cubicBezTo>
                      <a:pt x="5" y="43"/>
                      <a:pt x="4" y="46"/>
                      <a:pt x="3" y="48"/>
                    </a:cubicBezTo>
                    <a:cubicBezTo>
                      <a:pt x="4" y="49"/>
                      <a:pt x="4" y="49"/>
                      <a:pt x="4" y="50"/>
                    </a:cubicBezTo>
                    <a:cubicBezTo>
                      <a:pt x="6" y="51"/>
                      <a:pt x="9" y="51"/>
                      <a:pt x="11" y="49"/>
                    </a:cubicBezTo>
                    <a:cubicBezTo>
                      <a:pt x="13" y="47"/>
                      <a:pt x="15" y="48"/>
                      <a:pt x="17" y="50"/>
                    </a:cubicBezTo>
                    <a:cubicBezTo>
                      <a:pt x="20" y="52"/>
                      <a:pt x="20" y="48"/>
                      <a:pt x="20" y="46"/>
                    </a:cubicBezTo>
                    <a:cubicBezTo>
                      <a:pt x="20" y="44"/>
                      <a:pt x="24" y="44"/>
                      <a:pt x="27" y="45"/>
                    </a:cubicBezTo>
                    <a:cubicBezTo>
                      <a:pt x="29" y="45"/>
                      <a:pt x="28" y="40"/>
                      <a:pt x="28" y="40"/>
                    </a:cubicBezTo>
                    <a:cubicBezTo>
                      <a:pt x="28" y="40"/>
                      <a:pt x="30" y="36"/>
                      <a:pt x="32" y="34"/>
                    </a:cubicBezTo>
                    <a:cubicBezTo>
                      <a:pt x="33" y="32"/>
                      <a:pt x="34" y="32"/>
                      <a:pt x="37" y="33"/>
                    </a:cubicBezTo>
                    <a:cubicBezTo>
                      <a:pt x="40" y="35"/>
                      <a:pt x="38" y="39"/>
                      <a:pt x="38" y="39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1" y="39"/>
                      <a:pt x="41" y="44"/>
                      <a:pt x="40" y="49"/>
                    </a:cubicBezTo>
                    <a:cubicBezTo>
                      <a:pt x="38" y="53"/>
                      <a:pt x="42" y="55"/>
                      <a:pt x="45" y="54"/>
                    </a:cubicBezTo>
                    <a:cubicBezTo>
                      <a:pt x="47" y="52"/>
                      <a:pt x="53" y="48"/>
                      <a:pt x="57" y="46"/>
                    </a:cubicBezTo>
                    <a:cubicBezTo>
                      <a:pt x="60" y="44"/>
                      <a:pt x="62" y="48"/>
                      <a:pt x="62" y="48"/>
                    </a:cubicBezTo>
                    <a:cubicBezTo>
                      <a:pt x="62" y="48"/>
                      <a:pt x="62" y="48"/>
                      <a:pt x="66" y="47"/>
                    </a:cubicBezTo>
                    <a:cubicBezTo>
                      <a:pt x="70" y="45"/>
                      <a:pt x="73" y="47"/>
                      <a:pt x="73" y="47"/>
                    </a:cubicBezTo>
                    <a:cubicBezTo>
                      <a:pt x="73" y="47"/>
                      <a:pt x="76" y="47"/>
                      <a:pt x="76" y="46"/>
                    </a:cubicBezTo>
                    <a:cubicBezTo>
                      <a:pt x="76" y="45"/>
                      <a:pt x="75" y="43"/>
                      <a:pt x="74" y="39"/>
                    </a:cubicBezTo>
                    <a:cubicBezTo>
                      <a:pt x="73" y="35"/>
                      <a:pt x="73" y="33"/>
                      <a:pt x="70" y="31"/>
                    </a:cubicBezTo>
                    <a:cubicBezTo>
                      <a:pt x="68" y="30"/>
                      <a:pt x="67" y="32"/>
                      <a:pt x="65" y="32"/>
                    </a:cubicBezTo>
                    <a:cubicBezTo>
                      <a:pt x="62" y="32"/>
                      <a:pt x="62" y="27"/>
                      <a:pt x="62" y="23"/>
                    </a:cubicBezTo>
                    <a:cubicBezTo>
                      <a:pt x="62" y="22"/>
                      <a:pt x="62" y="21"/>
                      <a:pt x="61" y="20"/>
                    </a:cubicBezTo>
                    <a:cubicBezTo>
                      <a:pt x="59" y="20"/>
                      <a:pt x="56" y="21"/>
                      <a:pt x="55" y="21"/>
                    </a:cubicBezTo>
                    <a:cubicBezTo>
                      <a:pt x="53" y="21"/>
                      <a:pt x="46" y="23"/>
                      <a:pt x="46" y="23"/>
                    </a:cubicBezTo>
                    <a:cubicBezTo>
                      <a:pt x="46" y="23"/>
                      <a:pt x="42" y="19"/>
                      <a:pt x="40" y="19"/>
                    </a:cubicBezTo>
                    <a:cubicBezTo>
                      <a:pt x="38" y="19"/>
                      <a:pt x="36" y="21"/>
                      <a:pt x="36" y="21"/>
                    </a:cubicBezTo>
                    <a:cubicBezTo>
                      <a:pt x="36" y="21"/>
                      <a:pt x="32" y="19"/>
                      <a:pt x="31" y="18"/>
                    </a:cubicBezTo>
                    <a:cubicBezTo>
                      <a:pt x="30" y="17"/>
                      <a:pt x="19" y="19"/>
                      <a:pt x="19" y="19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14"/>
                      <a:pt x="22" y="11"/>
                      <a:pt x="25" y="11"/>
                    </a:cubicBezTo>
                    <a:cubicBezTo>
                      <a:pt x="28" y="11"/>
                      <a:pt x="30" y="15"/>
                      <a:pt x="32" y="13"/>
                    </a:cubicBezTo>
                    <a:cubicBezTo>
                      <a:pt x="34" y="12"/>
                      <a:pt x="36" y="10"/>
                      <a:pt x="37" y="10"/>
                    </a:cubicBezTo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3" name="Freeform 75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3236068" y="4264625"/>
                <a:ext cx="555558" cy="379413"/>
              </a:xfrm>
              <a:custGeom>
                <a:avLst/>
                <a:gdLst>
                  <a:gd name="T0" fmla="*/ 2147483647 w 141"/>
                  <a:gd name="T1" fmla="*/ 2147483647 h 97"/>
                  <a:gd name="T2" fmla="*/ 2147483647 w 141"/>
                  <a:gd name="T3" fmla="*/ 2147483647 h 97"/>
                  <a:gd name="T4" fmla="*/ 2147483647 w 141"/>
                  <a:gd name="T5" fmla="*/ 2147483647 h 97"/>
                  <a:gd name="T6" fmla="*/ 2147483647 w 141"/>
                  <a:gd name="T7" fmla="*/ 2147483647 h 97"/>
                  <a:gd name="T8" fmla="*/ 2147483647 w 141"/>
                  <a:gd name="T9" fmla="*/ 2147483647 h 97"/>
                  <a:gd name="T10" fmla="*/ 2147483647 w 141"/>
                  <a:gd name="T11" fmla="*/ 2147483647 h 97"/>
                  <a:gd name="T12" fmla="*/ 2147483647 w 141"/>
                  <a:gd name="T13" fmla="*/ 2147483647 h 97"/>
                  <a:gd name="T14" fmla="*/ 2147483647 w 141"/>
                  <a:gd name="T15" fmla="*/ 2147483647 h 97"/>
                  <a:gd name="T16" fmla="*/ 2147483647 w 141"/>
                  <a:gd name="T17" fmla="*/ 2147483647 h 97"/>
                  <a:gd name="T18" fmla="*/ 2147483647 w 141"/>
                  <a:gd name="T19" fmla="*/ 2147483647 h 97"/>
                  <a:gd name="T20" fmla="*/ 2147483647 w 141"/>
                  <a:gd name="T21" fmla="*/ 0 h 97"/>
                  <a:gd name="T22" fmla="*/ 2147483647 w 141"/>
                  <a:gd name="T23" fmla="*/ 2147483647 h 97"/>
                  <a:gd name="T24" fmla="*/ 2147483647 w 141"/>
                  <a:gd name="T25" fmla="*/ 2147483647 h 97"/>
                  <a:gd name="T26" fmla="*/ 2147483647 w 141"/>
                  <a:gd name="T27" fmla="*/ 2147483647 h 97"/>
                  <a:gd name="T28" fmla="*/ 2147483647 w 141"/>
                  <a:gd name="T29" fmla="*/ 2147483647 h 97"/>
                  <a:gd name="T30" fmla="*/ 2147483647 w 141"/>
                  <a:gd name="T31" fmla="*/ 2147483647 h 97"/>
                  <a:gd name="T32" fmla="*/ 2147483647 w 141"/>
                  <a:gd name="T33" fmla="*/ 2147483647 h 97"/>
                  <a:gd name="T34" fmla="*/ 2147483647 w 141"/>
                  <a:gd name="T35" fmla="*/ 2147483647 h 97"/>
                  <a:gd name="T36" fmla="*/ 2147483647 w 141"/>
                  <a:gd name="T37" fmla="*/ 2147483647 h 97"/>
                  <a:gd name="T38" fmla="*/ 2147483647 w 141"/>
                  <a:gd name="T39" fmla="*/ 2147483647 h 97"/>
                  <a:gd name="T40" fmla="*/ 2147483647 w 141"/>
                  <a:gd name="T41" fmla="*/ 2147483647 h 97"/>
                  <a:gd name="T42" fmla="*/ 0 w 141"/>
                  <a:gd name="T43" fmla="*/ 2147483647 h 97"/>
                  <a:gd name="T44" fmla="*/ 2147483647 w 141"/>
                  <a:gd name="T45" fmla="*/ 2147483647 h 97"/>
                  <a:gd name="T46" fmla="*/ 2147483647 w 141"/>
                  <a:gd name="T47" fmla="*/ 2147483647 h 97"/>
                  <a:gd name="T48" fmla="*/ 2147483647 w 141"/>
                  <a:gd name="T49" fmla="*/ 2147483647 h 97"/>
                  <a:gd name="T50" fmla="*/ 2147483647 w 141"/>
                  <a:gd name="T51" fmla="*/ 2147483647 h 97"/>
                  <a:gd name="T52" fmla="*/ 2147483647 w 141"/>
                  <a:gd name="T53" fmla="*/ 2147483647 h 97"/>
                  <a:gd name="T54" fmla="*/ 2147483647 w 141"/>
                  <a:gd name="T55" fmla="*/ 2147483647 h 97"/>
                  <a:gd name="T56" fmla="*/ 2147483647 w 141"/>
                  <a:gd name="T57" fmla="*/ 2147483647 h 97"/>
                  <a:gd name="T58" fmla="*/ 2147483647 w 141"/>
                  <a:gd name="T59" fmla="*/ 2147483647 h 97"/>
                  <a:gd name="T60" fmla="*/ 2147483647 w 141"/>
                  <a:gd name="T61" fmla="*/ 2147483647 h 97"/>
                  <a:gd name="T62" fmla="*/ 2147483647 w 141"/>
                  <a:gd name="T63" fmla="*/ 2147483647 h 97"/>
                  <a:gd name="T64" fmla="*/ 2147483647 w 141"/>
                  <a:gd name="T65" fmla="*/ 2147483647 h 97"/>
                  <a:gd name="T66" fmla="*/ 2147483647 w 141"/>
                  <a:gd name="T67" fmla="*/ 2147483647 h 97"/>
                  <a:gd name="T68" fmla="*/ 2147483647 w 141"/>
                  <a:gd name="T69" fmla="*/ 2147483647 h 97"/>
                  <a:gd name="T70" fmla="*/ 2147483647 w 141"/>
                  <a:gd name="T71" fmla="*/ 2147483647 h 97"/>
                  <a:gd name="T72" fmla="*/ 2147483647 w 141"/>
                  <a:gd name="T73" fmla="*/ 2147483647 h 97"/>
                  <a:gd name="T74" fmla="*/ 2147483647 w 141"/>
                  <a:gd name="T75" fmla="*/ 2147483647 h 97"/>
                  <a:gd name="T76" fmla="*/ 2147483647 w 141"/>
                  <a:gd name="T77" fmla="*/ 2147483647 h 97"/>
                  <a:gd name="T78" fmla="*/ 2147483647 w 141"/>
                  <a:gd name="T79" fmla="*/ 2147483647 h 97"/>
                  <a:gd name="T80" fmla="*/ 2147483647 w 141"/>
                  <a:gd name="T81" fmla="*/ 2147483647 h 97"/>
                  <a:gd name="T82" fmla="*/ 2147483647 w 141"/>
                  <a:gd name="T83" fmla="*/ 2147483647 h 97"/>
                  <a:gd name="T84" fmla="*/ 2147483647 w 141"/>
                  <a:gd name="T85" fmla="*/ 2147483647 h 97"/>
                  <a:gd name="T86" fmla="*/ 2147483647 w 141"/>
                  <a:gd name="T87" fmla="*/ 2147483647 h 97"/>
                  <a:gd name="T88" fmla="*/ 2147483647 w 141"/>
                  <a:gd name="T89" fmla="*/ 2147483647 h 97"/>
                  <a:gd name="T90" fmla="*/ 2147483647 w 141"/>
                  <a:gd name="T91" fmla="*/ 2147483647 h 97"/>
                  <a:gd name="T92" fmla="*/ 2147483647 w 141"/>
                  <a:gd name="T93" fmla="*/ 2147483647 h 97"/>
                  <a:gd name="T94" fmla="*/ 2147483647 w 141"/>
                  <a:gd name="T95" fmla="*/ 2147483647 h 97"/>
                  <a:gd name="T96" fmla="*/ 2147483647 w 141"/>
                  <a:gd name="T97" fmla="*/ 2147483647 h 97"/>
                  <a:gd name="T98" fmla="*/ 2147483647 w 141"/>
                  <a:gd name="T99" fmla="*/ 2147483647 h 97"/>
                  <a:gd name="T100" fmla="*/ 2147483647 w 141"/>
                  <a:gd name="T101" fmla="*/ 2147483647 h 97"/>
                  <a:gd name="T102" fmla="*/ 2147483647 w 141"/>
                  <a:gd name="T103" fmla="*/ 2147483647 h 97"/>
                  <a:gd name="T104" fmla="*/ 2147483647 w 141"/>
                  <a:gd name="T105" fmla="*/ 2147483647 h 97"/>
                  <a:gd name="T106" fmla="*/ 2147483647 w 141"/>
                  <a:gd name="T107" fmla="*/ 2147483647 h 97"/>
                  <a:gd name="T108" fmla="*/ 2147483647 w 141"/>
                  <a:gd name="T109" fmla="*/ 2147483647 h 97"/>
                  <a:gd name="T110" fmla="*/ 2147483647 w 141"/>
                  <a:gd name="T111" fmla="*/ 2147483647 h 97"/>
                  <a:gd name="T112" fmla="*/ 2147483647 w 141"/>
                  <a:gd name="T113" fmla="*/ 2147483647 h 97"/>
                  <a:gd name="T114" fmla="*/ 2147483647 w 141"/>
                  <a:gd name="T115" fmla="*/ 2147483647 h 97"/>
                  <a:gd name="T116" fmla="*/ 2147483647 w 141"/>
                  <a:gd name="T117" fmla="*/ 2147483647 h 97"/>
                  <a:gd name="T118" fmla="*/ 2147483647 w 141"/>
                  <a:gd name="T119" fmla="*/ 2147483647 h 97"/>
                  <a:gd name="T120" fmla="*/ 2147483647 w 141"/>
                  <a:gd name="T121" fmla="*/ 2147483647 h 9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1"/>
                  <a:gd name="T184" fmla="*/ 0 h 97"/>
                  <a:gd name="T185" fmla="*/ 141 w 141"/>
                  <a:gd name="T186" fmla="*/ 97 h 9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1" h="97">
                    <a:moveTo>
                      <a:pt x="136" y="61"/>
                    </a:moveTo>
                    <a:cubicBezTo>
                      <a:pt x="135" y="60"/>
                      <a:pt x="128" y="58"/>
                      <a:pt x="124" y="55"/>
                    </a:cubicBezTo>
                    <a:cubicBezTo>
                      <a:pt x="119" y="52"/>
                      <a:pt x="113" y="47"/>
                      <a:pt x="111" y="45"/>
                    </a:cubicBezTo>
                    <a:cubicBezTo>
                      <a:pt x="108" y="43"/>
                      <a:pt x="98" y="39"/>
                      <a:pt x="98" y="37"/>
                    </a:cubicBezTo>
                    <a:cubicBezTo>
                      <a:pt x="97" y="35"/>
                      <a:pt x="93" y="24"/>
                      <a:pt x="92" y="22"/>
                    </a:cubicBezTo>
                    <a:cubicBezTo>
                      <a:pt x="92" y="21"/>
                      <a:pt x="86" y="21"/>
                      <a:pt x="86" y="21"/>
                    </a:cubicBezTo>
                    <a:cubicBezTo>
                      <a:pt x="86" y="21"/>
                      <a:pt x="80" y="21"/>
                      <a:pt x="78" y="20"/>
                    </a:cubicBezTo>
                    <a:cubicBezTo>
                      <a:pt x="76" y="20"/>
                      <a:pt x="75" y="16"/>
                      <a:pt x="75" y="15"/>
                    </a:cubicBezTo>
                    <a:cubicBezTo>
                      <a:pt x="75" y="14"/>
                      <a:pt x="73" y="8"/>
                      <a:pt x="72" y="7"/>
                    </a:cubicBezTo>
                    <a:cubicBezTo>
                      <a:pt x="70" y="5"/>
                      <a:pt x="69" y="7"/>
                      <a:pt x="67" y="6"/>
                    </a:cubicBezTo>
                    <a:cubicBezTo>
                      <a:pt x="65" y="4"/>
                      <a:pt x="61" y="0"/>
                      <a:pt x="61" y="0"/>
                    </a:cubicBezTo>
                    <a:cubicBezTo>
                      <a:pt x="61" y="0"/>
                      <a:pt x="58" y="1"/>
                      <a:pt x="57" y="1"/>
                    </a:cubicBezTo>
                    <a:cubicBezTo>
                      <a:pt x="56" y="1"/>
                      <a:pt x="59" y="6"/>
                      <a:pt x="59" y="6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5" y="4"/>
                      <a:pt x="54" y="9"/>
                      <a:pt x="50" y="8"/>
                    </a:cubicBezTo>
                    <a:cubicBezTo>
                      <a:pt x="47" y="7"/>
                      <a:pt x="45" y="11"/>
                      <a:pt x="45" y="11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0" y="20"/>
                      <a:pt x="28" y="18"/>
                      <a:pt x="25" y="16"/>
                    </a:cubicBezTo>
                    <a:cubicBezTo>
                      <a:pt x="22" y="13"/>
                      <a:pt x="21" y="7"/>
                      <a:pt x="13" y="6"/>
                    </a:cubicBezTo>
                    <a:cubicBezTo>
                      <a:pt x="5" y="5"/>
                      <a:pt x="0" y="13"/>
                      <a:pt x="0" y="13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3" y="11"/>
                      <a:pt x="6" y="10"/>
                    </a:cubicBezTo>
                    <a:cubicBezTo>
                      <a:pt x="9" y="8"/>
                      <a:pt x="10" y="9"/>
                      <a:pt x="12" y="11"/>
                    </a:cubicBezTo>
                    <a:cubicBezTo>
                      <a:pt x="14" y="12"/>
                      <a:pt x="14" y="17"/>
                      <a:pt x="16" y="18"/>
                    </a:cubicBezTo>
                    <a:cubicBezTo>
                      <a:pt x="18" y="19"/>
                      <a:pt x="22" y="22"/>
                      <a:pt x="21" y="24"/>
                    </a:cubicBezTo>
                    <a:cubicBezTo>
                      <a:pt x="21" y="26"/>
                      <a:pt x="20" y="29"/>
                      <a:pt x="16" y="29"/>
                    </a:cubicBezTo>
                    <a:cubicBezTo>
                      <a:pt x="12" y="29"/>
                      <a:pt x="11" y="25"/>
                      <a:pt x="11" y="25"/>
                    </a:cubicBezTo>
                    <a:cubicBezTo>
                      <a:pt x="11" y="25"/>
                      <a:pt x="8" y="26"/>
                      <a:pt x="6" y="27"/>
                    </a:cubicBezTo>
                    <a:cubicBezTo>
                      <a:pt x="5" y="27"/>
                      <a:pt x="4" y="22"/>
                      <a:pt x="4" y="22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6" y="44"/>
                      <a:pt x="10" y="48"/>
                      <a:pt x="12" y="48"/>
                    </a:cubicBezTo>
                    <a:cubicBezTo>
                      <a:pt x="14" y="49"/>
                      <a:pt x="14" y="52"/>
                      <a:pt x="13" y="57"/>
                    </a:cubicBezTo>
                    <a:cubicBezTo>
                      <a:pt x="12" y="62"/>
                      <a:pt x="14" y="69"/>
                      <a:pt x="14" y="69"/>
                    </a:cubicBezTo>
                    <a:cubicBezTo>
                      <a:pt x="14" y="69"/>
                      <a:pt x="22" y="69"/>
                      <a:pt x="22" y="67"/>
                    </a:cubicBezTo>
                    <a:cubicBezTo>
                      <a:pt x="23" y="65"/>
                      <a:pt x="26" y="61"/>
                      <a:pt x="31" y="61"/>
                    </a:cubicBezTo>
                    <a:cubicBezTo>
                      <a:pt x="36" y="61"/>
                      <a:pt x="37" y="57"/>
                      <a:pt x="40" y="58"/>
                    </a:cubicBezTo>
                    <a:cubicBezTo>
                      <a:pt x="44" y="59"/>
                      <a:pt x="48" y="60"/>
                      <a:pt x="48" y="60"/>
                    </a:cubicBezTo>
                    <a:cubicBezTo>
                      <a:pt x="48" y="60"/>
                      <a:pt x="53" y="62"/>
                      <a:pt x="56" y="64"/>
                    </a:cubicBezTo>
                    <a:cubicBezTo>
                      <a:pt x="58" y="66"/>
                      <a:pt x="62" y="66"/>
                      <a:pt x="65" y="67"/>
                    </a:cubicBezTo>
                    <a:cubicBezTo>
                      <a:pt x="67" y="69"/>
                      <a:pt x="72" y="73"/>
                      <a:pt x="72" y="73"/>
                    </a:cubicBezTo>
                    <a:cubicBezTo>
                      <a:pt x="78" y="79"/>
                      <a:pt x="78" y="79"/>
                      <a:pt x="78" y="79"/>
                    </a:cubicBezTo>
                    <a:cubicBezTo>
                      <a:pt x="84" y="79"/>
                      <a:pt x="84" y="79"/>
                      <a:pt x="84" y="79"/>
                    </a:cubicBezTo>
                    <a:cubicBezTo>
                      <a:pt x="84" y="79"/>
                      <a:pt x="88" y="86"/>
                      <a:pt x="86" y="88"/>
                    </a:cubicBezTo>
                    <a:cubicBezTo>
                      <a:pt x="85" y="89"/>
                      <a:pt x="85" y="90"/>
                      <a:pt x="85" y="92"/>
                    </a:cubicBezTo>
                    <a:cubicBezTo>
                      <a:pt x="88" y="92"/>
                      <a:pt x="90" y="93"/>
                      <a:pt x="92" y="93"/>
                    </a:cubicBezTo>
                    <a:cubicBezTo>
                      <a:pt x="94" y="93"/>
                      <a:pt x="96" y="97"/>
                      <a:pt x="96" y="97"/>
                    </a:cubicBezTo>
                    <a:cubicBezTo>
                      <a:pt x="96" y="97"/>
                      <a:pt x="100" y="94"/>
                      <a:pt x="102" y="94"/>
                    </a:cubicBezTo>
                    <a:cubicBezTo>
                      <a:pt x="104" y="94"/>
                      <a:pt x="105" y="90"/>
                      <a:pt x="105" y="89"/>
                    </a:cubicBezTo>
                    <a:cubicBezTo>
                      <a:pt x="105" y="87"/>
                      <a:pt x="112" y="86"/>
                      <a:pt x="113" y="86"/>
                    </a:cubicBezTo>
                    <a:cubicBezTo>
                      <a:pt x="115" y="86"/>
                      <a:pt x="119" y="84"/>
                      <a:pt x="118" y="82"/>
                    </a:cubicBezTo>
                    <a:cubicBezTo>
                      <a:pt x="118" y="80"/>
                      <a:pt x="121" y="74"/>
                      <a:pt x="121" y="73"/>
                    </a:cubicBezTo>
                    <a:cubicBezTo>
                      <a:pt x="121" y="72"/>
                      <a:pt x="128" y="70"/>
                      <a:pt x="128" y="70"/>
                    </a:cubicBezTo>
                    <a:cubicBezTo>
                      <a:pt x="130" y="68"/>
                      <a:pt x="130" y="68"/>
                      <a:pt x="130" y="68"/>
                    </a:cubicBezTo>
                    <a:cubicBezTo>
                      <a:pt x="141" y="72"/>
                      <a:pt x="141" y="72"/>
                      <a:pt x="141" y="72"/>
                    </a:cubicBezTo>
                    <a:cubicBezTo>
                      <a:pt x="141" y="72"/>
                      <a:pt x="138" y="63"/>
                      <a:pt x="136" y="61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4" name="Freeform 76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3557629" y="4554538"/>
                <a:ext cx="644976" cy="595312"/>
              </a:xfrm>
              <a:custGeom>
                <a:avLst/>
                <a:gdLst>
                  <a:gd name="T0" fmla="*/ 2147483647 w 164"/>
                  <a:gd name="T1" fmla="*/ 2147483647 h 152"/>
                  <a:gd name="T2" fmla="*/ 2147483647 w 164"/>
                  <a:gd name="T3" fmla="*/ 0 h 152"/>
                  <a:gd name="T4" fmla="*/ 2147483647 w 164"/>
                  <a:gd name="T5" fmla="*/ 2147483647 h 152"/>
                  <a:gd name="T6" fmla="*/ 2147483647 w 164"/>
                  <a:gd name="T7" fmla="*/ 2147483647 h 152"/>
                  <a:gd name="T8" fmla="*/ 2147483647 w 164"/>
                  <a:gd name="T9" fmla="*/ 2147483647 h 152"/>
                  <a:gd name="T10" fmla="*/ 2147483647 w 164"/>
                  <a:gd name="T11" fmla="*/ 2147483647 h 152"/>
                  <a:gd name="T12" fmla="*/ 2147483647 w 164"/>
                  <a:gd name="T13" fmla="*/ 2147483647 h 152"/>
                  <a:gd name="T14" fmla="*/ 2147483647 w 164"/>
                  <a:gd name="T15" fmla="*/ 2147483647 h 152"/>
                  <a:gd name="T16" fmla="*/ 2147483647 w 164"/>
                  <a:gd name="T17" fmla="*/ 2147483647 h 152"/>
                  <a:gd name="T18" fmla="*/ 2147483647 w 164"/>
                  <a:gd name="T19" fmla="*/ 2147483647 h 152"/>
                  <a:gd name="T20" fmla="*/ 2147483647 w 164"/>
                  <a:gd name="T21" fmla="*/ 2147483647 h 152"/>
                  <a:gd name="T22" fmla="*/ 2147483647 w 164"/>
                  <a:gd name="T23" fmla="*/ 2147483647 h 152"/>
                  <a:gd name="T24" fmla="*/ 2147483647 w 164"/>
                  <a:gd name="T25" fmla="*/ 2147483647 h 152"/>
                  <a:gd name="T26" fmla="*/ 2147483647 w 164"/>
                  <a:gd name="T27" fmla="*/ 2147483647 h 152"/>
                  <a:gd name="T28" fmla="*/ 2147483647 w 164"/>
                  <a:gd name="T29" fmla="*/ 2147483647 h 152"/>
                  <a:gd name="T30" fmla="*/ 2147483647 w 164"/>
                  <a:gd name="T31" fmla="*/ 2147483647 h 152"/>
                  <a:gd name="T32" fmla="*/ 2147483647 w 164"/>
                  <a:gd name="T33" fmla="*/ 2147483647 h 152"/>
                  <a:gd name="T34" fmla="*/ 2147483647 w 164"/>
                  <a:gd name="T35" fmla="*/ 2147483647 h 152"/>
                  <a:gd name="T36" fmla="*/ 2147483647 w 164"/>
                  <a:gd name="T37" fmla="*/ 2147483647 h 152"/>
                  <a:gd name="T38" fmla="*/ 2147483647 w 164"/>
                  <a:gd name="T39" fmla="*/ 2147483647 h 152"/>
                  <a:gd name="T40" fmla="*/ 2147483647 w 164"/>
                  <a:gd name="T41" fmla="*/ 2147483647 h 152"/>
                  <a:gd name="T42" fmla="*/ 2147483647 w 164"/>
                  <a:gd name="T43" fmla="*/ 2147483647 h 152"/>
                  <a:gd name="T44" fmla="*/ 2147483647 w 164"/>
                  <a:gd name="T45" fmla="*/ 2147483647 h 152"/>
                  <a:gd name="T46" fmla="*/ 2147483647 w 164"/>
                  <a:gd name="T47" fmla="*/ 2147483647 h 152"/>
                  <a:gd name="T48" fmla="*/ 2147483647 w 164"/>
                  <a:gd name="T49" fmla="*/ 2147483647 h 152"/>
                  <a:gd name="T50" fmla="*/ 2147483647 w 164"/>
                  <a:gd name="T51" fmla="*/ 2147483647 h 152"/>
                  <a:gd name="T52" fmla="*/ 2147483647 w 164"/>
                  <a:gd name="T53" fmla="*/ 2147483647 h 152"/>
                  <a:gd name="T54" fmla="*/ 2147483647 w 164"/>
                  <a:gd name="T55" fmla="*/ 2147483647 h 152"/>
                  <a:gd name="T56" fmla="*/ 2147483647 w 164"/>
                  <a:gd name="T57" fmla="*/ 2147483647 h 152"/>
                  <a:gd name="T58" fmla="*/ 2147483647 w 164"/>
                  <a:gd name="T59" fmla="*/ 2147483647 h 152"/>
                  <a:gd name="T60" fmla="*/ 2147483647 w 164"/>
                  <a:gd name="T61" fmla="*/ 2147483647 h 152"/>
                  <a:gd name="T62" fmla="*/ 2147483647 w 164"/>
                  <a:gd name="T63" fmla="*/ 2147483647 h 152"/>
                  <a:gd name="T64" fmla="*/ 2147483647 w 164"/>
                  <a:gd name="T65" fmla="*/ 2147483647 h 152"/>
                  <a:gd name="T66" fmla="*/ 2147483647 w 164"/>
                  <a:gd name="T67" fmla="*/ 2147483647 h 152"/>
                  <a:gd name="T68" fmla="*/ 2147483647 w 164"/>
                  <a:gd name="T69" fmla="*/ 2147483647 h 152"/>
                  <a:gd name="T70" fmla="*/ 2147483647 w 164"/>
                  <a:gd name="T71" fmla="*/ 2147483647 h 152"/>
                  <a:gd name="T72" fmla="*/ 2147483647 w 164"/>
                  <a:gd name="T73" fmla="*/ 2147483647 h 152"/>
                  <a:gd name="T74" fmla="*/ 2147483647 w 164"/>
                  <a:gd name="T75" fmla="*/ 2147483647 h 152"/>
                  <a:gd name="T76" fmla="*/ 2147483647 w 164"/>
                  <a:gd name="T77" fmla="*/ 2147483647 h 152"/>
                  <a:gd name="T78" fmla="*/ 2147483647 w 164"/>
                  <a:gd name="T79" fmla="*/ 2147483647 h 1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64"/>
                  <a:gd name="T121" fmla="*/ 0 h 152"/>
                  <a:gd name="T122" fmla="*/ 164 w 164"/>
                  <a:gd name="T123" fmla="*/ 152 h 15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64" h="152">
                    <a:moveTo>
                      <a:pt x="157" y="16"/>
                    </a:moveTo>
                    <a:cubicBezTo>
                      <a:pt x="155" y="16"/>
                      <a:pt x="150" y="14"/>
                      <a:pt x="149" y="12"/>
                    </a:cubicBezTo>
                    <a:cubicBezTo>
                      <a:pt x="148" y="10"/>
                      <a:pt x="148" y="7"/>
                      <a:pt x="148" y="5"/>
                    </a:cubicBezTo>
                    <a:cubicBezTo>
                      <a:pt x="147" y="4"/>
                      <a:pt x="143" y="1"/>
                      <a:pt x="141" y="0"/>
                    </a:cubicBezTo>
                    <a:cubicBezTo>
                      <a:pt x="139" y="0"/>
                      <a:pt x="134" y="1"/>
                      <a:pt x="134" y="1"/>
                    </a:cubicBezTo>
                    <a:cubicBezTo>
                      <a:pt x="132" y="2"/>
                      <a:pt x="129" y="2"/>
                      <a:pt x="124" y="1"/>
                    </a:cubicBezTo>
                    <a:cubicBezTo>
                      <a:pt x="120" y="1"/>
                      <a:pt x="115" y="3"/>
                      <a:pt x="112" y="4"/>
                    </a:cubicBezTo>
                    <a:cubicBezTo>
                      <a:pt x="109" y="5"/>
                      <a:pt x="104" y="8"/>
                      <a:pt x="104" y="8"/>
                    </a:cubicBezTo>
                    <a:cubicBezTo>
                      <a:pt x="104" y="8"/>
                      <a:pt x="103" y="12"/>
                      <a:pt x="104" y="14"/>
                    </a:cubicBezTo>
                    <a:cubicBezTo>
                      <a:pt x="106" y="17"/>
                      <a:pt x="106" y="21"/>
                      <a:pt x="104" y="24"/>
                    </a:cubicBezTo>
                    <a:cubicBezTo>
                      <a:pt x="103" y="27"/>
                      <a:pt x="100" y="29"/>
                      <a:pt x="100" y="31"/>
                    </a:cubicBezTo>
                    <a:cubicBezTo>
                      <a:pt x="100" y="33"/>
                      <a:pt x="102" y="34"/>
                      <a:pt x="101" y="36"/>
                    </a:cubicBezTo>
                    <a:cubicBezTo>
                      <a:pt x="100" y="38"/>
                      <a:pt x="98" y="38"/>
                      <a:pt x="95" y="37"/>
                    </a:cubicBezTo>
                    <a:cubicBezTo>
                      <a:pt x="92" y="36"/>
                      <a:pt x="90" y="38"/>
                      <a:pt x="91" y="39"/>
                    </a:cubicBezTo>
                    <a:cubicBezTo>
                      <a:pt x="92" y="41"/>
                      <a:pt x="92" y="45"/>
                      <a:pt x="90" y="46"/>
                    </a:cubicBezTo>
                    <a:cubicBezTo>
                      <a:pt x="87" y="46"/>
                      <a:pt x="86" y="48"/>
                      <a:pt x="84" y="53"/>
                    </a:cubicBezTo>
                    <a:cubicBezTo>
                      <a:pt x="82" y="58"/>
                      <a:pt x="84" y="58"/>
                      <a:pt x="81" y="62"/>
                    </a:cubicBezTo>
                    <a:cubicBezTo>
                      <a:pt x="78" y="66"/>
                      <a:pt x="78" y="64"/>
                      <a:pt x="78" y="62"/>
                    </a:cubicBezTo>
                    <a:cubicBezTo>
                      <a:pt x="78" y="61"/>
                      <a:pt x="73" y="61"/>
                      <a:pt x="70" y="63"/>
                    </a:cubicBezTo>
                    <a:cubicBezTo>
                      <a:pt x="68" y="65"/>
                      <a:pt x="68" y="67"/>
                      <a:pt x="68" y="67"/>
                    </a:cubicBezTo>
                    <a:cubicBezTo>
                      <a:pt x="68" y="67"/>
                      <a:pt x="64" y="68"/>
                      <a:pt x="63" y="68"/>
                    </a:cubicBezTo>
                    <a:cubicBezTo>
                      <a:pt x="62" y="68"/>
                      <a:pt x="59" y="67"/>
                      <a:pt x="58" y="70"/>
                    </a:cubicBezTo>
                    <a:cubicBezTo>
                      <a:pt x="56" y="72"/>
                      <a:pt x="54" y="77"/>
                      <a:pt x="54" y="78"/>
                    </a:cubicBezTo>
                    <a:cubicBezTo>
                      <a:pt x="54" y="79"/>
                      <a:pt x="53" y="85"/>
                      <a:pt x="50" y="86"/>
                    </a:cubicBezTo>
                    <a:cubicBezTo>
                      <a:pt x="47" y="86"/>
                      <a:pt x="41" y="88"/>
                      <a:pt x="38" y="87"/>
                    </a:cubicBezTo>
                    <a:cubicBezTo>
                      <a:pt x="35" y="86"/>
                      <a:pt x="32" y="90"/>
                      <a:pt x="32" y="90"/>
                    </a:cubicBezTo>
                    <a:cubicBezTo>
                      <a:pt x="32" y="90"/>
                      <a:pt x="30" y="89"/>
                      <a:pt x="28" y="88"/>
                    </a:cubicBezTo>
                    <a:cubicBezTo>
                      <a:pt x="26" y="88"/>
                      <a:pt x="16" y="90"/>
                      <a:pt x="16" y="9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9" y="98"/>
                      <a:pt x="9" y="98"/>
                      <a:pt x="9" y="98"/>
                    </a:cubicBezTo>
                    <a:cubicBezTo>
                      <a:pt x="18" y="102"/>
                      <a:pt x="18" y="102"/>
                      <a:pt x="18" y="102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24" y="114"/>
                      <a:pt x="24" y="114"/>
                      <a:pt x="24" y="114"/>
                    </a:cubicBezTo>
                    <a:cubicBezTo>
                      <a:pt x="24" y="119"/>
                      <a:pt x="24" y="119"/>
                      <a:pt x="24" y="119"/>
                    </a:cubicBezTo>
                    <a:cubicBezTo>
                      <a:pt x="24" y="119"/>
                      <a:pt x="14" y="121"/>
                      <a:pt x="11" y="124"/>
                    </a:cubicBezTo>
                    <a:cubicBezTo>
                      <a:pt x="9" y="127"/>
                      <a:pt x="8" y="135"/>
                      <a:pt x="8" y="135"/>
                    </a:cubicBezTo>
                    <a:cubicBezTo>
                      <a:pt x="8" y="135"/>
                      <a:pt x="8" y="137"/>
                      <a:pt x="11" y="137"/>
                    </a:cubicBezTo>
                    <a:cubicBezTo>
                      <a:pt x="13" y="136"/>
                      <a:pt x="23" y="135"/>
                      <a:pt x="26" y="135"/>
                    </a:cubicBezTo>
                    <a:cubicBezTo>
                      <a:pt x="28" y="134"/>
                      <a:pt x="34" y="135"/>
                      <a:pt x="36" y="135"/>
                    </a:cubicBezTo>
                    <a:cubicBezTo>
                      <a:pt x="38" y="136"/>
                      <a:pt x="48" y="135"/>
                      <a:pt x="50" y="134"/>
                    </a:cubicBezTo>
                    <a:cubicBezTo>
                      <a:pt x="52" y="133"/>
                      <a:pt x="57" y="130"/>
                      <a:pt x="57" y="133"/>
                    </a:cubicBezTo>
                    <a:cubicBezTo>
                      <a:pt x="58" y="136"/>
                      <a:pt x="59" y="141"/>
                      <a:pt x="59" y="141"/>
                    </a:cubicBezTo>
                    <a:cubicBezTo>
                      <a:pt x="59" y="141"/>
                      <a:pt x="62" y="140"/>
                      <a:pt x="62" y="141"/>
                    </a:cubicBezTo>
                    <a:cubicBezTo>
                      <a:pt x="62" y="143"/>
                      <a:pt x="62" y="148"/>
                      <a:pt x="64" y="149"/>
                    </a:cubicBezTo>
                    <a:cubicBezTo>
                      <a:pt x="66" y="150"/>
                      <a:pt x="72" y="152"/>
                      <a:pt x="72" y="152"/>
                    </a:cubicBezTo>
                    <a:cubicBezTo>
                      <a:pt x="73" y="150"/>
                      <a:pt x="73" y="150"/>
                      <a:pt x="73" y="150"/>
                    </a:cubicBezTo>
                    <a:cubicBezTo>
                      <a:pt x="77" y="149"/>
                      <a:pt x="77" y="149"/>
                      <a:pt x="77" y="149"/>
                    </a:cubicBezTo>
                    <a:cubicBezTo>
                      <a:pt x="78" y="145"/>
                      <a:pt x="78" y="145"/>
                      <a:pt x="78" y="145"/>
                    </a:cubicBezTo>
                    <a:cubicBezTo>
                      <a:pt x="86" y="146"/>
                      <a:pt x="86" y="146"/>
                      <a:pt x="86" y="146"/>
                    </a:cubicBezTo>
                    <a:cubicBezTo>
                      <a:pt x="86" y="146"/>
                      <a:pt x="89" y="147"/>
                      <a:pt x="90" y="147"/>
                    </a:cubicBezTo>
                    <a:cubicBezTo>
                      <a:pt x="91" y="146"/>
                      <a:pt x="96" y="144"/>
                      <a:pt x="96" y="144"/>
                    </a:cubicBezTo>
                    <a:cubicBezTo>
                      <a:pt x="96" y="144"/>
                      <a:pt x="100" y="147"/>
                      <a:pt x="100" y="144"/>
                    </a:cubicBezTo>
                    <a:cubicBezTo>
                      <a:pt x="100" y="142"/>
                      <a:pt x="99" y="140"/>
                      <a:pt x="98" y="138"/>
                    </a:cubicBezTo>
                    <a:cubicBezTo>
                      <a:pt x="98" y="136"/>
                      <a:pt x="95" y="130"/>
                      <a:pt x="95" y="130"/>
                    </a:cubicBezTo>
                    <a:cubicBezTo>
                      <a:pt x="95" y="130"/>
                      <a:pt x="92" y="131"/>
                      <a:pt x="91" y="128"/>
                    </a:cubicBezTo>
                    <a:cubicBezTo>
                      <a:pt x="91" y="126"/>
                      <a:pt x="91" y="122"/>
                      <a:pt x="91" y="122"/>
                    </a:cubicBezTo>
                    <a:cubicBezTo>
                      <a:pt x="91" y="122"/>
                      <a:pt x="88" y="123"/>
                      <a:pt x="87" y="120"/>
                    </a:cubicBezTo>
                    <a:cubicBezTo>
                      <a:pt x="85" y="118"/>
                      <a:pt x="87" y="112"/>
                      <a:pt x="87" y="112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1" y="108"/>
                      <a:pt x="94" y="104"/>
                      <a:pt x="95" y="105"/>
                    </a:cubicBezTo>
                    <a:cubicBezTo>
                      <a:pt x="96" y="106"/>
                      <a:pt x="98" y="108"/>
                      <a:pt x="98" y="108"/>
                    </a:cubicBezTo>
                    <a:cubicBezTo>
                      <a:pt x="98" y="108"/>
                      <a:pt x="106" y="105"/>
                      <a:pt x="107" y="106"/>
                    </a:cubicBezTo>
                    <a:cubicBezTo>
                      <a:pt x="108" y="107"/>
                      <a:pt x="111" y="102"/>
                      <a:pt x="112" y="99"/>
                    </a:cubicBezTo>
                    <a:cubicBezTo>
                      <a:pt x="113" y="97"/>
                      <a:pt x="117" y="93"/>
                      <a:pt x="119" y="92"/>
                    </a:cubicBezTo>
                    <a:cubicBezTo>
                      <a:pt x="120" y="92"/>
                      <a:pt x="123" y="86"/>
                      <a:pt x="124" y="84"/>
                    </a:cubicBezTo>
                    <a:cubicBezTo>
                      <a:pt x="124" y="83"/>
                      <a:pt x="127" y="82"/>
                      <a:pt x="128" y="81"/>
                    </a:cubicBezTo>
                    <a:cubicBezTo>
                      <a:pt x="129" y="79"/>
                      <a:pt x="128" y="76"/>
                      <a:pt x="131" y="74"/>
                    </a:cubicBezTo>
                    <a:cubicBezTo>
                      <a:pt x="134" y="71"/>
                      <a:pt x="135" y="66"/>
                      <a:pt x="135" y="64"/>
                    </a:cubicBezTo>
                    <a:cubicBezTo>
                      <a:pt x="135" y="62"/>
                      <a:pt x="137" y="61"/>
                      <a:pt x="140" y="61"/>
                    </a:cubicBezTo>
                    <a:cubicBezTo>
                      <a:pt x="142" y="62"/>
                      <a:pt x="144" y="60"/>
                      <a:pt x="143" y="58"/>
                    </a:cubicBezTo>
                    <a:cubicBezTo>
                      <a:pt x="142" y="56"/>
                      <a:pt x="137" y="55"/>
                      <a:pt x="136" y="52"/>
                    </a:cubicBezTo>
                    <a:cubicBezTo>
                      <a:pt x="134" y="50"/>
                      <a:pt x="132" y="50"/>
                      <a:pt x="132" y="47"/>
                    </a:cubicBezTo>
                    <a:cubicBezTo>
                      <a:pt x="131" y="44"/>
                      <a:pt x="129" y="43"/>
                      <a:pt x="129" y="41"/>
                    </a:cubicBezTo>
                    <a:cubicBezTo>
                      <a:pt x="129" y="39"/>
                      <a:pt x="128" y="33"/>
                      <a:pt x="128" y="33"/>
                    </a:cubicBezTo>
                    <a:cubicBezTo>
                      <a:pt x="128" y="33"/>
                      <a:pt x="126" y="29"/>
                      <a:pt x="129" y="29"/>
                    </a:cubicBezTo>
                    <a:cubicBezTo>
                      <a:pt x="132" y="28"/>
                      <a:pt x="135" y="26"/>
                      <a:pt x="137" y="27"/>
                    </a:cubicBezTo>
                    <a:cubicBezTo>
                      <a:pt x="140" y="28"/>
                      <a:pt x="142" y="30"/>
                      <a:pt x="144" y="30"/>
                    </a:cubicBezTo>
                    <a:cubicBezTo>
                      <a:pt x="146" y="31"/>
                      <a:pt x="153" y="27"/>
                      <a:pt x="155" y="26"/>
                    </a:cubicBezTo>
                    <a:cubicBezTo>
                      <a:pt x="157" y="25"/>
                      <a:pt x="160" y="23"/>
                      <a:pt x="160" y="23"/>
                    </a:cubicBezTo>
                    <a:cubicBezTo>
                      <a:pt x="164" y="18"/>
                      <a:pt x="164" y="18"/>
                      <a:pt x="164" y="18"/>
                    </a:cubicBezTo>
                    <a:cubicBezTo>
                      <a:pt x="164" y="18"/>
                      <a:pt x="158" y="16"/>
                      <a:pt x="157" y="16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5" name="Freeform 77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2210509" y="4303714"/>
                <a:ext cx="713872" cy="306387"/>
              </a:xfrm>
              <a:custGeom>
                <a:avLst/>
                <a:gdLst>
                  <a:gd name="T0" fmla="*/ 2147483647 w 181"/>
                  <a:gd name="T1" fmla="*/ 2147483647 h 78"/>
                  <a:gd name="T2" fmla="*/ 2147483647 w 181"/>
                  <a:gd name="T3" fmla="*/ 2147483647 h 78"/>
                  <a:gd name="T4" fmla="*/ 2147483647 w 181"/>
                  <a:gd name="T5" fmla="*/ 2147483647 h 78"/>
                  <a:gd name="T6" fmla="*/ 2147483647 w 181"/>
                  <a:gd name="T7" fmla="*/ 2147483647 h 78"/>
                  <a:gd name="T8" fmla="*/ 2147483647 w 181"/>
                  <a:gd name="T9" fmla="*/ 2147483647 h 78"/>
                  <a:gd name="T10" fmla="*/ 2147483647 w 181"/>
                  <a:gd name="T11" fmla="*/ 2147483647 h 78"/>
                  <a:gd name="T12" fmla="*/ 2147483647 w 181"/>
                  <a:gd name="T13" fmla="*/ 2147483647 h 78"/>
                  <a:gd name="T14" fmla="*/ 2147483647 w 181"/>
                  <a:gd name="T15" fmla="*/ 2147483647 h 78"/>
                  <a:gd name="T16" fmla="*/ 2147483647 w 181"/>
                  <a:gd name="T17" fmla="*/ 2147483647 h 78"/>
                  <a:gd name="T18" fmla="*/ 2147483647 w 181"/>
                  <a:gd name="T19" fmla="*/ 2147483647 h 78"/>
                  <a:gd name="T20" fmla="*/ 2147483647 w 181"/>
                  <a:gd name="T21" fmla="*/ 2147483647 h 78"/>
                  <a:gd name="T22" fmla="*/ 2147483647 w 181"/>
                  <a:gd name="T23" fmla="*/ 2147483647 h 78"/>
                  <a:gd name="T24" fmla="*/ 2147483647 w 181"/>
                  <a:gd name="T25" fmla="*/ 0 h 78"/>
                  <a:gd name="T26" fmla="*/ 2147483647 w 181"/>
                  <a:gd name="T27" fmla="*/ 2147483647 h 78"/>
                  <a:gd name="T28" fmla="*/ 2147483647 w 181"/>
                  <a:gd name="T29" fmla="*/ 2147483647 h 78"/>
                  <a:gd name="T30" fmla="*/ 2147483647 w 181"/>
                  <a:gd name="T31" fmla="*/ 2147483647 h 78"/>
                  <a:gd name="T32" fmla="*/ 2147483647 w 181"/>
                  <a:gd name="T33" fmla="*/ 2147483647 h 78"/>
                  <a:gd name="T34" fmla="*/ 2147483647 w 181"/>
                  <a:gd name="T35" fmla="*/ 2147483647 h 78"/>
                  <a:gd name="T36" fmla="*/ 2147483647 w 181"/>
                  <a:gd name="T37" fmla="*/ 2147483647 h 78"/>
                  <a:gd name="T38" fmla="*/ 2147483647 w 181"/>
                  <a:gd name="T39" fmla="*/ 2147483647 h 78"/>
                  <a:gd name="T40" fmla="*/ 0 w 181"/>
                  <a:gd name="T41" fmla="*/ 2147483647 h 78"/>
                  <a:gd name="T42" fmla="*/ 2147483647 w 181"/>
                  <a:gd name="T43" fmla="*/ 2147483647 h 78"/>
                  <a:gd name="T44" fmla="*/ 2147483647 w 181"/>
                  <a:gd name="T45" fmla="*/ 2147483647 h 78"/>
                  <a:gd name="T46" fmla="*/ 2147483647 w 181"/>
                  <a:gd name="T47" fmla="*/ 2147483647 h 78"/>
                  <a:gd name="T48" fmla="*/ 2147483647 w 181"/>
                  <a:gd name="T49" fmla="*/ 2147483647 h 78"/>
                  <a:gd name="T50" fmla="*/ 2147483647 w 181"/>
                  <a:gd name="T51" fmla="*/ 2147483647 h 78"/>
                  <a:gd name="T52" fmla="*/ 2147483647 w 181"/>
                  <a:gd name="T53" fmla="*/ 2147483647 h 78"/>
                  <a:gd name="T54" fmla="*/ 2147483647 w 181"/>
                  <a:gd name="T55" fmla="*/ 2147483647 h 78"/>
                  <a:gd name="T56" fmla="*/ 2147483647 w 181"/>
                  <a:gd name="T57" fmla="*/ 2147483647 h 78"/>
                  <a:gd name="T58" fmla="*/ 2147483647 w 181"/>
                  <a:gd name="T59" fmla="*/ 2147483647 h 78"/>
                  <a:gd name="T60" fmla="*/ 2147483647 w 181"/>
                  <a:gd name="T61" fmla="*/ 2147483647 h 78"/>
                  <a:gd name="T62" fmla="*/ 2147483647 w 181"/>
                  <a:gd name="T63" fmla="*/ 2147483647 h 78"/>
                  <a:gd name="T64" fmla="*/ 2147483647 w 181"/>
                  <a:gd name="T65" fmla="*/ 2147483647 h 78"/>
                  <a:gd name="T66" fmla="*/ 2147483647 w 181"/>
                  <a:gd name="T67" fmla="*/ 2147483647 h 78"/>
                  <a:gd name="T68" fmla="*/ 2147483647 w 181"/>
                  <a:gd name="T69" fmla="*/ 2147483647 h 78"/>
                  <a:gd name="T70" fmla="*/ 2147483647 w 181"/>
                  <a:gd name="T71" fmla="*/ 2147483647 h 78"/>
                  <a:gd name="T72" fmla="*/ 2147483647 w 181"/>
                  <a:gd name="T73" fmla="*/ 2147483647 h 78"/>
                  <a:gd name="T74" fmla="*/ 2147483647 w 181"/>
                  <a:gd name="T75" fmla="*/ 2147483647 h 78"/>
                  <a:gd name="T76" fmla="*/ 2147483647 w 181"/>
                  <a:gd name="T77" fmla="*/ 2147483647 h 78"/>
                  <a:gd name="T78" fmla="*/ 2147483647 w 181"/>
                  <a:gd name="T79" fmla="*/ 2147483647 h 78"/>
                  <a:gd name="T80" fmla="*/ 2147483647 w 181"/>
                  <a:gd name="T81" fmla="*/ 2147483647 h 78"/>
                  <a:gd name="T82" fmla="*/ 2147483647 w 181"/>
                  <a:gd name="T83" fmla="*/ 2147483647 h 78"/>
                  <a:gd name="T84" fmla="*/ 2147483647 w 181"/>
                  <a:gd name="T85" fmla="*/ 2147483647 h 78"/>
                  <a:gd name="T86" fmla="*/ 2147483647 w 181"/>
                  <a:gd name="T87" fmla="*/ 2147483647 h 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81"/>
                  <a:gd name="T133" fmla="*/ 0 h 78"/>
                  <a:gd name="T134" fmla="*/ 181 w 181"/>
                  <a:gd name="T135" fmla="*/ 78 h 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81" h="78">
                    <a:moveTo>
                      <a:pt x="181" y="54"/>
                    </a:moveTo>
                    <a:cubicBezTo>
                      <a:pt x="180" y="53"/>
                      <a:pt x="179" y="50"/>
                      <a:pt x="179" y="50"/>
                    </a:cubicBezTo>
                    <a:cubicBezTo>
                      <a:pt x="179" y="46"/>
                      <a:pt x="179" y="46"/>
                      <a:pt x="179" y="46"/>
                    </a:cubicBezTo>
                    <a:cubicBezTo>
                      <a:pt x="178" y="43"/>
                      <a:pt x="178" y="43"/>
                      <a:pt x="178" y="43"/>
                    </a:cubicBezTo>
                    <a:cubicBezTo>
                      <a:pt x="178" y="43"/>
                      <a:pt x="178" y="40"/>
                      <a:pt x="177" y="40"/>
                    </a:cubicBezTo>
                    <a:cubicBezTo>
                      <a:pt x="176" y="39"/>
                      <a:pt x="175" y="34"/>
                      <a:pt x="176" y="34"/>
                    </a:cubicBezTo>
                    <a:cubicBezTo>
                      <a:pt x="177" y="34"/>
                      <a:pt x="179" y="33"/>
                      <a:pt x="180" y="32"/>
                    </a:cubicBezTo>
                    <a:cubicBezTo>
                      <a:pt x="181" y="31"/>
                      <a:pt x="181" y="30"/>
                      <a:pt x="181" y="28"/>
                    </a:cubicBezTo>
                    <a:cubicBezTo>
                      <a:pt x="180" y="26"/>
                      <a:pt x="177" y="25"/>
                      <a:pt x="175" y="25"/>
                    </a:cubicBezTo>
                    <a:cubicBezTo>
                      <a:pt x="174" y="26"/>
                      <a:pt x="172" y="23"/>
                      <a:pt x="172" y="21"/>
                    </a:cubicBezTo>
                    <a:cubicBezTo>
                      <a:pt x="172" y="18"/>
                      <a:pt x="172" y="17"/>
                      <a:pt x="171" y="16"/>
                    </a:cubicBezTo>
                    <a:cubicBezTo>
                      <a:pt x="170" y="14"/>
                      <a:pt x="168" y="11"/>
                      <a:pt x="167" y="9"/>
                    </a:cubicBezTo>
                    <a:cubicBezTo>
                      <a:pt x="165" y="8"/>
                      <a:pt x="164" y="6"/>
                      <a:pt x="163" y="5"/>
                    </a:cubicBezTo>
                    <a:cubicBezTo>
                      <a:pt x="162" y="4"/>
                      <a:pt x="161" y="8"/>
                      <a:pt x="161" y="8"/>
                    </a:cubicBezTo>
                    <a:cubicBezTo>
                      <a:pt x="159" y="6"/>
                      <a:pt x="159" y="6"/>
                      <a:pt x="159" y="6"/>
                    </a:cubicBezTo>
                    <a:cubicBezTo>
                      <a:pt x="159" y="6"/>
                      <a:pt x="155" y="8"/>
                      <a:pt x="154" y="7"/>
                    </a:cubicBezTo>
                    <a:cubicBezTo>
                      <a:pt x="154" y="6"/>
                      <a:pt x="151" y="6"/>
                      <a:pt x="150" y="8"/>
                    </a:cubicBezTo>
                    <a:cubicBezTo>
                      <a:pt x="149" y="9"/>
                      <a:pt x="140" y="13"/>
                      <a:pt x="138" y="14"/>
                    </a:cubicBezTo>
                    <a:cubicBezTo>
                      <a:pt x="136" y="15"/>
                      <a:pt x="132" y="11"/>
                      <a:pt x="132" y="11"/>
                    </a:cubicBezTo>
                    <a:cubicBezTo>
                      <a:pt x="132" y="11"/>
                      <a:pt x="125" y="13"/>
                      <a:pt x="123" y="14"/>
                    </a:cubicBezTo>
                    <a:cubicBezTo>
                      <a:pt x="121" y="15"/>
                      <a:pt x="113" y="14"/>
                      <a:pt x="111" y="13"/>
                    </a:cubicBezTo>
                    <a:cubicBezTo>
                      <a:pt x="110" y="12"/>
                      <a:pt x="105" y="8"/>
                      <a:pt x="103" y="9"/>
                    </a:cubicBezTo>
                    <a:cubicBezTo>
                      <a:pt x="102" y="9"/>
                      <a:pt x="101" y="13"/>
                      <a:pt x="99" y="9"/>
                    </a:cubicBezTo>
                    <a:cubicBezTo>
                      <a:pt x="97" y="6"/>
                      <a:pt x="96" y="5"/>
                      <a:pt x="94" y="5"/>
                    </a:cubicBezTo>
                    <a:cubicBezTo>
                      <a:pt x="92" y="5"/>
                      <a:pt x="90" y="4"/>
                      <a:pt x="89" y="3"/>
                    </a:cubicBezTo>
                    <a:cubicBezTo>
                      <a:pt x="89" y="1"/>
                      <a:pt x="87" y="0"/>
                      <a:pt x="87" y="0"/>
                    </a:cubicBezTo>
                    <a:cubicBezTo>
                      <a:pt x="87" y="0"/>
                      <a:pt x="82" y="1"/>
                      <a:pt x="79" y="1"/>
                    </a:cubicBezTo>
                    <a:cubicBezTo>
                      <a:pt x="76" y="0"/>
                      <a:pt x="64" y="3"/>
                      <a:pt x="64" y="3"/>
                    </a:cubicBezTo>
                    <a:cubicBezTo>
                      <a:pt x="64" y="3"/>
                      <a:pt x="49" y="12"/>
                      <a:pt x="48" y="13"/>
                    </a:cubicBezTo>
                    <a:cubicBezTo>
                      <a:pt x="46" y="14"/>
                      <a:pt x="40" y="11"/>
                      <a:pt x="40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2" y="21"/>
                      <a:pt x="18" y="21"/>
                      <a:pt x="17" y="21"/>
                    </a:cubicBezTo>
                    <a:cubicBezTo>
                      <a:pt x="16" y="21"/>
                      <a:pt x="13" y="24"/>
                      <a:pt x="12" y="21"/>
                    </a:cubicBezTo>
                    <a:cubicBezTo>
                      <a:pt x="11" y="19"/>
                      <a:pt x="8" y="20"/>
                      <a:pt x="8" y="20"/>
                    </a:cubicBezTo>
                    <a:cubicBezTo>
                      <a:pt x="8" y="20"/>
                      <a:pt x="4" y="21"/>
                      <a:pt x="2" y="22"/>
                    </a:cubicBezTo>
                    <a:cubicBezTo>
                      <a:pt x="0" y="22"/>
                      <a:pt x="0" y="27"/>
                      <a:pt x="0" y="2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8" y="32"/>
                      <a:pt x="8" y="33"/>
                      <a:pt x="5" y="35"/>
                    </a:cubicBezTo>
                    <a:cubicBezTo>
                      <a:pt x="2" y="37"/>
                      <a:pt x="7" y="37"/>
                      <a:pt x="7" y="3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8" y="42"/>
                      <a:pt x="8" y="42"/>
                      <a:pt x="8" y="42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7" y="55"/>
                      <a:pt x="7" y="55"/>
                      <a:pt x="7" y="55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4" y="61"/>
                      <a:pt x="14" y="61"/>
                      <a:pt x="14" y="61"/>
                    </a:cubicBezTo>
                    <a:cubicBezTo>
                      <a:pt x="11" y="65"/>
                      <a:pt x="11" y="65"/>
                      <a:pt x="11" y="65"/>
                    </a:cubicBezTo>
                    <a:cubicBezTo>
                      <a:pt x="21" y="64"/>
                      <a:pt x="21" y="64"/>
                      <a:pt x="21" y="64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4" y="67"/>
                      <a:pt x="28" y="67"/>
                      <a:pt x="28" y="69"/>
                    </a:cubicBezTo>
                    <a:cubicBezTo>
                      <a:pt x="28" y="71"/>
                      <a:pt x="33" y="74"/>
                      <a:pt x="35" y="74"/>
                    </a:cubicBezTo>
                    <a:cubicBezTo>
                      <a:pt x="36" y="73"/>
                      <a:pt x="42" y="74"/>
                      <a:pt x="42" y="74"/>
                    </a:cubicBezTo>
                    <a:cubicBezTo>
                      <a:pt x="42" y="74"/>
                      <a:pt x="44" y="68"/>
                      <a:pt x="44" y="67"/>
                    </a:cubicBezTo>
                    <a:cubicBezTo>
                      <a:pt x="45" y="65"/>
                      <a:pt x="51" y="68"/>
                      <a:pt x="54" y="69"/>
                    </a:cubicBezTo>
                    <a:cubicBezTo>
                      <a:pt x="56" y="70"/>
                      <a:pt x="60" y="75"/>
                      <a:pt x="61" y="75"/>
                    </a:cubicBezTo>
                    <a:cubicBezTo>
                      <a:pt x="62" y="75"/>
                      <a:pt x="76" y="73"/>
                      <a:pt x="78" y="73"/>
                    </a:cubicBezTo>
                    <a:cubicBezTo>
                      <a:pt x="79" y="72"/>
                      <a:pt x="82" y="67"/>
                      <a:pt x="84" y="67"/>
                    </a:cubicBezTo>
                    <a:cubicBezTo>
                      <a:pt x="85" y="68"/>
                      <a:pt x="92" y="70"/>
                      <a:pt x="92" y="70"/>
                    </a:cubicBezTo>
                    <a:cubicBezTo>
                      <a:pt x="92" y="70"/>
                      <a:pt x="97" y="66"/>
                      <a:pt x="98" y="66"/>
                    </a:cubicBezTo>
                    <a:cubicBezTo>
                      <a:pt x="99" y="66"/>
                      <a:pt x="98" y="69"/>
                      <a:pt x="96" y="71"/>
                    </a:cubicBezTo>
                    <a:cubicBezTo>
                      <a:pt x="95" y="72"/>
                      <a:pt x="96" y="77"/>
                      <a:pt x="96" y="77"/>
                    </a:cubicBezTo>
                    <a:cubicBezTo>
                      <a:pt x="97" y="78"/>
                      <a:pt x="99" y="78"/>
                      <a:pt x="99" y="78"/>
                    </a:cubicBezTo>
                    <a:cubicBezTo>
                      <a:pt x="99" y="78"/>
                      <a:pt x="100" y="74"/>
                      <a:pt x="101" y="74"/>
                    </a:cubicBezTo>
                    <a:cubicBezTo>
                      <a:pt x="102" y="74"/>
                      <a:pt x="104" y="73"/>
                      <a:pt x="104" y="73"/>
                    </a:cubicBezTo>
                    <a:cubicBezTo>
                      <a:pt x="104" y="73"/>
                      <a:pt x="101" y="68"/>
                      <a:pt x="103" y="67"/>
                    </a:cubicBezTo>
                    <a:cubicBezTo>
                      <a:pt x="104" y="66"/>
                      <a:pt x="106" y="66"/>
                      <a:pt x="106" y="67"/>
                    </a:cubicBezTo>
                    <a:cubicBezTo>
                      <a:pt x="107" y="68"/>
                      <a:pt x="110" y="67"/>
                      <a:pt x="112" y="68"/>
                    </a:cubicBezTo>
                    <a:cubicBezTo>
                      <a:pt x="114" y="68"/>
                      <a:pt x="120" y="66"/>
                      <a:pt x="120" y="66"/>
                    </a:cubicBezTo>
                    <a:cubicBezTo>
                      <a:pt x="126" y="68"/>
                      <a:pt x="126" y="68"/>
                      <a:pt x="126" y="68"/>
                    </a:cubicBezTo>
                    <a:cubicBezTo>
                      <a:pt x="126" y="68"/>
                      <a:pt x="135" y="66"/>
                      <a:pt x="137" y="65"/>
                    </a:cubicBezTo>
                    <a:cubicBezTo>
                      <a:pt x="139" y="65"/>
                      <a:pt x="144" y="62"/>
                      <a:pt x="145" y="62"/>
                    </a:cubicBezTo>
                    <a:cubicBezTo>
                      <a:pt x="146" y="62"/>
                      <a:pt x="151" y="63"/>
                      <a:pt x="154" y="62"/>
                    </a:cubicBezTo>
                    <a:cubicBezTo>
                      <a:pt x="156" y="61"/>
                      <a:pt x="159" y="59"/>
                      <a:pt x="159" y="60"/>
                    </a:cubicBezTo>
                    <a:cubicBezTo>
                      <a:pt x="159" y="60"/>
                      <a:pt x="166" y="59"/>
                      <a:pt x="167" y="60"/>
                    </a:cubicBezTo>
                    <a:cubicBezTo>
                      <a:pt x="168" y="61"/>
                      <a:pt x="172" y="61"/>
                      <a:pt x="174" y="61"/>
                    </a:cubicBezTo>
                    <a:cubicBezTo>
                      <a:pt x="176" y="60"/>
                      <a:pt x="178" y="63"/>
                      <a:pt x="178" y="64"/>
                    </a:cubicBezTo>
                    <a:cubicBezTo>
                      <a:pt x="179" y="65"/>
                      <a:pt x="181" y="60"/>
                      <a:pt x="181" y="60"/>
                    </a:cubicBezTo>
                    <a:cubicBezTo>
                      <a:pt x="181" y="60"/>
                      <a:pt x="181" y="56"/>
                      <a:pt x="181" y="5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6" name="Freeform 78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2200248" y="4302125"/>
                <a:ext cx="134859" cy="82550"/>
              </a:xfrm>
              <a:custGeom>
                <a:avLst/>
                <a:gdLst>
                  <a:gd name="T0" fmla="*/ 2147483647 w 34"/>
                  <a:gd name="T1" fmla="*/ 2147483647 h 21"/>
                  <a:gd name="T2" fmla="*/ 2147483647 w 34"/>
                  <a:gd name="T3" fmla="*/ 2147483647 h 21"/>
                  <a:gd name="T4" fmla="*/ 2147483647 w 34"/>
                  <a:gd name="T5" fmla="*/ 2147483647 h 21"/>
                  <a:gd name="T6" fmla="*/ 2147483647 w 34"/>
                  <a:gd name="T7" fmla="*/ 2147483647 h 21"/>
                  <a:gd name="T8" fmla="*/ 2147483647 w 34"/>
                  <a:gd name="T9" fmla="*/ 2147483647 h 21"/>
                  <a:gd name="T10" fmla="*/ 2147483647 w 34"/>
                  <a:gd name="T11" fmla="*/ 2147483647 h 21"/>
                  <a:gd name="T12" fmla="*/ 2147483647 w 34"/>
                  <a:gd name="T13" fmla="*/ 2147483647 h 21"/>
                  <a:gd name="T14" fmla="*/ 2147483647 w 34"/>
                  <a:gd name="T15" fmla="*/ 2147483647 h 21"/>
                  <a:gd name="T16" fmla="*/ 2147483647 w 34"/>
                  <a:gd name="T17" fmla="*/ 2147483647 h 21"/>
                  <a:gd name="T18" fmla="*/ 2147483647 w 34"/>
                  <a:gd name="T19" fmla="*/ 2147483647 h 21"/>
                  <a:gd name="T20" fmla="*/ 2147483647 w 34"/>
                  <a:gd name="T21" fmla="*/ 0 h 21"/>
                  <a:gd name="T22" fmla="*/ 2147483647 w 34"/>
                  <a:gd name="T23" fmla="*/ 2147483647 h 21"/>
                  <a:gd name="T24" fmla="*/ 2147483647 w 34"/>
                  <a:gd name="T25" fmla="*/ 2147483647 h 21"/>
                  <a:gd name="T26" fmla="*/ 2147483647 w 34"/>
                  <a:gd name="T27" fmla="*/ 2147483647 h 21"/>
                  <a:gd name="T28" fmla="*/ 2147483647 w 34"/>
                  <a:gd name="T29" fmla="*/ 2147483647 h 21"/>
                  <a:gd name="T30" fmla="*/ 2147483647 w 34"/>
                  <a:gd name="T31" fmla="*/ 2147483647 h 21"/>
                  <a:gd name="T32" fmla="*/ 2147483647 w 34"/>
                  <a:gd name="T33" fmla="*/ 2147483647 h 2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21"/>
                  <a:gd name="T53" fmla="*/ 34 w 34"/>
                  <a:gd name="T54" fmla="*/ 21 h 2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21">
                    <a:moveTo>
                      <a:pt x="9" y="20"/>
                    </a:moveTo>
                    <a:cubicBezTo>
                      <a:pt x="10" y="20"/>
                      <a:pt x="15" y="18"/>
                      <a:pt x="15" y="18"/>
                    </a:cubicBezTo>
                    <a:cubicBezTo>
                      <a:pt x="15" y="18"/>
                      <a:pt x="18" y="16"/>
                      <a:pt x="18" y="15"/>
                    </a:cubicBezTo>
                    <a:cubicBezTo>
                      <a:pt x="19" y="14"/>
                      <a:pt x="25" y="14"/>
                      <a:pt x="26" y="14"/>
                    </a:cubicBezTo>
                    <a:cubicBezTo>
                      <a:pt x="27" y="14"/>
                      <a:pt x="31" y="14"/>
                      <a:pt x="31" y="14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9"/>
                      <a:pt x="24" y="9"/>
                      <a:pt x="22" y="9"/>
                    </a:cubicBezTo>
                    <a:cubicBezTo>
                      <a:pt x="21" y="9"/>
                      <a:pt x="20" y="2"/>
                      <a:pt x="20" y="2"/>
                    </a:cubicBezTo>
                    <a:cubicBezTo>
                      <a:pt x="20" y="2"/>
                      <a:pt x="18" y="1"/>
                      <a:pt x="17" y="2"/>
                    </a:cubicBezTo>
                    <a:cubicBezTo>
                      <a:pt x="15" y="3"/>
                      <a:pt x="15" y="1"/>
                      <a:pt x="14" y="0"/>
                    </a:cubicBezTo>
                    <a:cubicBezTo>
                      <a:pt x="13" y="0"/>
                      <a:pt x="9" y="0"/>
                      <a:pt x="8" y="1"/>
                    </a:cubicBezTo>
                    <a:cubicBezTo>
                      <a:pt x="7" y="1"/>
                      <a:pt x="7" y="4"/>
                      <a:pt x="7" y="5"/>
                    </a:cubicBezTo>
                    <a:cubicBezTo>
                      <a:pt x="7" y="6"/>
                      <a:pt x="6" y="10"/>
                      <a:pt x="6" y="10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0" y="18"/>
                      <a:pt x="1" y="19"/>
                    </a:cubicBezTo>
                    <a:cubicBezTo>
                      <a:pt x="3" y="21"/>
                      <a:pt x="8" y="19"/>
                      <a:pt x="9" y="2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2" name="Группа 493"/>
              <p:cNvGrpSpPr/>
              <p:nvPr>
                <p:custDataLst>
                  <p:tags r:id="rId83"/>
                </p:custDataLst>
              </p:nvPr>
            </p:nvGrpSpPr>
            <p:grpSpPr>
              <a:xfrm>
                <a:off x="6143396" y="4938713"/>
                <a:ext cx="86485" cy="106362"/>
                <a:chOff x="6653213" y="4938713"/>
                <a:chExt cx="93662" cy="106362"/>
              </a:xfrm>
            </p:grpSpPr>
            <p:sp>
              <p:nvSpPr>
                <p:cNvPr id="48291" name="Freeform 80"/>
                <p:cNvSpPr>
                  <a:spLocks/>
                </p:cNvSpPr>
                <p:nvPr>
                  <p:custDataLst>
                    <p:tags r:id="rId111"/>
                  </p:custDataLst>
                </p:nvPr>
              </p:nvSpPr>
              <p:spPr bwMode="gray">
                <a:xfrm>
                  <a:off x="6653213" y="5020764"/>
                  <a:ext cx="20070" cy="24311"/>
                </a:xfrm>
                <a:custGeom>
                  <a:avLst/>
                  <a:gdLst>
                    <a:gd name="T0" fmla="*/ 0 w 5"/>
                    <a:gd name="T1" fmla="*/ 1 h 6"/>
                    <a:gd name="T2" fmla="*/ 3973 w 5"/>
                    <a:gd name="T3" fmla="*/ 0 h 6"/>
                    <a:gd name="T4" fmla="*/ 3973 w 5"/>
                    <a:gd name="T5" fmla="*/ 206471 h 6"/>
                    <a:gd name="T6" fmla="*/ 1 w 5"/>
                    <a:gd name="T7" fmla="*/ 367060 h 6"/>
                    <a:gd name="T8" fmla="*/ 0 w 5"/>
                    <a:gd name="T9" fmla="*/ 1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6"/>
                    <a:gd name="T17" fmla="*/ 5 w 5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6">
                      <a:moveTo>
                        <a:pt x="0" y="1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5" y="2"/>
                        <a:pt x="3" y="3"/>
                      </a:cubicBezTo>
                      <a:cubicBezTo>
                        <a:pt x="1" y="5"/>
                        <a:pt x="3" y="4"/>
                        <a:pt x="1" y="5"/>
                      </a:cubicBezTo>
                      <a:cubicBezTo>
                        <a:pt x="0" y="6"/>
                        <a:pt x="0" y="1"/>
                        <a:pt x="0" y="1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rgbClr val="96969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8292" name="Freeform 81"/>
                <p:cNvSpPr>
                  <a:spLocks/>
                </p:cNvSpPr>
                <p:nvPr>
                  <p:custDataLst>
                    <p:tags r:id="rId112"/>
                  </p:custDataLst>
                </p:nvPr>
              </p:nvSpPr>
              <p:spPr bwMode="gray">
                <a:xfrm>
                  <a:off x="6696699" y="4972141"/>
                  <a:ext cx="13380" cy="21272"/>
                </a:xfrm>
                <a:custGeom>
                  <a:avLst/>
                  <a:gdLst>
                    <a:gd name="T0" fmla="*/ 0 w 3"/>
                    <a:gd name="T1" fmla="*/ 1939039 h 5"/>
                    <a:gd name="T2" fmla="*/ 206471 w 3"/>
                    <a:gd name="T3" fmla="*/ 989306 h 5"/>
                    <a:gd name="T4" fmla="*/ 1 w 3"/>
                    <a:gd name="T5" fmla="*/ 2599978 h 5"/>
                    <a:gd name="T6" fmla="*/ 0 w 3"/>
                    <a:gd name="T7" fmla="*/ 1939039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"/>
                    <a:gd name="T13" fmla="*/ 0 h 5"/>
                    <a:gd name="T14" fmla="*/ 3 w 3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" h="5">
                      <a:moveTo>
                        <a:pt x="0" y="4"/>
                      </a:moveTo>
                      <a:cubicBezTo>
                        <a:pt x="0" y="4"/>
                        <a:pt x="3" y="0"/>
                        <a:pt x="3" y="2"/>
                      </a:cubicBezTo>
                      <a:cubicBezTo>
                        <a:pt x="3" y="3"/>
                        <a:pt x="1" y="5"/>
                        <a:pt x="1" y="5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rgbClr val="96969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8293" name="Freeform 82"/>
                <p:cNvSpPr>
                  <a:spLocks/>
                </p:cNvSpPr>
                <p:nvPr>
                  <p:custDataLst>
                    <p:tags r:id="rId113"/>
                  </p:custDataLst>
                </p:nvPr>
              </p:nvSpPr>
              <p:spPr bwMode="gray">
                <a:xfrm>
                  <a:off x="6720114" y="4938713"/>
                  <a:ext cx="26761" cy="30389"/>
                </a:xfrm>
                <a:custGeom>
                  <a:avLst/>
                  <a:gdLst>
                    <a:gd name="T0" fmla="*/ 0 w 6"/>
                    <a:gd name="T1" fmla="*/ 25271 h 8"/>
                    <a:gd name="T2" fmla="*/ 206471 w 6"/>
                    <a:gd name="T3" fmla="*/ 12939 h 8"/>
                    <a:gd name="T4" fmla="*/ 367060 w 6"/>
                    <a:gd name="T5" fmla="*/ 12939 h 8"/>
                    <a:gd name="T6" fmla="*/ 0 w 6"/>
                    <a:gd name="T7" fmla="*/ 25271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8"/>
                    <a:gd name="T14" fmla="*/ 6 w 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8">
                      <a:moveTo>
                        <a:pt x="0" y="5"/>
                      </a:moveTo>
                      <a:cubicBezTo>
                        <a:pt x="0" y="5"/>
                        <a:pt x="0" y="2"/>
                        <a:pt x="3" y="2"/>
                      </a:cubicBezTo>
                      <a:cubicBezTo>
                        <a:pt x="5" y="2"/>
                        <a:pt x="6" y="0"/>
                        <a:pt x="5" y="2"/>
                      </a:cubicBezTo>
                      <a:cubicBezTo>
                        <a:pt x="4" y="4"/>
                        <a:pt x="0" y="8"/>
                        <a:pt x="0" y="5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rgbClr val="96969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sp>
            <p:nvSpPr>
              <p:cNvPr id="48208" name="Freeform 83"/>
              <p:cNvSpPr>
                <a:spLocks noEditPoints="1"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056394" y="3640139"/>
                <a:ext cx="2377616" cy="1735137"/>
              </a:xfrm>
              <a:custGeom>
                <a:avLst/>
                <a:gdLst>
                  <a:gd name="T0" fmla="*/ 2147483647 w 602"/>
                  <a:gd name="T1" fmla="*/ 2147483647 h 444"/>
                  <a:gd name="T2" fmla="*/ 2147483647 w 602"/>
                  <a:gd name="T3" fmla="*/ 2147483647 h 444"/>
                  <a:gd name="T4" fmla="*/ 2147483647 w 602"/>
                  <a:gd name="T5" fmla="*/ 2147483647 h 444"/>
                  <a:gd name="T6" fmla="*/ 2147483647 w 602"/>
                  <a:gd name="T7" fmla="*/ 2147483647 h 444"/>
                  <a:gd name="T8" fmla="*/ 2147483647 w 602"/>
                  <a:gd name="T9" fmla="*/ 2147483647 h 444"/>
                  <a:gd name="T10" fmla="*/ 2147483647 w 602"/>
                  <a:gd name="T11" fmla="*/ 2147483647 h 444"/>
                  <a:gd name="T12" fmla="*/ 2147483647 w 602"/>
                  <a:gd name="T13" fmla="*/ 2147483647 h 444"/>
                  <a:gd name="T14" fmla="*/ 2147483647 w 602"/>
                  <a:gd name="T15" fmla="*/ 2147483647 h 444"/>
                  <a:gd name="T16" fmla="*/ 2147483647 w 602"/>
                  <a:gd name="T17" fmla="*/ 2147483647 h 444"/>
                  <a:gd name="T18" fmla="*/ 2147483647 w 602"/>
                  <a:gd name="T19" fmla="*/ 2147483647 h 444"/>
                  <a:gd name="T20" fmla="*/ 2147483647 w 602"/>
                  <a:gd name="T21" fmla="*/ 2147483647 h 444"/>
                  <a:gd name="T22" fmla="*/ 2147483647 w 602"/>
                  <a:gd name="T23" fmla="*/ 2147483647 h 444"/>
                  <a:gd name="T24" fmla="*/ 2147483647 w 602"/>
                  <a:gd name="T25" fmla="*/ 2147483647 h 444"/>
                  <a:gd name="T26" fmla="*/ 2147483647 w 602"/>
                  <a:gd name="T27" fmla="*/ 2147483647 h 444"/>
                  <a:gd name="T28" fmla="*/ 2147483647 w 602"/>
                  <a:gd name="T29" fmla="*/ 2147483647 h 444"/>
                  <a:gd name="T30" fmla="*/ 2147483647 w 602"/>
                  <a:gd name="T31" fmla="*/ 2147483647 h 444"/>
                  <a:gd name="T32" fmla="*/ 2147483647 w 602"/>
                  <a:gd name="T33" fmla="*/ 2147483647 h 444"/>
                  <a:gd name="T34" fmla="*/ 2147483647 w 602"/>
                  <a:gd name="T35" fmla="*/ 2147483647 h 444"/>
                  <a:gd name="T36" fmla="*/ 2147483647 w 602"/>
                  <a:gd name="T37" fmla="*/ 2147483647 h 444"/>
                  <a:gd name="T38" fmla="*/ 2147483647 w 602"/>
                  <a:gd name="T39" fmla="*/ 2147483647 h 444"/>
                  <a:gd name="T40" fmla="*/ 2147483647 w 602"/>
                  <a:gd name="T41" fmla="*/ 2147483647 h 444"/>
                  <a:gd name="T42" fmla="*/ 2147483647 w 602"/>
                  <a:gd name="T43" fmla="*/ 2147483647 h 444"/>
                  <a:gd name="T44" fmla="*/ 2147483647 w 602"/>
                  <a:gd name="T45" fmla="*/ 2147483647 h 444"/>
                  <a:gd name="T46" fmla="*/ 2147483647 w 602"/>
                  <a:gd name="T47" fmla="*/ 2147483647 h 444"/>
                  <a:gd name="T48" fmla="*/ 2147483647 w 602"/>
                  <a:gd name="T49" fmla="*/ 2147483647 h 444"/>
                  <a:gd name="T50" fmla="*/ 2147483647 w 602"/>
                  <a:gd name="T51" fmla="*/ 2147483647 h 444"/>
                  <a:gd name="T52" fmla="*/ 2147483647 w 602"/>
                  <a:gd name="T53" fmla="*/ 2147483647 h 444"/>
                  <a:gd name="T54" fmla="*/ 2147483647 w 602"/>
                  <a:gd name="T55" fmla="*/ 2147483647 h 444"/>
                  <a:gd name="T56" fmla="*/ 2147483647 w 602"/>
                  <a:gd name="T57" fmla="*/ 2147483647 h 444"/>
                  <a:gd name="T58" fmla="*/ 2147483647 w 602"/>
                  <a:gd name="T59" fmla="*/ 2147483647 h 444"/>
                  <a:gd name="T60" fmla="*/ 2147483647 w 602"/>
                  <a:gd name="T61" fmla="*/ 2147483647 h 444"/>
                  <a:gd name="T62" fmla="*/ 2147483647 w 602"/>
                  <a:gd name="T63" fmla="*/ 2147483647 h 444"/>
                  <a:gd name="T64" fmla="*/ 2147483647 w 602"/>
                  <a:gd name="T65" fmla="*/ 2147483647 h 444"/>
                  <a:gd name="T66" fmla="*/ 2147483647 w 602"/>
                  <a:gd name="T67" fmla="*/ 2147483647 h 444"/>
                  <a:gd name="T68" fmla="*/ 2147483647 w 602"/>
                  <a:gd name="T69" fmla="*/ 2147483647 h 444"/>
                  <a:gd name="T70" fmla="*/ 2147483647 w 602"/>
                  <a:gd name="T71" fmla="*/ 2147483647 h 444"/>
                  <a:gd name="T72" fmla="*/ 2147483647 w 602"/>
                  <a:gd name="T73" fmla="*/ 2147483647 h 444"/>
                  <a:gd name="T74" fmla="*/ 2147483647 w 602"/>
                  <a:gd name="T75" fmla="*/ 2147483647 h 444"/>
                  <a:gd name="T76" fmla="*/ 2147483647 w 602"/>
                  <a:gd name="T77" fmla="*/ 2147483647 h 444"/>
                  <a:gd name="T78" fmla="*/ 2147483647 w 602"/>
                  <a:gd name="T79" fmla="*/ 2147483647 h 444"/>
                  <a:gd name="T80" fmla="*/ 2147483647 w 602"/>
                  <a:gd name="T81" fmla="*/ 2147483647 h 444"/>
                  <a:gd name="T82" fmla="*/ 2147483647 w 602"/>
                  <a:gd name="T83" fmla="*/ 2147483647 h 444"/>
                  <a:gd name="T84" fmla="*/ 2147483647 w 602"/>
                  <a:gd name="T85" fmla="*/ 2147483647 h 444"/>
                  <a:gd name="T86" fmla="*/ 2147483647 w 602"/>
                  <a:gd name="T87" fmla="*/ 2147483647 h 444"/>
                  <a:gd name="T88" fmla="*/ 2147483647 w 602"/>
                  <a:gd name="T89" fmla="*/ 2147483647 h 444"/>
                  <a:gd name="T90" fmla="*/ 2147483647 w 602"/>
                  <a:gd name="T91" fmla="*/ 2147483647 h 444"/>
                  <a:gd name="T92" fmla="*/ 2147483647 w 602"/>
                  <a:gd name="T93" fmla="*/ 2147483647 h 444"/>
                  <a:gd name="T94" fmla="*/ 2147483647 w 602"/>
                  <a:gd name="T95" fmla="*/ 2147483647 h 444"/>
                  <a:gd name="T96" fmla="*/ 2147483647 w 602"/>
                  <a:gd name="T97" fmla="*/ 2147483647 h 444"/>
                  <a:gd name="T98" fmla="*/ 2147483647 w 602"/>
                  <a:gd name="T99" fmla="*/ 2147483647 h 444"/>
                  <a:gd name="T100" fmla="*/ 2147483647 w 602"/>
                  <a:gd name="T101" fmla="*/ 2147483647 h 444"/>
                  <a:gd name="T102" fmla="*/ 2147483647 w 602"/>
                  <a:gd name="T103" fmla="*/ 2147483647 h 444"/>
                  <a:gd name="T104" fmla="*/ 2147483647 w 602"/>
                  <a:gd name="T105" fmla="*/ 2147483647 h 444"/>
                  <a:gd name="T106" fmla="*/ 2147483647 w 602"/>
                  <a:gd name="T107" fmla="*/ 2147483647 h 444"/>
                  <a:gd name="T108" fmla="*/ 2147483647 w 602"/>
                  <a:gd name="T109" fmla="*/ 2147483647 h 444"/>
                  <a:gd name="T110" fmla="*/ 2147483647 w 602"/>
                  <a:gd name="T111" fmla="*/ 2147483647 h 444"/>
                  <a:gd name="T112" fmla="*/ 2147483647 w 602"/>
                  <a:gd name="T113" fmla="*/ 2147483647 h 444"/>
                  <a:gd name="T114" fmla="*/ 2147483647 w 602"/>
                  <a:gd name="T115" fmla="*/ 2147483647 h 444"/>
                  <a:gd name="T116" fmla="*/ 2147483647 w 602"/>
                  <a:gd name="T117" fmla="*/ 2147483647 h 44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02"/>
                  <a:gd name="T178" fmla="*/ 0 h 444"/>
                  <a:gd name="T179" fmla="*/ 602 w 602"/>
                  <a:gd name="T180" fmla="*/ 444 h 44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02" h="444">
                    <a:moveTo>
                      <a:pt x="599" y="89"/>
                    </a:moveTo>
                    <a:cubicBezTo>
                      <a:pt x="600" y="86"/>
                      <a:pt x="600" y="84"/>
                      <a:pt x="598" y="83"/>
                    </a:cubicBezTo>
                    <a:cubicBezTo>
                      <a:pt x="595" y="82"/>
                      <a:pt x="592" y="83"/>
                      <a:pt x="590" y="84"/>
                    </a:cubicBezTo>
                    <a:cubicBezTo>
                      <a:pt x="589" y="86"/>
                      <a:pt x="581" y="87"/>
                      <a:pt x="581" y="87"/>
                    </a:cubicBezTo>
                    <a:cubicBezTo>
                      <a:pt x="581" y="87"/>
                      <a:pt x="578" y="91"/>
                      <a:pt x="576" y="91"/>
                    </a:cubicBezTo>
                    <a:cubicBezTo>
                      <a:pt x="574" y="90"/>
                      <a:pt x="567" y="94"/>
                      <a:pt x="564" y="91"/>
                    </a:cubicBezTo>
                    <a:cubicBezTo>
                      <a:pt x="561" y="89"/>
                      <a:pt x="560" y="85"/>
                      <a:pt x="560" y="85"/>
                    </a:cubicBezTo>
                    <a:cubicBezTo>
                      <a:pt x="560" y="85"/>
                      <a:pt x="562" y="83"/>
                      <a:pt x="562" y="82"/>
                    </a:cubicBezTo>
                    <a:cubicBezTo>
                      <a:pt x="561" y="81"/>
                      <a:pt x="559" y="78"/>
                      <a:pt x="560" y="77"/>
                    </a:cubicBezTo>
                    <a:cubicBezTo>
                      <a:pt x="560" y="76"/>
                      <a:pt x="560" y="73"/>
                      <a:pt x="558" y="74"/>
                    </a:cubicBezTo>
                    <a:cubicBezTo>
                      <a:pt x="556" y="74"/>
                      <a:pt x="554" y="72"/>
                      <a:pt x="552" y="69"/>
                    </a:cubicBezTo>
                    <a:cubicBezTo>
                      <a:pt x="550" y="67"/>
                      <a:pt x="547" y="66"/>
                      <a:pt x="545" y="66"/>
                    </a:cubicBezTo>
                    <a:cubicBezTo>
                      <a:pt x="544" y="65"/>
                      <a:pt x="536" y="64"/>
                      <a:pt x="536" y="64"/>
                    </a:cubicBezTo>
                    <a:cubicBezTo>
                      <a:pt x="536" y="64"/>
                      <a:pt x="530" y="60"/>
                      <a:pt x="530" y="57"/>
                    </a:cubicBezTo>
                    <a:cubicBezTo>
                      <a:pt x="530" y="54"/>
                      <a:pt x="528" y="47"/>
                      <a:pt x="528" y="47"/>
                    </a:cubicBezTo>
                    <a:cubicBezTo>
                      <a:pt x="528" y="47"/>
                      <a:pt x="524" y="41"/>
                      <a:pt x="523" y="36"/>
                    </a:cubicBezTo>
                    <a:cubicBezTo>
                      <a:pt x="523" y="32"/>
                      <a:pt x="520" y="28"/>
                      <a:pt x="519" y="24"/>
                    </a:cubicBezTo>
                    <a:cubicBezTo>
                      <a:pt x="519" y="20"/>
                      <a:pt x="516" y="17"/>
                      <a:pt x="515" y="15"/>
                    </a:cubicBezTo>
                    <a:cubicBezTo>
                      <a:pt x="514" y="12"/>
                      <a:pt x="509" y="8"/>
                      <a:pt x="507" y="7"/>
                    </a:cubicBezTo>
                    <a:cubicBezTo>
                      <a:pt x="505" y="7"/>
                      <a:pt x="501" y="6"/>
                      <a:pt x="501" y="6"/>
                    </a:cubicBezTo>
                    <a:cubicBezTo>
                      <a:pt x="501" y="6"/>
                      <a:pt x="492" y="0"/>
                      <a:pt x="489" y="1"/>
                    </a:cubicBezTo>
                    <a:cubicBezTo>
                      <a:pt x="486" y="2"/>
                      <a:pt x="481" y="2"/>
                      <a:pt x="480" y="2"/>
                    </a:cubicBezTo>
                    <a:cubicBezTo>
                      <a:pt x="479" y="2"/>
                      <a:pt x="467" y="4"/>
                      <a:pt x="466" y="5"/>
                    </a:cubicBezTo>
                    <a:cubicBezTo>
                      <a:pt x="465" y="5"/>
                      <a:pt x="461" y="9"/>
                      <a:pt x="460" y="9"/>
                    </a:cubicBezTo>
                    <a:cubicBezTo>
                      <a:pt x="459" y="9"/>
                      <a:pt x="455" y="16"/>
                      <a:pt x="457" y="16"/>
                    </a:cubicBezTo>
                    <a:cubicBezTo>
                      <a:pt x="458" y="16"/>
                      <a:pt x="461" y="15"/>
                      <a:pt x="462" y="17"/>
                    </a:cubicBezTo>
                    <a:cubicBezTo>
                      <a:pt x="462" y="18"/>
                      <a:pt x="463" y="22"/>
                      <a:pt x="463" y="22"/>
                    </a:cubicBezTo>
                    <a:cubicBezTo>
                      <a:pt x="463" y="22"/>
                      <a:pt x="464" y="25"/>
                      <a:pt x="462" y="27"/>
                    </a:cubicBezTo>
                    <a:cubicBezTo>
                      <a:pt x="461" y="29"/>
                      <a:pt x="456" y="32"/>
                      <a:pt x="455" y="36"/>
                    </a:cubicBezTo>
                    <a:cubicBezTo>
                      <a:pt x="454" y="40"/>
                      <a:pt x="450" y="45"/>
                      <a:pt x="449" y="47"/>
                    </a:cubicBezTo>
                    <a:cubicBezTo>
                      <a:pt x="448" y="49"/>
                      <a:pt x="448" y="51"/>
                      <a:pt x="449" y="52"/>
                    </a:cubicBezTo>
                    <a:cubicBezTo>
                      <a:pt x="450" y="52"/>
                      <a:pt x="449" y="54"/>
                      <a:pt x="448" y="56"/>
                    </a:cubicBezTo>
                    <a:cubicBezTo>
                      <a:pt x="446" y="58"/>
                      <a:pt x="439" y="59"/>
                      <a:pt x="439" y="61"/>
                    </a:cubicBezTo>
                    <a:cubicBezTo>
                      <a:pt x="438" y="62"/>
                      <a:pt x="433" y="63"/>
                      <a:pt x="431" y="63"/>
                    </a:cubicBezTo>
                    <a:cubicBezTo>
                      <a:pt x="430" y="63"/>
                      <a:pt x="426" y="61"/>
                      <a:pt x="423" y="59"/>
                    </a:cubicBezTo>
                    <a:cubicBezTo>
                      <a:pt x="424" y="59"/>
                      <a:pt x="424" y="59"/>
                      <a:pt x="424" y="60"/>
                    </a:cubicBezTo>
                    <a:cubicBezTo>
                      <a:pt x="420" y="66"/>
                      <a:pt x="418" y="74"/>
                      <a:pt x="418" y="74"/>
                    </a:cubicBezTo>
                    <a:cubicBezTo>
                      <a:pt x="418" y="74"/>
                      <a:pt x="416" y="81"/>
                      <a:pt x="415" y="82"/>
                    </a:cubicBezTo>
                    <a:cubicBezTo>
                      <a:pt x="414" y="83"/>
                      <a:pt x="413" y="84"/>
                      <a:pt x="412" y="86"/>
                    </a:cubicBezTo>
                    <a:cubicBezTo>
                      <a:pt x="411" y="87"/>
                      <a:pt x="415" y="91"/>
                      <a:pt x="415" y="91"/>
                    </a:cubicBezTo>
                    <a:cubicBezTo>
                      <a:pt x="415" y="91"/>
                      <a:pt x="419" y="89"/>
                      <a:pt x="422" y="88"/>
                    </a:cubicBezTo>
                    <a:cubicBezTo>
                      <a:pt x="424" y="87"/>
                      <a:pt x="430" y="92"/>
                      <a:pt x="430" y="92"/>
                    </a:cubicBezTo>
                    <a:cubicBezTo>
                      <a:pt x="435" y="86"/>
                      <a:pt x="435" y="86"/>
                      <a:pt x="435" y="86"/>
                    </a:cubicBezTo>
                    <a:cubicBezTo>
                      <a:pt x="435" y="86"/>
                      <a:pt x="445" y="89"/>
                      <a:pt x="446" y="92"/>
                    </a:cubicBezTo>
                    <a:cubicBezTo>
                      <a:pt x="447" y="94"/>
                      <a:pt x="453" y="98"/>
                      <a:pt x="453" y="98"/>
                    </a:cubicBezTo>
                    <a:cubicBezTo>
                      <a:pt x="453" y="98"/>
                      <a:pt x="455" y="103"/>
                      <a:pt x="455" y="104"/>
                    </a:cubicBezTo>
                    <a:cubicBezTo>
                      <a:pt x="455" y="106"/>
                      <a:pt x="454" y="108"/>
                      <a:pt x="452" y="109"/>
                    </a:cubicBezTo>
                    <a:cubicBezTo>
                      <a:pt x="450" y="111"/>
                      <a:pt x="449" y="111"/>
                      <a:pt x="449" y="108"/>
                    </a:cubicBezTo>
                    <a:cubicBezTo>
                      <a:pt x="450" y="106"/>
                      <a:pt x="446" y="104"/>
                      <a:pt x="446" y="104"/>
                    </a:cubicBezTo>
                    <a:cubicBezTo>
                      <a:pt x="446" y="104"/>
                      <a:pt x="439" y="105"/>
                      <a:pt x="435" y="108"/>
                    </a:cubicBezTo>
                    <a:cubicBezTo>
                      <a:pt x="431" y="111"/>
                      <a:pt x="433" y="107"/>
                      <a:pt x="432" y="107"/>
                    </a:cubicBezTo>
                    <a:cubicBezTo>
                      <a:pt x="431" y="106"/>
                      <a:pt x="430" y="110"/>
                      <a:pt x="430" y="110"/>
                    </a:cubicBezTo>
                    <a:cubicBezTo>
                      <a:pt x="430" y="110"/>
                      <a:pt x="426" y="110"/>
                      <a:pt x="423" y="111"/>
                    </a:cubicBezTo>
                    <a:cubicBezTo>
                      <a:pt x="421" y="112"/>
                      <a:pt x="420" y="117"/>
                      <a:pt x="419" y="119"/>
                    </a:cubicBezTo>
                    <a:cubicBezTo>
                      <a:pt x="417" y="121"/>
                      <a:pt x="413" y="123"/>
                      <a:pt x="409" y="124"/>
                    </a:cubicBezTo>
                    <a:cubicBezTo>
                      <a:pt x="405" y="124"/>
                      <a:pt x="404" y="124"/>
                      <a:pt x="401" y="126"/>
                    </a:cubicBezTo>
                    <a:cubicBezTo>
                      <a:pt x="399" y="128"/>
                      <a:pt x="398" y="131"/>
                      <a:pt x="395" y="132"/>
                    </a:cubicBezTo>
                    <a:cubicBezTo>
                      <a:pt x="391" y="133"/>
                      <a:pt x="386" y="133"/>
                      <a:pt x="383" y="130"/>
                    </a:cubicBezTo>
                    <a:cubicBezTo>
                      <a:pt x="379" y="127"/>
                      <a:pt x="377" y="128"/>
                      <a:pt x="374" y="130"/>
                    </a:cubicBezTo>
                    <a:cubicBezTo>
                      <a:pt x="372" y="132"/>
                      <a:pt x="371" y="137"/>
                      <a:pt x="373" y="140"/>
                    </a:cubicBezTo>
                    <a:cubicBezTo>
                      <a:pt x="375" y="143"/>
                      <a:pt x="377" y="146"/>
                      <a:pt x="377" y="146"/>
                    </a:cubicBezTo>
                    <a:cubicBezTo>
                      <a:pt x="377" y="146"/>
                      <a:pt x="375" y="150"/>
                      <a:pt x="373" y="151"/>
                    </a:cubicBezTo>
                    <a:cubicBezTo>
                      <a:pt x="370" y="152"/>
                      <a:pt x="368" y="154"/>
                      <a:pt x="364" y="157"/>
                    </a:cubicBezTo>
                    <a:cubicBezTo>
                      <a:pt x="360" y="161"/>
                      <a:pt x="356" y="162"/>
                      <a:pt x="353" y="164"/>
                    </a:cubicBezTo>
                    <a:cubicBezTo>
                      <a:pt x="349" y="166"/>
                      <a:pt x="341" y="165"/>
                      <a:pt x="336" y="165"/>
                    </a:cubicBezTo>
                    <a:cubicBezTo>
                      <a:pt x="331" y="164"/>
                      <a:pt x="330" y="167"/>
                      <a:pt x="324" y="168"/>
                    </a:cubicBezTo>
                    <a:cubicBezTo>
                      <a:pt x="319" y="168"/>
                      <a:pt x="310" y="175"/>
                      <a:pt x="308" y="176"/>
                    </a:cubicBezTo>
                    <a:cubicBezTo>
                      <a:pt x="307" y="176"/>
                      <a:pt x="305" y="175"/>
                      <a:pt x="304" y="175"/>
                    </a:cubicBezTo>
                    <a:cubicBezTo>
                      <a:pt x="303" y="175"/>
                      <a:pt x="303" y="172"/>
                      <a:pt x="303" y="172"/>
                    </a:cubicBezTo>
                    <a:cubicBezTo>
                      <a:pt x="303" y="172"/>
                      <a:pt x="299" y="173"/>
                      <a:pt x="298" y="173"/>
                    </a:cubicBezTo>
                    <a:cubicBezTo>
                      <a:pt x="297" y="173"/>
                      <a:pt x="289" y="169"/>
                      <a:pt x="286" y="169"/>
                    </a:cubicBezTo>
                    <a:cubicBezTo>
                      <a:pt x="284" y="170"/>
                      <a:pt x="280" y="167"/>
                      <a:pt x="278" y="165"/>
                    </a:cubicBezTo>
                    <a:cubicBezTo>
                      <a:pt x="277" y="163"/>
                      <a:pt x="266" y="162"/>
                      <a:pt x="264" y="162"/>
                    </a:cubicBezTo>
                    <a:cubicBezTo>
                      <a:pt x="263" y="162"/>
                      <a:pt x="247" y="163"/>
                      <a:pt x="242" y="162"/>
                    </a:cubicBezTo>
                    <a:cubicBezTo>
                      <a:pt x="237" y="160"/>
                      <a:pt x="224" y="161"/>
                      <a:pt x="223" y="161"/>
                    </a:cubicBezTo>
                    <a:cubicBezTo>
                      <a:pt x="222" y="160"/>
                      <a:pt x="216" y="145"/>
                      <a:pt x="216" y="145"/>
                    </a:cubicBezTo>
                    <a:cubicBezTo>
                      <a:pt x="214" y="139"/>
                      <a:pt x="214" y="139"/>
                      <a:pt x="214" y="139"/>
                    </a:cubicBezTo>
                    <a:cubicBezTo>
                      <a:pt x="214" y="139"/>
                      <a:pt x="213" y="142"/>
                      <a:pt x="210" y="140"/>
                    </a:cubicBezTo>
                    <a:cubicBezTo>
                      <a:pt x="206" y="139"/>
                      <a:pt x="200" y="134"/>
                      <a:pt x="198" y="131"/>
                    </a:cubicBezTo>
                    <a:cubicBezTo>
                      <a:pt x="195" y="129"/>
                      <a:pt x="188" y="130"/>
                      <a:pt x="185" y="129"/>
                    </a:cubicBezTo>
                    <a:cubicBezTo>
                      <a:pt x="182" y="128"/>
                      <a:pt x="173" y="128"/>
                      <a:pt x="171" y="127"/>
                    </a:cubicBezTo>
                    <a:cubicBezTo>
                      <a:pt x="169" y="126"/>
                      <a:pt x="168" y="124"/>
                      <a:pt x="169" y="119"/>
                    </a:cubicBezTo>
                    <a:cubicBezTo>
                      <a:pt x="170" y="114"/>
                      <a:pt x="172" y="111"/>
                      <a:pt x="171" y="107"/>
                    </a:cubicBezTo>
                    <a:cubicBezTo>
                      <a:pt x="171" y="102"/>
                      <a:pt x="170" y="102"/>
                      <a:pt x="169" y="102"/>
                    </a:cubicBezTo>
                    <a:cubicBezTo>
                      <a:pt x="168" y="101"/>
                      <a:pt x="166" y="97"/>
                      <a:pt x="165" y="94"/>
                    </a:cubicBezTo>
                    <a:cubicBezTo>
                      <a:pt x="164" y="90"/>
                      <a:pt x="160" y="90"/>
                      <a:pt x="158" y="88"/>
                    </a:cubicBezTo>
                    <a:cubicBezTo>
                      <a:pt x="156" y="86"/>
                      <a:pt x="155" y="87"/>
                      <a:pt x="152" y="87"/>
                    </a:cubicBezTo>
                    <a:cubicBezTo>
                      <a:pt x="150" y="88"/>
                      <a:pt x="149" y="83"/>
                      <a:pt x="147" y="82"/>
                    </a:cubicBezTo>
                    <a:cubicBezTo>
                      <a:pt x="145" y="81"/>
                      <a:pt x="142" y="78"/>
                      <a:pt x="142" y="78"/>
                    </a:cubicBezTo>
                    <a:cubicBezTo>
                      <a:pt x="140" y="74"/>
                      <a:pt x="140" y="74"/>
                      <a:pt x="140" y="74"/>
                    </a:cubicBezTo>
                    <a:cubicBezTo>
                      <a:pt x="140" y="70"/>
                      <a:pt x="140" y="70"/>
                      <a:pt x="140" y="70"/>
                    </a:cubicBezTo>
                    <a:cubicBezTo>
                      <a:pt x="139" y="70"/>
                      <a:pt x="139" y="70"/>
                      <a:pt x="138" y="70"/>
                    </a:cubicBezTo>
                    <a:cubicBezTo>
                      <a:pt x="138" y="71"/>
                      <a:pt x="137" y="71"/>
                      <a:pt x="137" y="70"/>
                    </a:cubicBezTo>
                    <a:cubicBezTo>
                      <a:pt x="137" y="71"/>
                      <a:pt x="137" y="71"/>
                      <a:pt x="137" y="71"/>
                    </a:cubicBezTo>
                    <a:cubicBezTo>
                      <a:pt x="137" y="71"/>
                      <a:pt x="131" y="70"/>
                      <a:pt x="130" y="71"/>
                    </a:cubicBezTo>
                    <a:cubicBezTo>
                      <a:pt x="128" y="73"/>
                      <a:pt x="131" y="77"/>
                      <a:pt x="127" y="79"/>
                    </a:cubicBezTo>
                    <a:cubicBezTo>
                      <a:pt x="124" y="80"/>
                      <a:pt x="119" y="81"/>
                      <a:pt x="118" y="85"/>
                    </a:cubicBezTo>
                    <a:cubicBezTo>
                      <a:pt x="117" y="89"/>
                      <a:pt x="120" y="95"/>
                      <a:pt x="118" y="97"/>
                    </a:cubicBezTo>
                    <a:cubicBezTo>
                      <a:pt x="117" y="99"/>
                      <a:pt x="113" y="104"/>
                      <a:pt x="111" y="104"/>
                    </a:cubicBezTo>
                    <a:cubicBezTo>
                      <a:pt x="110" y="103"/>
                      <a:pt x="106" y="100"/>
                      <a:pt x="103" y="101"/>
                    </a:cubicBezTo>
                    <a:cubicBezTo>
                      <a:pt x="101" y="102"/>
                      <a:pt x="93" y="98"/>
                      <a:pt x="93" y="98"/>
                    </a:cubicBezTo>
                    <a:cubicBezTo>
                      <a:pt x="93" y="98"/>
                      <a:pt x="88" y="110"/>
                      <a:pt x="87" y="114"/>
                    </a:cubicBezTo>
                    <a:cubicBezTo>
                      <a:pt x="87" y="117"/>
                      <a:pt x="84" y="119"/>
                      <a:pt x="86" y="121"/>
                    </a:cubicBezTo>
                    <a:cubicBezTo>
                      <a:pt x="88" y="122"/>
                      <a:pt x="89" y="124"/>
                      <a:pt x="89" y="126"/>
                    </a:cubicBezTo>
                    <a:cubicBezTo>
                      <a:pt x="88" y="128"/>
                      <a:pt x="88" y="127"/>
                      <a:pt x="86" y="127"/>
                    </a:cubicBezTo>
                    <a:cubicBezTo>
                      <a:pt x="84" y="127"/>
                      <a:pt x="79" y="125"/>
                      <a:pt x="79" y="125"/>
                    </a:cubicBezTo>
                    <a:cubicBezTo>
                      <a:pt x="79" y="125"/>
                      <a:pt x="76" y="126"/>
                      <a:pt x="73" y="127"/>
                    </a:cubicBezTo>
                    <a:cubicBezTo>
                      <a:pt x="69" y="128"/>
                      <a:pt x="62" y="130"/>
                      <a:pt x="62" y="131"/>
                    </a:cubicBezTo>
                    <a:cubicBezTo>
                      <a:pt x="62" y="132"/>
                      <a:pt x="68" y="132"/>
                      <a:pt x="67" y="133"/>
                    </a:cubicBezTo>
                    <a:cubicBezTo>
                      <a:pt x="67" y="135"/>
                      <a:pt x="69" y="146"/>
                      <a:pt x="69" y="146"/>
                    </a:cubicBezTo>
                    <a:cubicBezTo>
                      <a:pt x="69" y="146"/>
                      <a:pt x="70" y="153"/>
                      <a:pt x="70" y="154"/>
                    </a:cubicBezTo>
                    <a:cubicBezTo>
                      <a:pt x="70" y="155"/>
                      <a:pt x="67" y="157"/>
                      <a:pt x="67" y="157"/>
                    </a:cubicBezTo>
                    <a:cubicBezTo>
                      <a:pt x="67" y="157"/>
                      <a:pt x="70" y="159"/>
                      <a:pt x="68" y="160"/>
                    </a:cubicBezTo>
                    <a:cubicBezTo>
                      <a:pt x="67" y="160"/>
                      <a:pt x="65" y="160"/>
                      <a:pt x="65" y="162"/>
                    </a:cubicBezTo>
                    <a:cubicBezTo>
                      <a:pt x="65" y="164"/>
                      <a:pt x="65" y="167"/>
                      <a:pt x="65" y="167"/>
                    </a:cubicBezTo>
                    <a:cubicBezTo>
                      <a:pt x="64" y="167"/>
                      <a:pt x="64" y="167"/>
                      <a:pt x="64" y="167"/>
                    </a:cubicBezTo>
                    <a:cubicBezTo>
                      <a:pt x="65" y="168"/>
                      <a:pt x="65" y="168"/>
                      <a:pt x="65" y="168"/>
                    </a:cubicBezTo>
                    <a:cubicBezTo>
                      <a:pt x="65" y="168"/>
                      <a:pt x="61" y="172"/>
                      <a:pt x="60" y="173"/>
                    </a:cubicBezTo>
                    <a:cubicBezTo>
                      <a:pt x="59" y="174"/>
                      <a:pt x="54" y="175"/>
                      <a:pt x="51" y="175"/>
                    </a:cubicBezTo>
                    <a:cubicBezTo>
                      <a:pt x="48" y="175"/>
                      <a:pt x="49" y="180"/>
                      <a:pt x="45" y="182"/>
                    </a:cubicBezTo>
                    <a:cubicBezTo>
                      <a:pt x="42" y="183"/>
                      <a:pt x="35" y="184"/>
                      <a:pt x="33" y="184"/>
                    </a:cubicBezTo>
                    <a:cubicBezTo>
                      <a:pt x="31" y="183"/>
                      <a:pt x="29" y="189"/>
                      <a:pt x="29" y="189"/>
                    </a:cubicBezTo>
                    <a:cubicBezTo>
                      <a:pt x="29" y="189"/>
                      <a:pt x="24" y="191"/>
                      <a:pt x="22" y="192"/>
                    </a:cubicBezTo>
                    <a:cubicBezTo>
                      <a:pt x="20" y="192"/>
                      <a:pt x="19" y="188"/>
                      <a:pt x="18" y="189"/>
                    </a:cubicBezTo>
                    <a:cubicBezTo>
                      <a:pt x="16" y="190"/>
                      <a:pt x="13" y="192"/>
                      <a:pt x="11" y="193"/>
                    </a:cubicBezTo>
                    <a:cubicBezTo>
                      <a:pt x="9" y="194"/>
                      <a:pt x="7" y="194"/>
                      <a:pt x="5" y="195"/>
                    </a:cubicBezTo>
                    <a:cubicBezTo>
                      <a:pt x="2" y="195"/>
                      <a:pt x="2" y="202"/>
                      <a:pt x="2" y="202"/>
                    </a:cubicBezTo>
                    <a:cubicBezTo>
                      <a:pt x="2" y="202"/>
                      <a:pt x="1" y="203"/>
                      <a:pt x="0" y="203"/>
                    </a:cubicBezTo>
                    <a:cubicBezTo>
                      <a:pt x="1" y="204"/>
                      <a:pt x="1" y="205"/>
                      <a:pt x="1" y="206"/>
                    </a:cubicBezTo>
                    <a:cubicBezTo>
                      <a:pt x="1" y="210"/>
                      <a:pt x="1" y="215"/>
                      <a:pt x="4" y="215"/>
                    </a:cubicBezTo>
                    <a:cubicBezTo>
                      <a:pt x="6" y="215"/>
                      <a:pt x="7" y="213"/>
                      <a:pt x="9" y="214"/>
                    </a:cubicBezTo>
                    <a:cubicBezTo>
                      <a:pt x="12" y="216"/>
                      <a:pt x="12" y="218"/>
                      <a:pt x="13" y="222"/>
                    </a:cubicBezTo>
                    <a:cubicBezTo>
                      <a:pt x="14" y="226"/>
                      <a:pt x="15" y="228"/>
                      <a:pt x="15" y="229"/>
                    </a:cubicBezTo>
                    <a:cubicBezTo>
                      <a:pt x="15" y="230"/>
                      <a:pt x="12" y="230"/>
                      <a:pt x="12" y="230"/>
                    </a:cubicBezTo>
                    <a:cubicBezTo>
                      <a:pt x="12" y="230"/>
                      <a:pt x="12" y="230"/>
                      <a:pt x="12" y="230"/>
                    </a:cubicBezTo>
                    <a:cubicBezTo>
                      <a:pt x="11" y="231"/>
                      <a:pt x="11" y="231"/>
                      <a:pt x="10" y="231"/>
                    </a:cubicBezTo>
                    <a:cubicBezTo>
                      <a:pt x="8" y="231"/>
                      <a:pt x="11" y="234"/>
                      <a:pt x="9" y="235"/>
                    </a:cubicBezTo>
                    <a:cubicBezTo>
                      <a:pt x="9" y="235"/>
                      <a:pt x="14" y="234"/>
                      <a:pt x="16" y="234"/>
                    </a:cubicBezTo>
                    <a:cubicBezTo>
                      <a:pt x="18" y="235"/>
                      <a:pt x="22" y="238"/>
                      <a:pt x="23" y="239"/>
                    </a:cubicBezTo>
                    <a:cubicBezTo>
                      <a:pt x="23" y="241"/>
                      <a:pt x="23" y="244"/>
                      <a:pt x="24" y="246"/>
                    </a:cubicBezTo>
                    <a:cubicBezTo>
                      <a:pt x="25" y="248"/>
                      <a:pt x="30" y="250"/>
                      <a:pt x="32" y="250"/>
                    </a:cubicBezTo>
                    <a:cubicBezTo>
                      <a:pt x="33" y="250"/>
                      <a:pt x="39" y="252"/>
                      <a:pt x="39" y="252"/>
                    </a:cubicBezTo>
                    <a:cubicBezTo>
                      <a:pt x="35" y="257"/>
                      <a:pt x="35" y="257"/>
                      <a:pt x="35" y="257"/>
                    </a:cubicBezTo>
                    <a:cubicBezTo>
                      <a:pt x="39" y="252"/>
                      <a:pt x="39" y="252"/>
                      <a:pt x="39" y="252"/>
                    </a:cubicBezTo>
                    <a:cubicBezTo>
                      <a:pt x="42" y="252"/>
                      <a:pt x="42" y="252"/>
                      <a:pt x="42" y="252"/>
                    </a:cubicBezTo>
                    <a:cubicBezTo>
                      <a:pt x="43" y="256"/>
                      <a:pt x="43" y="256"/>
                      <a:pt x="43" y="256"/>
                    </a:cubicBezTo>
                    <a:cubicBezTo>
                      <a:pt x="43" y="256"/>
                      <a:pt x="46" y="262"/>
                      <a:pt x="47" y="263"/>
                    </a:cubicBezTo>
                    <a:cubicBezTo>
                      <a:pt x="49" y="264"/>
                      <a:pt x="51" y="265"/>
                      <a:pt x="52" y="266"/>
                    </a:cubicBezTo>
                    <a:cubicBezTo>
                      <a:pt x="54" y="267"/>
                      <a:pt x="51" y="269"/>
                      <a:pt x="50" y="271"/>
                    </a:cubicBezTo>
                    <a:cubicBezTo>
                      <a:pt x="49" y="273"/>
                      <a:pt x="52" y="277"/>
                      <a:pt x="53" y="278"/>
                    </a:cubicBezTo>
                    <a:cubicBezTo>
                      <a:pt x="54" y="280"/>
                      <a:pt x="57" y="284"/>
                      <a:pt x="57" y="285"/>
                    </a:cubicBezTo>
                    <a:cubicBezTo>
                      <a:pt x="57" y="287"/>
                      <a:pt x="56" y="287"/>
                      <a:pt x="54" y="288"/>
                    </a:cubicBezTo>
                    <a:cubicBezTo>
                      <a:pt x="53" y="289"/>
                      <a:pt x="51" y="288"/>
                      <a:pt x="51" y="287"/>
                    </a:cubicBezTo>
                    <a:cubicBezTo>
                      <a:pt x="51" y="286"/>
                      <a:pt x="48" y="286"/>
                      <a:pt x="47" y="286"/>
                    </a:cubicBezTo>
                    <a:cubicBezTo>
                      <a:pt x="46" y="286"/>
                      <a:pt x="48" y="289"/>
                      <a:pt x="49" y="291"/>
                    </a:cubicBezTo>
                    <a:cubicBezTo>
                      <a:pt x="50" y="294"/>
                      <a:pt x="51" y="296"/>
                      <a:pt x="51" y="298"/>
                    </a:cubicBezTo>
                    <a:cubicBezTo>
                      <a:pt x="51" y="300"/>
                      <a:pt x="52" y="302"/>
                      <a:pt x="54" y="300"/>
                    </a:cubicBezTo>
                    <a:cubicBezTo>
                      <a:pt x="55" y="299"/>
                      <a:pt x="57" y="303"/>
                      <a:pt x="59" y="304"/>
                    </a:cubicBezTo>
                    <a:cubicBezTo>
                      <a:pt x="61" y="305"/>
                      <a:pt x="65" y="310"/>
                      <a:pt x="65" y="310"/>
                    </a:cubicBezTo>
                    <a:cubicBezTo>
                      <a:pt x="72" y="314"/>
                      <a:pt x="72" y="314"/>
                      <a:pt x="72" y="314"/>
                    </a:cubicBezTo>
                    <a:cubicBezTo>
                      <a:pt x="72" y="315"/>
                      <a:pt x="72" y="315"/>
                      <a:pt x="72" y="315"/>
                    </a:cubicBezTo>
                    <a:cubicBezTo>
                      <a:pt x="72" y="314"/>
                      <a:pt x="73" y="314"/>
                      <a:pt x="73" y="315"/>
                    </a:cubicBezTo>
                    <a:cubicBezTo>
                      <a:pt x="74" y="317"/>
                      <a:pt x="75" y="317"/>
                      <a:pt x="76" y="314"/>
                    </a:cubicBezTo>
                    <a:cubicBezTo>
                      <a:pt x="77" y="311"/>
                      <a:pt x="81" y="310"/>
                      <a:pt x="83" y="312"/>
                    </a:cubicBezTo>
                    <a:cubicBezTo>
                      <a:pt x="85" y="313"/>
                      <a:pt x="83" y="315"/>
                      <a:pt x="86" y="316"/>
                    </a:cubicBezTo>
                    <a:cubicBezTo>
                      <a:pt x="89" y="318"/>
                      <a:pt x="94" y="320"/>
                      <a:pt x="95" y="323"/>
                    </a:cubicBezTo>
                    <a:cubicBezTo>
                      <a:pt x="97" y="325"/>
                      <a:pt x="97" y="327"/>
                      <a:pt x="99" y="326"/>
                    </a:cubicBezTo>
                    <a:cubicBezTo>
                      <a:pt x="101" y="325"/>
                      <a:pt x="104" y="324"/>
                      <a:pt x="104" y="326"/>
                    </a:cubicBezTo>
                    <a:cubicBezTo>
                      <a:pt x="104" y="328"/>
                      <a:pt x="105" y="328"/>
                      <a:pt x="109" y="331"/>
                    </a:cubicBezTo>
                    <a:cubicBezTo>
                      <a:pt x="112" y="334"/>
                      <a:pt x="114" y="327"/>
                      <a:pt x="114" y="332"/>
                    </a:cubicBezTo>
                    <a:cubicBezTo>
                      <a:pt x="113" y="338"/>
                      <a:pt x="116" y="336"/>
                      <a:pt x="117" y="336"/>
                    </a:cubicBezTo>
                    <a:cubicBezTo>
                      <a:pt x="118" y="336"/>
                      <a:pt x="123" y="340"/>
                      <a:pt x="123" y="340"/>
                    </a:cubicBezTo>
                    <a:cubicBezTo>
                      <a:pt x="123" y="340"/>
                      <a:pt x="126" y="340"/>
                      <a:pt x="128" y="340"/>
                    </a:cubicBezTo>
                    <a:cubicBezTo>
                      <a:pt x="129" y="339"/>
                      <a:pt x="127" y="339"/>
                      <a:pt x="131" y="340"/>
                    </a:cubicBezTo>
                    <a:cubicBezTo>
                      <a:pt x="135" y="341"/>
                      <a:pt x="137" y="341"/>
                      <a:pt x="139" y="341"/>
                    </a:cubicBezTo>
                    <a:cubicBezTo>
                      <a:pt x="140" y="341"/>
                      <a:pt x="141" y="341"/>
                      <a:pt x="142" y="341"/>
                    </a:cubicBezTo>
                    <a:cubicBezTo>
                      <a:pt x="143" y="340"/>
                      <a:pt x="144" y="340"/>
                      <a:pt x="144" y="339"/>
                    </a:cubicBezTo>
                    <a:cubicBezTo>
                      <a:pt x="146" y="337"/>
                      <a:pt x="149" y="340"/>
                      <a:pt x="149" y="340"/>
                    </a:cubicBezTo>
                    <a:cubicBezTo>
                      <a:pt x="150" y="345"/>
                      <a:pt x="150" y="345"/>
                      <a:pt x="150" y="345"/>
                    </a:cubicBezTo>
                    <a:cubicBezTo>
                      <a:pt x="151" y="345"/>
                      <a:pt x="151" y="345"/>
                      <a:pt x="151" y="345"/>
                    </a:cubicBezTo>
                    <a:cubicBezTo>
                      <a:pt x="151" y="345"/>
                      <a:pt x="151" y="345"/>
                      <a:pt x="151" y="345"/>
                    </a:cubicBezTo>
                    <a:cubicBezTo>
                      <a:pt x="151" y="344"/>
                      <a:pt x="152" y="343"/>
                      <a:pt x="153" y="342"/>
                    </a:cubicBezTo>
                    <a:cubicBezTo>
                      <a:pt x="156" y="340"/>
                      <a:pt x="160" y="335"/>
                      <a:pt x="162" y="336"/>
                    </a:cubicBezTo>
                    <a:cubicBezTo>
                      <a:pt x="164" y="336"/>
                      <a:pt x="164" y="338"/>
                      <a:pt x="166" y="338"/>
                    </a:cubicBezTo>
                    <a:cubicBezTo>
                      <a:pt x="168" y="338"/>
                      <a:pt x="171" y="340"/>
                      <a:pt x="172" y="339"/>
                    </a:cubicBezTo>
                    <a:cubicBezTo>
                      <a:pt x="173" y="338"/>
                      <a:pt x="177" y="337"/>
                      <a:pt x="177" y="339"/>
                    </a:cubicBezTo>
                    <a:cubicBezTo>
                      <a:pt x="177" y="340"/>
                      <a:pt x="177" y="341"/>
                      <a:pt x="177" y="342"/>
                    </a:cubicBezTo>
                    <a:cubicBezTo>
                      <a:pt x="178" y="342"/>
                      <a:pt x="178" y="342"/>
                      <a:pt x="178" y="341"/>
                    </a:cubicBezTo>
                    <a:cubicBezTo>
                      <a:pt x="180" y="341"/>
                      <a:pt x="182" y="340"/>
                      <a:pt x="187" y="339"/>
                    </a:cubicBezTo>
                    <a:cubicBezTo>
                      <a:pt x="192" y="338"/>
                      <a:pt x="191" y="337"/>
                      <a:pt x="192" y="334"/>
                    </a:cubicBezTo>
                    <a:cubicBezTo>
                      <a:pt x="193" y="332"/>
                      <a:pt x="192" y="333"/>
                      <a:pt x="197" y="331"/>
                    </a:cubicBezTo>
                    <a:cubicBezTo>
                      <a:pt x="202" y="329"/>
                      <a:pt x="202" y="328"/>
                      <a:pt x="205" y="326"/>
                    </a:cubicBezTo>
                    <a:cubicBezTo>
                      <a:pt x="207" y="324"/>
                      <a:pt x="210" y="327"/>
                      <a:pt x="212" y="327"/>
                    </a:cubicBezTo>
                    <a:cubicBezTo>
                      <a:pt x="214" y="327"/>
                      <a:pt x="218" y="325"/>
                      <a:pt x="220" y="324"/>
                    </a:cubicBezTo>
                    <a:cubicBezTo>
                      <a:pt x="223" y="323"/>
                      <a:pt x="224" y="325"/>
                      <a:pt x="222" y="326"/>
                    </a:cubicBezTo>
                    <a:cubicBezTo>
                      <a:pt x="220" y="327"/>
                      <a:pt x="222" y="328"/>
                      <a:pt x="225" y="327"/>
                    </a:cubicBezTo>
                    <a:cubicBezTo>
                      <a:pt x="228" y="326"/>
                      <a:pt x="226" y="331"/>
                      <a:pt x="224" y="332"/>
                    </a:cubicBezTo>
                    <a:cubicBezTo>
                      <a:pt x="222" y="333"/>
                      <a:pt x="224" y="335"/>
                      <a:pt x="227" y="334"/>
                    </a:cubicBezTo>
                    <a:cubicBezTo>
                      <a:pt x="230" y="334"/>
                      <a:pt x="234" y="336"/>
                      <a:pt x="234" y="336"/>
                    </a:cubicBezTo>
                    <a:cubicBezTo>
                      <a:pt x="235" y="334"/>
                      <a:pt x="236" y="333"/>
                      <a:pt x="236" y="333"/>
                    </a:cubicBezTo>
                    <a:cubicBezTo>
                      <a:pt x="236" y="333"/>
                      <a:pt x="242" y="336"/>
                      <a:pt x="242" y="338"/>
                    </a:cubicBezTo>
                    <a:cubicBezTo>
                      <a:pt x="242" y="340"/>
                      <a:pt x="243" y="344"/>
                      <a:pt x="243" y="344"/>
                    </a:cubicBezTo>
                    <a:cubicBezTo>
                      <a:pt x="243" y="344"/>
                      <a:pt x="246" y="342"/>
                      <a:pt x="246" y="344"/>
                    </a:cubicBezTo>
                    <a:cubicBezTo>
                      <a:pt x="246" y="345"/>
                      <a:pt x="247" y="357"/>
                      <a:pt x="247" y="359"/>
                    </a:cubicBezTo>
                    <a:cubicBezTo>
                      <a:pt x="246" y="361"/>
                      <a:pt x="247" y="364"/>
                      <a:pt x="245" y="364"/>
                    </a:cubicBezTo>
                    <a:cubicBezTo>
                      <a:pt x="242" y="365"/>
                      <a:pt x="241" y="367"/>
                      <a:pt x="240" y="368"/>
                    </a:cubicBezTo>
                    <a:cubicBezTo>
                      <a:pt x="239" y="369"/>
                      <a:pt x="237" y="371"/>
                      <a:pt x="237" y="372"/>
                    </a:cubicBezTo>
                    <a:cubicBezTo>
                      <a:pt x="237" y="373"/>
                      <a:pt x="236" y="377"/>
                      <a:pt x="236" y="377"/>
                    </a:cubicBezTo>
                    <a:cubicBezTo>
                      <a:pt x="236" y="377"/>
                      <a:pt x="237" y="382"/>
                      <a:pt x="236" y="382"/>
                    </a:cubicBezTo>
                    <a:cubicBezTo>
                      <a:pt x="235" y="383"/>
                      <a:pt x="238" y="384"/>
                      <a:pt x="240" y="382"/>
                    </a:cubicBezTo>
                    <a:cubicBezTo>
                      <a:pt x="243" y="380"/>
                      <a:pt x="248" y="381"/>
                      <a:pt x="248" y="381"/>
                    </a:cubicBezTo>
                    <a:cubicBezTo>
                      <a:pt x="248" y="381"/>
                      <a:pt x="247" y="384"/>
                      <a:pt x="247" y="385"/>
                    </a:cubicBezTo>
                    <a:cubicBezTo>
                      <a:pt x="247" y="387"/>
                      <a:pt x="248" y="391"/>
                      <a:pt x="249" y="392"/>
                    </a:cubicBezTo>
                    <a:cubicBezTo>
                      <a:pt x="250" y="392"/>
                      <a:pt x="257" y="390"/>
                      <a:pt x="255" y="393"/>
                    </a:cubicBezTo>
                    <a:cubicBezTo>
                      <a:pt x="253" y="396"/>
                      <a:pt x="254" y="397"/>
                      <a:pt x="253" y="398"/>
                    </a:cubicBezTo>
                    <a:cubicBezTo>
                      <a:pt x="252" y="400"/>
                      <a:pt x="251" y="402"/>
                      <a:pt x="251" y="402"/>
                    </a:cubicBezTo>
                    <a:cubicBezTo>
                      <a:pt x="251" y="402"/>
                      <a:pt x="257" y="403"/>
                      <a:pt x="258" y="404"/>
                    </a:cubicBezTo>
                    <a:cubicBezTo>
                      <a:pt x="259" y="405"/>
                      <a:pt x="260" y="406"/>
                      <a:pt x="261" y="408"/>
                    </a:cubicBezTo>
                    <a:cubicBezTo>
                      <a:pt x="261" y="409"/>
                      <a:pt x="263" y="410"/>
                      <a:pt x="264" y="410"/>
                    </a:cubicBezTo>
                    <a:cubicBezTo>
                      <a:pt x="265" y="410"/>
                      <a:pt x="267" y="406"/>
                      <a:pt x="269" y="406"/>
                    </a:cubicBezTo>
                    <a:cubicBezTo>
                      <a:pt x="270" y="407"/>
                      <a:pt x="271" y="407"/>
                      <a:pt x="271" y="409"/>
                    </a:cubicBezTo>
                    <a:cubicBezTo>
                      <a:pt x="271" y="409"/>
                      <a:pt x="271" y="410"/>
                      <a:pt x="270" y="410"/>
                    </a:cubicBezTo>
                    <a:cubicBezTo>
                      <a:pt x="272" y="412"/>
                      <a:pt x="272" y="412"/>
                      <a:pt x="272" y="412"/>
                    </a:cubicBezTo>
                    <a:cubicBezTo>
                      <a:pt x="277" y="413"/>
                      <a:pt x="277" y="413"/>
                      <a:pt x="277" y="413"/>
                    </a:cubicBezTo>
                    <a:cubicBezTo>
                      <a:pt x="277" y="413"/>
                      <a:pt x="277" y="408"/>
                      <a:pt x="276" y="407"/>
                    </a:cubicBezTo>
                    <a:cubicBezTo>
                      <a:pt x="276" y="405"/>
                      <a:pt x="275" y="403"/>
                      <a:pt x="275" y="402"/>
                    </a:cubicBezTo>
                    <a:cubicBezTo>
                      <a:pt x="274" y="401"/>
                      <a:pt x="276" y="399"/>
                      <a:pt x="276" y="399"/>
                    </a:cubicBezTo>
                    <a:cubicBezTo>
                      <a:pt x="280" y="399"/>
                      <a:pt x="280" y="399"/>
                      <a:pt x="280" y="399"/>
                    </a:cubicBezTo>
                    <a:cubicBezTo>
                      <a:pt x="280" y="399"/>
                      <a:pt x="283" y="396"/>
                      <a:pt x="284" y="396"/>
                    </a:cubicBezTo>
                    <a:cubicBezTo>
                      <a:pt x="285" y="397"/>
                      <a:pt x="288" y="400"/>
                      <a:pt x="290" y="399"/>
                    </a:cubicBezTo>
                    <a:cubicBezTo>
                      <a:pt x="291" y="397"/>
                      <a:pt x="292" y="394"/>
                      <a:pt x="293" y="396"/>
                    </a:cubicBezTo>
                    <a:cubicBezTo>
                      <a:pt x="294" y="397"/>
                      <a:pt x="293" y="397"/>
                      <a:pt x="295" y="397"/>
                    </a:cubicBezTo>
                    <a:cubicBezTo>
                      <a:pt x="297" y="397"/>
                      <a:pt x="298" y="399"/>
                      <a:pt x="299" y="398"/>
                    </a:cubicBezTo>
                    <a:cubicBezTo>
                      <a:pt x="300" y="397"/>
                      <a:pt x="301" y="395"/>
                      <a:pt x="301" y="395"/>
                    </a:cubicBezTo>
                    <a:cubicBezTo>
                      <a:pt x="307" y="395"/>
                      <a:pt x="307" y="395"/>
                      <a:pt x="307" y="395"/>
                    </a:cubicBezTo>
                    <a:cubicBezTo>
                      <a:pt x="307" y="395"/>
                      <a:pt x="308" y="391"/>
                      <a:pt x="309" y="391"/>
                    </a:cubicBezTo>
                    <a:cubicBezTo>
                      <a:pt x="311" y="391"/>
                      <a:pt x="313" y="390"/>
                      <a:pt x="313" y="390"/>
                    </a:cubicBezTo>
                    <a:cubicBezTo>
                      <a:pt x="313" y="390"/>
                      <a:pt x="314" y="392"/>
                      <a:pt x="316" y="393"/>
                    </a:cubicBezTo>
                    <a:cubicBezTo>
                      <a:pt x="318" y="394"/>
                      <a:pt x="321" y="395"/>
                      <a:pt x="323" y="395"/>
                    </a:cubicBezTo>
                    <a:cubicBezTo>
                      <a:pt x="325" y="395"/>
                      <a:pt x="327" y="396"/>
                      <a:pt x="326" y="397"/>
                    </a:cubicBezTo>
                    <a:cubicBezTo>
                      <a:pt x="325" y="398"/>
                      <a:pt x="325" y="399"/>
                      <a:pt x="325" y="402"/>
                    </a:cubicBezTo>
                    <a:cubicBezTo>
                      <a:pt x="325" y="405"/>
                      <a:pt x="325" y="405"/>
                      <a:pt x="328" y="407"/>
                    </a:cubicBezTo>
                    <a:cubicBezTo>
                      <a:pt x="331" y="409"/>
                      <a:pt x="333" y="407"/>
                      <a:pt x="334" y="407"/>
                    </a:cubicBezTo>
                    <a:cubicBezTo>
                      <a:pt x="335" y="408"/>
                      <a:pt x="336" y="409"/>
                      <a:pt x="337" y="409"/>
                    </a:cubicBezTo>
                    <a:cubicBezTo>
                      <a:pt x="337" y="409"/>
                      <a:pt x="337" y="409"/>
                      <a:pt x="337" y="409"/>
                    </a:cubicBezTo>
                    <a:cubicBezTo>
                      <a:pt x="337" y="409"/>
                      <a:pt x="343" y="408"/>
                      <a:pt x="344" y="408"/>
                    </a:cubicBezTo>
                    <a:cubicBezTo>
                      <a:pt x="346" y="408"/>
                      <a:pt x="350" y="408"/>
                      <a:pt x="350" y="409"/>
                    </a:cubicBezTo>
                    <a:cubicBezTo>
                      <a:pt x="349" y="411"/>
                      <a:pt x="356" y="410"/>
                      <a:pt x="356" y="410"/>
                    </a:cubicBezTo>
                    <a:cubicBezTo>
                      <a:pt x="356" y="410"/>
                      <a:pt x="354" y="414"/>
                      <a:pt x="355" y="416"/>
                    </a:cubicBezTo>
                    <a:cubicBezTo>
                      <a:pt x="356" y="418"/>
                      <a:pt x="357" y="420"/>
                      <a:pt x="359" y="419"/>
                    </a:cubicBezTo>
                    <a:cubicBezTo>
                      <a:pt x="361" y="419"/>
                      <a:pt x="362" y="415"/>
                      <a:pt x="363" y="413"/>
                    </a:cubicBezTo>
                    <a:cubicBezTo>
                      <a:pt x="364" y="412"/>
                      <a:pt x="369" y="411"/>
                      <a:pt x="372" y="410"/>
                    </a:cubicBezTo>
                    <a:cubicBezTo>
                      <a:pt x="375" y="410"/>
                      <a:pt x="379" y="407"/>
                      <a:pt x="383" y="406"/>
                    </a:cubicBezTo>
                    <a:cubicBezTo>
                      <a:pt x="387" y="406"/>
                      <a:pt x="392" y="403"/>
                      <a:pt x="392" y="403"/>
                    </a:cubicBezTo>
                    <a:cubicBezTo>
                      <a:pt x="393" y="396"/>
                      <a:pt x="393" y="396"/>
                      <a:pt x="393" y="396"/>
                    </a:cubicBezTo>
                    <a:cubicBezTo>
                      <a:pt x="393" y="396"/>
                      <a:pt x="396" y="400"/>
                      <a:pt x="397" y="400"/>
                    </a:cubicBezTo>
                    <a:cubicBezTo>
                      <a:pt x="398" y="401"/>
                      <a:pt x="401" y="398"/>
                      <a:pt x="402" y="398"/>
                    </a:cubicBezTo>
                    <a:cubicBezTo>
                      <a:pt x="404" y="399"/>
                      <a:pt x="405" y="397"/>
                      <a:pt x="407" y="396"/>
                    </a:cubicBezTo>
                    <a:cubicBezTo>
                      <a:pt x="409" y="396"/>
                      <a:pt x="412" y="397"/>
                      <a:pt x="414" y="397"/>
                    </a:cubicBezTo>
                    <a:cubicBezTo>
                      <a:pt x="417" y="396"/>
                      <a:pt x="421" y="394"/>
                      <a:pt x="422" y="393"/>
                    </a:cubicBezTo>
                    <a:cubicBezTo>
                      <a:pt x="423" y="392"/>
                      <a:pt x="426" y="389"/>
                      <a:pt x="428" y="388"/>
                    </a:cubicBezTo>
                    <a:cubicBezTo>
                      <a:pt x="430" y="387"/>
                      <a:pt x="436" y="381"/>
                      <a:pt x="438" y="380"/>
                    </a:cubicBezTo>
                    <a:cubicBezTo>
                      <a:pt x="439" y="379"/>
                      <a:pt x="441" y="378"/>
                      <a:pt x="444" y="375"/>
                    </a:cubicBezTo>
                    <a:cubicBezTo>
                      <a:pt x="446" y="372"/>
                      <a:pt x="450" y="369"/>
                      <a:pt x="450" y="369"/>
                    </a:cubicBezTo>
                    <a:cubicBezTo>
                      <a:pt x="450" y="369"/>
                      <a:pt x="455" y="368"/>
                      <a:pt x="453" y="364"/>
                    </a:cubicBezTo>
                    <a:cubicBezTo>
                      <a:pt x="451" y="360"/>
                      <a:pt x="453" y="357"/>
                      <a:pt x="454" y="356"/>
                    </a:cubicBezTo>
                    <a:cubicBezTo>
                      <a:pt x="455" y="355"/>
                      <a:pt x="459" y="347"/>
                      <a:pt x="461" y="346"/>
                    </a:cubicBezTo>
                    <a:cubicBezTo>
                      <a:pt x="463" y="344"/>
                      <a:pt x="467" y="337"/>
                      <a:pt x="467" y="337"/>
                    </a:cubicBezTo>
                    <a:cubicBezTo>
                      <a:pt x="467" y="337"/>
                      <a:pt x="472" y="337"/>
                      <a:pt x="472" y="335"/>
                    </a:cubicBezTo>
                    <a:cubicBezTo>
                      <a:pt x="472" y="334"/>
                      <a:pt x="471" y="331"/>
                      <a:pt x="472" y="330"/>
                    </a:cubicBezTo>
                    <a:cubicBezTo>
                      <a:pt x="473" y="328"/>
                      <a:pt x="470" y="325"/>
                      <a:pt x="472" y="326"/>
                    </a:cubicBezTo>
                    <a:cubicBezTo>
                      <a:pt x="473" y="326"/>
                      <a:pt x="475" y="330"/>
                      <a:pt x="475" y="327"/>
                    </a:cubicBezTo>
                    <a:cubicBezTo>
                      <a:pt x="475" y="324"/>
                      <a:pt x="476" y="319"/>
                      <a:pt x="475" y="319"/>
                    </a:cubicBezTo>
                    <a:cubicBezTo>
                      <a:pt x="474" y="319"/>
                      <a:pt x="475" y="316"/>
                      <a:pt x="475" y="316"/>
                    </a:cubicBezTo>
                    <a:cubicBezTo>
                      <a:pt x="468" y="314"/>
                      <a:pt x="468" y="314"/>
                      <a:pt x="468" y="314"/>
                    </a:cubicBezTo>
                    <a:cubicBezTo>
                      <a:pt x="462" y="313"/>
                      <a:pt x="462" y="313"/>
                      <a:pt x="462" y="313"/>
                    </a:cubicBezTo>
                    <a:cubicBezTo>
                      <a:pt x="462" y="313"/>
                      <a:pt x="470" y="313"/>
                      <a:pt x="467" y="311"/>
                    </a:cubicBezTo>
                    <a:cubicBezTo>
                      <a:pt x="465" y="308"/>
                      <a:pt x="469" y="308"/>
                      <a:pt x="470" y="308"/>
                    </a:cubicBezTo>
                    <a:cubicBezTo>
                      <a:pt x="471" y="308"/>
                      <a:pt x="474" y="307"/>
                      <a:pt x="474" y="306"/>
                    </a:cubicBezTo>
                    <a:cubicBezTo>
                      <a:pt x="474" y="305"/>
                      <a:pt x="471" y="298"/>
                      <a:pt x="471" y="298"/>
                    </a:cubicBezTo>
                    <a:cubicBezTo>
                      <a:pt x="471" y="298"/>
                      <a:pt x="474" y="296"/>
                      <a:pt x="475" y="295"/>
                    </a:cubicBezTo>
                    <a:cubicBezTo>
                      <a:pt x="476" y="294"/>
                      <a:pt x="471" y="291"/>
                      <a:pt x="470" y="290"/>
                    </a:cubicBezTo>
                    <a:cubicBezTo>
                      <a:pt x="469" y="290"/>
                      <a:pt x="464" y="286"/>
                      <a:pt x="464" y="286"/>
                    </a:cubicBezTo>
                    <a:cubicBezTo>
                      <a:pt x="459" y="268"/>
                      <a:pt x="459" y="268"/>
                      <a:pt x="459" y="268"/>
                    </a:cubicBezTo>
                    <a:cubicBezTo>
                      <a:pt x="459" y="268"/>
                      <a:pt x="451" y="264"/>
                      <a:pt x="449" y="262"/>
                    </a:cubicBezTo>
                    <a:cubicBezTo>
                      <a:pt x="447" y="260"/>
                      <a:pt x="449" y="255"/>
                      <a:pt x="451" y="254"/>
                    </a:cubicBezTo>
                    <a:cubicBezTo>
                      <a:pt x="453" y="253"/>
                      <a:pt x="456" y="248"/>
                      <a:pt x="457" y="247"/>
                    </a:cubicBezTo>
                    <a:cubicBezTo>
                      <a:pt x="459" y="246"/>
                      <a:pt x="462" y="246"/>
                      <a:pt x="463" y="245"/>
                    </a:cubicBezTo>
                    <a:cubicBezTo>
                      <a:pt x="464" y="244"/>
                      <a:pt x="464" y="240"/>
                      <a:pt x="468" y="238"/>
                    </a:cubicBezTo>
                    <a:cubicBezTo>
                      <a:pt x="471" y="237"/>
                      <a:pt x="475" y="235"/>
                      <a:pt x="476" y="235"/>
                    </a:cubicBezTo>
                    <a:cubicBezTo>
                      <a:pt x="477" y="235"/>
                      <a:pt x="480" y="236"/>
                      <a:pt x="481" y="234"/>
                    </a:cubicBezTo>
                    <a:cubicBezTo>
                      <a:pt x="482" y="232"/>
                      <a:pt x="481" y="229"/>
                      <a:pt x="481" y="229"/>
                    </a:cubicBezTo>
                    <a:cubicBezTo>
                      <a:pt x="481" y="229"/>
                      <a:pt x="475" y="228"/>
                      <a:pt x="472" y="228"/>
                    </a:cubicBezTo>
                    <a:cubicBezTo>
                      <a:pt x="470" y="228"/>
                      <a:pt x="464" y="225"/>
                      <a:pt x="464" y="225"/>
                    </a:cubicBezTo>
                    <a:cubicBezTo>
                      <a:pt x="464" y="225"/>
                      <a:pt x="460" y="226"/>
                      <a:pt x="458" y="227"/>
                    </a:cubicBezTo>
                    <a:cubicBezTo>
                      <a:pt x="457" y="229"/>
                      <a:pt x="452" y="233"/>
                      <a:pt x="450" y="231"/>
                    </a:cubicBezTo>
                    <a:cubicBezTo>
                      <a:pt x="448" y="230"/>
                      <a:pt x="445" y="226"/>
                      <a:pt x="445" y="226"/>
                    </a:cubicBezTo>
                    <a:cubicBezTo>
                      <a:pt x="445" y="226"/>
                      <a:pt x="446" y="219"/>
                      <a:pt x="443" y="219"/>
                    </a:cubicBezTo>
                    <a:cubicBezTo>
                      <a:pt x="441" y="220"/>
                      <a:pt x="437" y="218"/>
                      <a:pt x="436" y="218"/>
                    </a:cubicBezTo>
                    <a:cubicBezTo>
                      <a:pt x="434" y="217"/>
                      <a:pt x="433" y="214"/>
                      <a:pt x="433" y="214"/>
                    </a:cubicBezTo>
                    <a:cubicBezTo>
                      <a:pt x="433" y="214"/>
                      <a:pt x="434" y="208"/>
                      <a:pt x="435" y="207"/>
                    </a:cubicBezTo>
                    <a:cubicBezTo>
                      <a:pt x="436" y="206"/>
                      <a:pt x="439" y="209"/>
                      <a:pt x="439" y="209"/>
                    </a:cubicBezTo>
                    <a:cubicBezTo>
                      <a:pt x="439" y="209"/>
                      <a:pt x="442" y="208"/>
                      <a:pt x="445" y="207"/>
                    </a:cubicBezTo>
                    <a:cubicBezTo>
                      <a:pt x="447" y="206"/>
                      <a:pt x="447" y="202"/>
                      <a:pt x="449" y="200"/>
                    </a:cubicBezTo>
                    <a:cubicBezTo>
                      <a:pt x="451" y="198"/>
                      <a:pt x="456" y="196"/>
                      <a:pt x="458" y="194"/>
                    </a:cubicBezTo>
                    <a:cubicBezTo>
                      <a:pt x="460" y="193"/>
                      <a:pt x="460" y="192"/>
                      <a:pt x="463" y="190"/>
                    </a:cubicBezTo>
                    <a:cubicBezTo>
                      <a:pt x="466" y="187"/>
                      <a:pt x="472" y="186"/>
                      <a:pt x="472" y="186"/>
                    </a:cubicBezTo>
                    <a:cubicBezTo>
                      <a:pt x="472" y="186"/>
                      <a:pt x="478" y="187"/>
                      <a:pt x="478" y="189"/>
                    </a:cubicBezTo>
                    <a:cubicBezTo>
                      <a:pt x="477" y="190"/>
                      <a:pt x="476" y="194"/>
                      <a:pt x="474" y="195"/>
                    </a:cubicBezTo>
                    <a:cubicBezTo>
                      <a:pt x="472" y="197"/>
                      <a:pt x="471" y="201"/>
                      <a:pt x="469" y="202"/>
                    </a:cubicBezTo>
                    <a:cubicBezTo>
                      <a:pt x="467" y="202"/>
                      <a:pt x="470" y="205"/>
                      <a:pt x="471" y="204"/>
                    </a:cubicBezTo>
                    <a:cubicBezTo>
                      <a:pt x="472" y="204"/>
                      <a:pt x="471" y="208"/>
                      <a:pt x="471" y="208"/>
                    </a:cubicBezTo>
                    <a:cubicBezTo>
                      <a:pt x="471" y="208"/>
                      <a:pt x="466" y="209"/>
                      <a:pt x="466" y="210"/>
                    </a:cubicBezTo>
                    <a:cubicBezTo>
                      <a:pt x="466" y="211"/>
                      <a:pt x="467" y="212"/>
                      <a:pt x="469" y="212"/>
                    </a:cubicBezTo>
                    <a:cubicBezTo>
                      <a:pt x="472" y="212"/>
                      <a:pt x="472" y="210"/>
                      <a:pt x="475" y="209"/>
                    </a:cubicBezTo>
                    <a:cubicBezTo>
                      <a:pt x="478" y="208"/>
                      <a:pt x="485" y="202"/>
                      <a:pt x="485" y="202"/>
                    </a:cubicBezTo>
                    <a:cubicBezTo>
                      <a:pt x="485" y="202"/>
                      <a:pt x="493" y="198"/>
                      <a:pt x="498" y="198"/>
                    </a:cubicBezTo>
                    <a:cubicBezTo>
                      <a:pt x="498" y="198"/>
                      <a:pt x="502" y="192"/>
                      <a:pt x="505" y="190"/>
                    </a:cubicBezTo>
                    <a:cubicBezTo>
                      <a:pt x="508" y="188"/>
                      <a:pt x="513" y="185"/>
                      <a:pt x="516" y="182"/>
                    </a:cubicBezTo>
                    <a:cubicBezTo>
                      <a:pt x="519" y="178"/>
                      <a:pt x="520" y="174"/>
                      <a:pt x="521" y="173"/>
                    </a:cubicBezTo>
                    <a:cubicBezTo>
                      <a:pt x="522" y="172"/>
                      <a:pt x="526" y="176"/>
                      <a:pt x="528" y="177"/>
                    </a:cubicBezTo>
                    <a:cubicBezTo>
                      <a:pt x="530" y="178"/>
                      <a:pt x="535" y="179"/>
                      <a:pt x="536" y="179"/>
                    </a:cubicBezTo>
                    <a:cubicBezTo>
                      <a:pt x="537" y="178"/>
                      <a:pt x="536" y="176"/>
                      <a:pt x="535" y="174"/>
                    </a:cubicBezTo>
                    <a:cubicBezTo>
                      <a:pt x="534" y="172"/>
                      <a:pt x="538" y="171"/>
                      <a:pt x="538" y="171"/>
                    </a:cubicBezTo>
                    <a:cubicBezTo>
                      <a:pt x="538" y="171"/>
                      <a:pt x="545" y="169"/>
                      <a:pt x="546" y="167"/>
                    </a:cubicBezTo>
                    <a:cubicBezTo>
                      <a:pt x="546" y="164"/>
                      <a:pt x="550" y="165"/>
                      <a:pt x="550" y="165"/>
                    </a:cubicBezTo>
                    <a:cubicBezTo>
                      <a:pt x="552" y="159"/>
                      <a:pt x="552" y="159"/>
                      <a:pt x="552" y="159"/>
                    </a:cubicBezTo>
                    <a:cubicBezTo>
                      <a:pt x="552" y="159"/>
                      <a:pt x="555" y="157"/>
                      <a:pt x="556" y="159"/>
                    </a:cubicBezTo>
                    <a:cubicBezTo>
                      <a:pt x="557" y="161"/>
                      <a:pt x="559" y="160"/>
                      <a:pt x="559" y="160"/>
                    </a:cubicBezTo>
                    <a:cubicBezTo>
                      <a:pt x="559" y="160"/>
                      <a:pt x="561" y="160"/>
                      <a:pt x="563" y="158"/>
                    </a:cubicBezTo>
                    <a:cubicBezTo>
                      <a:pt x="565" y="156"/>
                      <a:pt x="566" y="151"/>
                      <a:pt x="566" y="145"/>
                    </a:cubicBezTo>
                    <a:cubicBezTo>
                      <a:pt x="566" y="139"/>
                      <a:pt x="564" y="131"/>
                      <a:pt x="564" y="131"/>
                    </a:cubicBezTo>
                    <a:cubicBezTo>
                      <a:pt x="564" y="131"/>
                      <a:pt x="568" y="129"/>
                      <a:pt x="569" y="128"/>
                    </a:cubicBezTo>
                    <a:cubicBezTo>
                      <a:pt x="571" y="127"/>
                      <a:pt x="573" y="126"/>
                      <a:pt x="573" y="126"/>
                    </a:cubicBezTo>
                    <a:cubicBezTo>
                      <a:pt x="573" y="126"/>
                      <a:pt x="580" y="121"/>
                      <a:pt x="581" y="127"/>
                    </a:cubicBezTo>
                    <a:cubicBezTo>
                      <a:pt x="581" y="128"/>
                      <a:pt x="581" y="128"/>
                      <a:pt x="581" y="128"/>
                    </a:cubicBezTo>
                    <a:cubicBezTo>
                      <a:pt x="582" y="128"/>
                      <a:pt x="583" y="128"/>
                      <a:pt x="584" y="128"/>
                    </a:cubicBezTo>
                    <a:cubicBezTo>
                      <a:pt x="586" y="127"/>
                      <a:pt x="584" y="122"/>
                      <a:pt x="586" y="121"/>
                    </a:cubicBezTo>
                    <a:cubicBezTo>
                      <a:pt x="587" y="121"/>
                      <a:pt x="587" y="118"/>
                      <a:pt x="588" y="116"/>
                    </a:cubicBezTo>
                    <a:cubicBezTo>
                      <a:pt x="590" y="115"/>
                      <a:pt x="590" y="117"/>
                      <a:pt x="591" y="112"/>
                    </a:cubicBezTo>
                    <a:cubicBezTo>
                      <a:pt x="593" y="106"/>
                      <a:pt x="593" y="108"/>
                      <a:pt x="594" y="106"/>
                    </a:cubicBezTo>
                    <a:cubicBezTo>
                      <a:pt x="595" y="104"/>
                      <a:pt x="594" y="98"/>
                      <a:pt x="595" y="97"/>
                    </a:cubicBezTo>
                    <a:cubicBezTo>
                      <a:pt x="596" y="96"/>
                      <a:pt x="598" y="96"/>
                      <a:pt x="600" y="94"/>
                    </a:cubicBezTo>
                    <a:cubicBezTo>
                      <a:pt x="602" y="92"/>
                      <a:pt x="598" y="92"/>
                      <a:pt x="599" y="89"/>
                    </a:cubicBezTo>
                    <a:close/>
                    <a:moveTo>
                      <a:pt x="11" y="230"/>
                    </a:moveTo>
                    <a:cubicBezTo>
                      <a:pt x="11" y="230"/>
                      <a:pt x="12" y="230"/>
                      <a:pt x="12" y="230"/>
                    </a:cubicBezTo>
                    <a:cubicBezTo>
                      <a:pt x="12" y="230"/>
                      <a:pt x="12" y="230"/>
                      <a:pt x="12" y="230"/>
                    </a:cubicBezTo>
                    <a:cubicBezTo>
                      <a:pt x="12" y="230"/>
                      <a:pt x="11" y="230"/>
                      <a:pt x="11" y="230"/>
                    </a:cubicBezTo>
                    <a:close/>
                    <a:moveTo>
                      <a:pt x="360" y="425"/>
                    </a:moveTo>
                    <a:cubicBezTo>
                      <a:pt x="357" y="427"/>
                      <a:pt x="359" y="427"/>
                      <a:pt x="354" y="427"/>
                    </a:cubicBezTo>
                    <a:cubicBezTo>
                      <a:pt x="349" y="427"/>
                      <a:pt x="350" y="429"/>
                      <a:pt x="347" y="430"/>
                    </a:cubicBezTo>
                    <a:cubicBezTo>
                      <a:pt x="344" y="432"/>
                      <a:pt x="344" y="436"/>
                      <a:pt x="344" y="438"/>
                    </a:cubicBezTo>
                    <a:cubicBezTo>
                      <a:pt x="344" y="441"/>
                      <a:pt x="349" y="443"/>
                      <a:pt x="351" y="444"/>
                    </a:cubicBezTo>
                    <a:cubicBezTo>
                      <a:pt x="352" y="444"/>
                      <a:pt x="355" y="443"/>
                      <a:pt x="356" y="442"/>
                    </a:cubicBezTo>
                    <a:cubicBezTo>
                      <a:pt x="358" y="440"/>
                      <a:pt x="362" y="440"/>
                      <a:pt x="362" y="438"/>
                    </a:cubicBezTo>
                    <a:cubicBezTo>
                      <a:pt x="363" y="437"/>
                      <a:pt x="364" y="430"/>
                      <a:pt x="366" y="429"/>
                    </a:cubicBezTo>
                    <a:cubicBezTo>
                      <a:pt x="369" y="428"/>
                      <a:pt x="367" y="427"/>
                      <a:pt x="366" y="425"/>
                    </a:cubicBezTo>
                    <a:cubicBezTo>
                      <a:pt x="364" y="423"/>
                      <a:pt x="363" y="424"/>
                      <a:pt x="360" y="425"/>
                    </a:cubicBezTo>
                    <a:close/>
                  </a:path>
                </a:pathLst>
              </a:custGeom>
              <a:solidFill>
                <a:srgbClr val="FF6201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09" name="Freeform 84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6684297" y="3579813"/>
                <a:ext cx="120200" cy="515937"/>
              </a:xfrm>
              <a:custGeom>
                <a:avLst/>
                <a:gdLst>
                  <a:gd name="T0" fmla="*/ 2147483647 w 30"/>
                  <a:gd name="T1" fmla="*/ 2147483647 h 132"/>
                  <a:gd name="T2" fmla="*/ 2147483647 w 30"/>
                  <a:gd name="T3" fmla="*/ 2147483647 h 132"/>
                  <a:gd name="T4" fmla="*/ 2147483647 w 30"/>
                  <a:gd name="T5" fmla="*/ 2147483647 h 132"/>
                  <a:gd name="T6" fmla="*/ 2147483647 w 30"/>
                  <a:gd name="T7" fmla="*/ 2147483647 h 132"/>
                  <a:gd name="T8" fmla="*/ 2147483647 w 30"/>
                  <a:gd name="T9" fmla="*/ 2147483647 h 132"/>
                  <a:gd name="T10" fmla="*/ 2147483647 w 30"/>
                  <a:gd name="T11" fmla="*/ 2147483647 h 132"/>
                  <a:gd name="T12" fmla="*/ 2147483647 w 30"/>
                  <a:gd name="T13" fmla="*/ 2147483647 h 132"/>
                  <a:gd name="T14" fmla="*/ 2147483647 w 30"/>
                  <a:gd name="T15" fmla="*/ 2147483647 h 132"/>
                  <a:gd name="T16" fmla="*/ 2147483647 w 30"/>
                  <a:gd name="T17" fmla="*/ 2147483647 h 132"/>
                  <a:gd name="T18" fmla="*/ 2147483647 w 30"/>
                  <a:gd name="T19" fmla="*/ 2147483647 h 132"/>
                  <a:gd name="T20" fmla="*/ 2147483647 w 30"/>
                  <a:gd name="T21" fmla="*/ 2147483647 h 132"/>
                  <a:gd name="T22" fmla="*/ 2147483647 w 30"/>
                  <a:gd name="T23" fmla="*/ 2147483647 h 132"/>
                  <a:gd name="T24" fmla="*/ 2147483647 w 30"/>
                  <a:gd name="T25" fmla="*/ 2147483647 h 132"/>
                  <a:gd name="T26" fmla="*/ 2147483647 w 30"/>
                  <a:gd name="T27" fmla="*/ 2147483647 h 132"/>
                  <a:gd name="T28" fmla="*/ 2147483647 w 30"/>
                  <a:gd name="T29" fmla="*/ 2147483647 h 132"/>
                  <a:gd name="T30" fmla="*/ 2147483647 w 30"/>
                  <a:gd name="T31" fmla="*/ 2147483647 h 132"/>
                  <a:gd name="T32" fmla="*/ 2147483647 w 30"/>
                  <a:gd name="T33" fmla="*/ 2147483647 h 132"/>
                  <a:gd name="T34" fmla="*/ 2147483647 w 30"/>
                  <a:gd name="T35" fmla="*/ 2147483647 h 132"/>
                  <a:gd name="T36" fmla="*/ 2147483647 w 30"/>
                  <a:gd name="T37" fmla="*/ 2147483647 h 132"/>
                  <a:gd name="T38" fmla="*/ 2147483647 w 30"/>
                  <a:gd name="T39" fmla="*/ 2147483647 h 132"/>
                  <a:gd name="T40" fmla="*/ 2147483647 w 30"/>
                  <a:gd name="T41" fmla="*/ 2147483647 h 132"/>
                  <a:gd name="T42" fmla="*/ 2147483647 w 30"/>
                  <a:gd name="T43" fmla="*/ 2147483647 h 132"/>
                  <a:gd name="T44" fmla="*/ 2147483647 w 30"/>
                  <a:gd name="T45" fmla="*/ 2147483647 h 132"/>
                  <a:gd name="T46" fmla="*/ 2147483647 w 30"/>
                  <a:gd name="T47" fmla="*/ 2147483647 h 13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0"/>
                  <a:gd name="T73" fmla="*/ 0 h 132"/>
                  <a:gd name="T74" fmla="*/ 30 w 30"/>
                  <a:gd name="T75" fmla="*/ 132 h 13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0" h="132">
                    <a:moveTo>
                      <a:pt x="3" y="22"/>
                    </a:moveTo>
                    <a:cubicBezTo>
                      <a:pt x="3" y="21"/>
                      <a:pt x="3" y="17"/>
                      <a:pt x="6" y="17"/>
                    </a:cubicBezTo>
                    <a:cubicBezTo>
                      <a:pt x="10" y="16"/>
                      <a:pt x="11" y="7"/>
                      <a:pt x="11" y="7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10" y="0"/>
                      <a:pt x="13" y="4"/>
                    </a:cubicBezTo>
                    <a:cubicBezTo>
                      <a:pt x="15" y="9"/>
                      <a:pt x="15" y="9"/>
                      <a:pt x="16" y="13"/>
                    </a:cubicBezTo>
                    <a:cubicBezTo>
                      <a:pt x="16" y="18"/>
                      <a:pt x="19" y="24"/>
                      <a:pt x="17" y="32"/>
                    </a:cubicBezTo>
                    <a:cubicBezTo>
                      <a:pt x="16" y="40"/>
                      <a:pt x="17" y="42"/>
                      <a:pt x="19" y="50"/>
                    </a:cubicBezTo>
                    <a:cubicBezTo>
                      <a:pt x="22" y="58"/>
                      <a:pt x="28" y="82"/>
                      <a:pt x="29" y="85"/>
                    </a:cubicBezTo>
                    <a:cubicBezTo>
                      <a:pt x="30" y="89"/>
                      <a:pt x="23" y="75"/>
                      <a:pt x="17" y="84"/>
                    </a:cubicBezTo>
                    <a:cubicBezTo>
                      <a:pt x="11" y="93"/>
                      <a:pt x="9" y="104"/>
                      <a:pt x="10" y="106"/>
                    </a:cubicBezTo>
                    <a:cubicBezTo>
                      <a:pt x="11" y="107"/>
                      <a:pt x="14" y="109"/>
                      <a:pt x="14" y="112"/>
                    </a:cubicBezTo>
                    <a:cubicBezTo>
                      <a:pt x="15" y="115"/>
                      <a:pt x="19" y="121"/>
                      <a:pt x="19" y="121"/>
                    </a:cubicBezTo>
                    <a:cubicBezTo>
                      <a:pt x="18" y="129"/>
                      <a:pt x="18" y="129"/>
                      <a:pt x="18" y="129"/>
                    </a:cubicBezTo>
                    <a:cubicBezTo>
                      <a:pt x="18" y="129"/>
                      <a:pt x="17" y="120"/>
                      <a:pt x="12" y="120"/>
                    </a:cubicBezTo>
                    <a:cubicBezTo>
                      <a:pt x="8" y="120"/>
                      <a:pt x="5" y="132"/>
                      <a:pt x="5" y="132"/>
                    </a:cubicBezTo>
                    <a:cubicBezTo>
                      <a:pt x="5" y="132"/>
                      <a:pt x="2" y="122"/>
                      <a:pt x="3" y="120"/>
                    </a:cubicBezTo>
                    <a:cubicBezTo>
                      <a:pt x="3" y="119"/>
                      <a:pt x="6" y="114"/>
                      <a:pt x="5" y="111"/>
                    </a:cubicBezTo>
                    <a:cubicBezTo>
                      <a:pt x="3" y="108"/>
                      <a:pt x="5" y="103"/>
                      <a:pt x="5" y="100"/>
                    </a:cubicBezTo>
                    <a:cubicBezTo>
                      <a:pt x="5" y="96"/>
                      <a:pt x="1" y="95"/>
                      <a:pt x="4" y="85"/>
                    </a:cubicBezTo>
                    <a:cubicBezTo>
                      <a:pt x="7" y="76"/>
                      <a:pt x="5" y="69"/>
                      <a:pt x="5" y="63"/>
                    </a:cubicBezTo>
                    <a:cubicBezTo>
                      <a:pt x="5" y="57"/>
                      <a:pt x="9" y="54"/>
                      <a:pt x="7" y="51"/>
                    </a:cubicBezTo>
                    <a:cubicBezTo>
                      <a:pt x="5" y="48"/>
                      <a:pt x="0" y="42"/>
                      <a:pt x="2" y="35"/>
                    </a:cubicBezTo>
                    <a:cubicBezTo>
                      <a:pt x="3" y="29"/>
                      <a:pt x="3" y="22"/>
                      <a:pt x="3" y="22"/>
                    </a:cubicBezTo>
                    <a:close/>
                  </a:path>
                </a:pathLst>
              </a:custGeom>
              <a:solidFill>
                <a:schemeClr val="accent4">
                  <a:lumMod val="25000"/>
                  <a:lumOff val="7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0" name="Freeform 85"/>
              <p:cNvSpPr>
                <a:spLocks noEditPoints="1"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6203497" y="4113213"/>
                <a:ext cx="659634" cy="754062"/>
              </a:xfrm>
              <a:custGeom>
                <a:avLst/>
                <a:gdLst>
                  <a:gd name="T0" fmla="*/ 2147483647 w 167"/>
                  <a:gd name="T1" fmla="*/ 2147483647 h 193"/>
                  <a:gd name="T2" fmla="*/ 2147483647 w 167"/>
                  <a:gd name="T3" fmla="*/ 2147483647 h 193"/>
                  <a:gd name="T4" fmla="*/ 2147483647 w 167"/>
                  <a:gd name="T5" fmla="*/ 2147483647 h 193"/>
                  <a:gd name="T6" fmla="*/ 2147483647 w 167"/>
                  <a:gd name="T7" fmla="*/ 2147483647 h 193"/>
                  <a:gd name="T8" fmla="*/ 2147483647 w 167"/>
                  <a:gd name="T9" fmla="*/ 2147483647 h 193"/>
                  <a:gd name="T10" fmla="*/ 2147483647 w 167"/>
                  <a:gd name="T11" fmla="*/ 2147483647 h 193"/>
                  <a:gd name="T12" fmla="*/ 2147483647 w 167"/>
                  <a:gd name="T13" fmla="*/ 2147483647 h 193"/>
                  <a:gd name="T14" fmla="*/ 2147483647 w 167"/>
                  <a:gd name="T15" fmla="*/ 2147483647 h 193"/>
                  <a:gd name="T16" fmla="*/ 2147483647 w 167"/>
                  <a:gd name="T17" fmla="*/ 2147483647 h 193"/>
                  <a:gd name="T18" fmla="*/ 2147483647 w 167"/>
                  <a:gd name="T19" fmla="*/ 2147483647 h 193"/>
                  <a:gd name="T20" fmla="*/ 2147483647 w 167"/>
                  <a:gd name="T21" fmla="*/ 2147483647 h 193"/>
                  <a:gd name="T22" fmla="*/ 2147483647 w 167"/>
                  <a:gd name="T23" fmla="*/ 2147483647 h 193"/>
                  <a:gd name="T24" fmla="*/ 2147483647 w 167"/>
                  <a:gd name="T25" fmla="*/ 2147483647 h 193"/>
                  <a:gd name="T26" fmla="*/ 2147483647 w 167"/>
                  <a:gd name="T27" fmla="*/ 2147483647 h 193"/>
                  <a:gd name="T28" fmla="*/ 2147483647 w 167"/>
                  <a:gd name="T29" fmla="*/ 2147483647 h 193"/>
                  <a:gd name="T30" fmla="*/ 2147483647 w 167"/>
                  <a:gd name="T31" fmla="*/ 2147483647 h 193"/>
                  <a:gd name="T32" fmla="*/ 2147483647 w 167"/>
                  <a:gd name="T33" fmla="*/ 2147483647 h 193"/>
                  <a:gd name="T34" fmla="*/ 2147483647 w 167"/>
                  <a:gd name="T35" fmla="*/ 2147483647 h 193"/>
                  <a:gd name="T36" fmla="*/ 2147483647 w 167"/>
                  <a:gd name="T37" fmla="*/ 2147483647 h 193"/>
                  <a:gd name="T38" fmla="*/ 2147483647 w 167"/>
                  <a:gd name="T39" fmla="*/ 2147483647 h 193"/>
                  <a:gd name="T40" fmla="*/ 2147483647 w 167"/>
                  <a:gd name="T41" fmla="*/ 2147483647 h 193"/>
                  <a:gd name="T42" fmla="*/ 2147483647 w 167"/>
                  <a:gd name="T43" fmla="*/ 2147483647 h 193"/>
                  <a:gd name="T44" fmla="*/ 2147483647 w 167"/>
                  <a:gd name="T45" fmla="*/ 2147483647 h 193"/>
                  <a:gd name="T46" fmla="*/ 2147483647 w 167"/>
                  <a:gd name="T47" fmla="*/ 2147483647 h 193"/>
                  <a:gd name="T48" fmla="*/ 2147483647 w 167"/>
                  <a:gd name="T49" fmla="*/ 2147483647 h 193"/>
                  <a:gd name="T50" fmla="*/ 2147483647 w 167"/>
                  <a:gd name="T51" fmla="*/ 2147483647 h 193"/>
                  <a:gd name="T52" fmla="*/ 2147483647 w 167"/>
                  <a:gd name="T53" fmla="*/ 2147483647 h 193"/>
                  <a:gd name="T54" fmla="*/ 2147483647 w 167"/>
                  <a:gd name="T55" fmla="*/ 2147483647 h 193"/>
                  <a:gd name="T56" fmla="*/ 2147483647 w 167"/>
                  <a:gd name="T57" fmla="*/ 2147483647 h 193"/>
                  <a:gd name="T58" fmla="*/ 2147483647 w 167"/>
                  <a:gd name="T59" fmla="*/ 2147483647 h 193"/>
                  <a:gd name="T60" fmla="*/ 2147483647 w 167"/>
                  <a:gd name="T61" fmla="*/ 2147483647 h 193"/>
                  <a:gd name="T62" fmla="*/ 2147483647 w 167"/>
                  <a:gd name="T63" fmla="*/ 2147483647 h 193"/>
                  <a:gd name="T64" fmla="*/ 2147483647 w 167"/>
                  <a:gd name="T65" fmla="*/ 2147483647 h 193"/>
                  <a:gd name="T66" fmla="*/ 2147483647 w 167"/>
                  <a:gd name="T67" fmla="*/ 2147483647 h 193"/>
                  <a:gd name="T68" fmla="*/ 2147483647 w 167"/>
                  <a:gd name="T69" fmla="*/ 2147483647 h 193"/>
                  <a:gd name="T70" fmla="*/ 2147483647 w 167"/>
                  <a:gd name="T71" fmla="*/ 2147483647 h 193"/>
                  <a:gd name="T72" fmla="*/ 2147483647 w 167"/>
                  <a:gd name="T73" fmla="*/ 2147483647 h 193"/>
                  <a:gd name="T74" fmla="*/ 2147483647 w 167"/>
                  <a:gd name="T75" fmla="*/ 2147483647 h 193"/>
                  <a:gd name="T76" fmla="*/ 2147483647 w 167"/>
                  <a:gd name="T77" fmla="*/ 2147483647 h 193"/>
                  <a:gd name="T78" fmla="*/ 2147483647 w 167"/>
                  <a:gd name="T79" fmla="*/ 2147483647 h 193"/>
                  <a:gd name="T80" fmla="*/ 2147483647 w 167"/>
                  <a:gd name="T81" fmla="*/ 2147483647 h 193"/>
                  <a:gd name="T82" fmla="*/ 2147483647 w 167"/>
                  <a:gd name="T83" fmla="*/ 2147483647 h 193"/>
                  <a:gd name="T84" fmla="*/ 2147483647 w 167"/>
                  <a:gd name="T85" fmla="*/ 2147483647 h 193"/>
                  <a:gd name="T86" fmla="*/ 2147483647 w 167"/>
                  <a:gd name="T87" fmla="*/ 2147483647 h 193"/>
                  <a:gd name="T88" fmla="*/ 2147483647 w 167"/>
                  <a:gd name="T89" fmla="*/ 2147483647 h 193"/>
                  <a:gd name="T90" fmla="*/ 2147483647 w 167"/>
                  <a:gd name="T91" fmla="*/ 2147483647 h 193"/>
                  <a:gd name="T92" fmla="*/ 2147483647 w 167"/>
                  <a:gd name="T93" fmla="*/ 2147483647 h 193"/>
                  <a:gd name="T94" fmla="*/ 2147483647 w 167"/>
                  <a:gd name="T95" fmla="*/ 2147483647 h 193"/>
                  <a:gd name="T96" fmla="*/ 2147483647 w 167"/>
                  <a:gd name="T97" fmla="*/ 2147483647 h 193"/>
                  <a:gd name="T98" fmla="*/ 2147483647 w 167"/>
                  <a:gd name="T99" fmla="*/ 2147483647 h 193"/>
                  <a:gd name="T100" fmla="*/ 2147483647 w 167"/>
                  <a:gd name="T101" fmla="*/ 2147483647 h 193"/>
                  <a:gd name="T102" fmla="*/ 2147483647 w 167"/>
                  <a:gd name="T103" fmla="*/ 2147483647 h 1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67"/>
                  <a:gd name="T157" fmla="*/ 0 h 193"/>
                  <a:gd name="T158" fmla="*/ 167 w 167"/>
                  <a:gd name="T159" fmla="*/ 193 h 193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67" h="193">
                    <a:moveTo>
                      <a:pt x="26" y="157"/>
                    </a:moveTo>
                    <a:cubicBezTo>
                      <a:pt x="25" y="154"/>
                      <a:pt x="25" y="155"/>
                      <a:pt x="24" y="153"/>
                    </a:cubicBezTo>
                    <a:cubicBezTo>
                      <a:pt x="23" y="152"/>
                      <a:pt x="21" y="154"/>
                      <a:pt x="21" y="154"/>
                    </a:cubicBezTo>
                    <a:cubicBezTo>
                      <a:pt x="21" y="154"/>
                      <a:pt x="19" y="152"/>
                      <a:pt x="17" y="151"/>
                    </a:cubicBezTo>
                    <a:cubicBezTo>
                      <a:pt x="15" y="150"/>
                      <a:pt x="12" y="152"/>
                      <a:pt x="12" y="152"/>
                    </a:cubicBezTo>
                    <a:cubicBezTo>
                      <a:pt x="12" y="152"/>
                      <a:pt x="10" y="155"/>
                      <a:pt x="5" y="156"/>
                    </a:cubicBezTo>
                    <a:cubicBezTo>
                      <a:pt x="0" y="157"/>
                      <a:pt x="3" y="158"/>
                      <a:pt x="4" y="159"/>
                    </a:cubicBezTo>
                    <a:cubicBezTo>
                      <a:pt x="5" y="160"/>
                      <a:pt x="6" y="163"/>
                      <a:pt x="8" y="164"/>
                    </a:cubicBezTo>
                    <a:cubicBezTo>
                      <a:pt x="9" y="165"/>
                      <a:pt x="11" y="159"/>
                      <a:pt x="11" y="159"/>
                    </a:cubicBezTo>
                    <a:cubicBezTo>
                      <a:pt x="14" y="164"/>
                      <a:pt x="14" y="164"/>
                      <a:pt x="14" y="164"/>
                    </a:cubicBezTo>
                    <a:cubicBezTo>
                      <a:pt x="12" y="163"/>
                      <a:pt x="12" y="163"/>
                      <a:pt x="12" y="163"/>
                    </a:cubicBezTo>
                    <a:cubicBezTo>
                      <a:pt x="12" y="163"/>
                      <a:pt x="11" y="167"/>
                      <a:pt x="10" y="167"/>
                    </a:cubicBezTo>
                    <a:cubicBezTo>
                      <a:pt x="9" y="168"/>
                      <a:pt x="10" y="171"/>
                      <a:pt x="10" y="172"/>
                    </a:cubicBezTo>
                    <a:cubicBezTo>
                      <a:pt x="11" y="173"/>
                      <a:pt x="11" y="176"/>
                      <a:pt x="10" y="177"/>
                    </a:cubicBezTo>
                    <a:cubicBezTo>
                      <a:pt x="10" y="178"/>
                      <a:pt x="11" y="181"/>
                      <a:pt x="14" y="181"/>
                    </a:cubicBezTo>
                    <a:cubicBezTo>
                      <a:pt x="14" y="181"/>
                      <a:pt x="14" y="177"/>
                      <a:pt x="16" y="178"/>
                    </a:cubicBezTo>
                    <a:cubicBezTo>
                      <a:pt x="18" y="178"/>
                      <a:pt x="16" y="184"/>
                      <a:pt x="16" y="184"/>
                    </a:cubicBezTo>
                    <a:cubicBezTo>
                      <a:pt x="19" y="182"/>
                      <a:pt x="19" y="182"/>
                      <a:pt x="19" y="182"/>
                    </a:cubicBezTo>
                    <a:cubicBezTo>
                      <a:pt x="19" y="182"/>
                      <a:pt x="23" y="180"/>
                      <a:pt x="24" y="178"/>
                    </a:cubicBezTo>
                    <a:cubicBezTo>
                      <a:pt x="25" y="176"/>
                      <a:pt x="24" y="174"/>
                      <a:pt x="25" y="170"/>
                    </a:cubicBezTo>
                    <a:cubicBezTo>
                      <a:pt x="25" y="166"/>
                      <a:pt x="27" y="163"/>
                      <a:pt x="28" y="161"/>
                    </a:cubicBezTo>
                    <a:cubicBezTo>
                      <a:pt x="29" y="158"/>
                      <a:pt x="27" y="160"/>
                      <a:pt x="26" y="157"/>
                    </a:cubicBezTo>
                    <a:close/>
                    <a:moveTo>
                      <a:pt x="13" y="191"/>
                    </a:moveTo>
                    <a:cubicBezTo>
                      <a:pt x="13" y="192"/>
                      <a:pt x="13" y="193"/>
                      <a:pt x="15" y="191"/>
                    </a:cubicBezTo>
                    <a:cubicBezTo>
                      <a:pt x="17" y="188"/>
                      <a:pt x="13" y="190"/>
                      <a:pt x="13" y="191"/>
                    </a:cubicBezTo>
                    <a:close/>
                    <a:moveTo>
                      <a:pt x="18" y="191"/>
                    </a:moveTo>
                    <a:cubicBezTo>
                      <a:pt x="20" y="186"/>
                      <a:pt x="20" y="186"/>
                      <a:pt x="20" y="186"/>
                    </a:cubicBezTo>
                    <a:cubicBezTo>
                      <a:pt x="17" y="188"/>
                      <a:pt x="17" y="188"/>
                      <a:pt x="17" y="188"/>
                    </a:cubicBezTo>
                    <a:lnTo>
                      <a:pt x="18" y="191"/>
                    </a:lnTo>
                    <a:close/>
                    <a:moveTo>
                      <a:pt x="2" y="142"/>
                    </a:moveTo>
                    <a:cubicBezTo>
                      <a:pt x="1" y="143"/>
                      <a:pt x="0" y="147"/>
                      <a:pt x="0" y="148"/>
                    </a:cubicBezTo>
                    <a:cubicBezTo>
                      <a:pt x="1" y="149"/>
                      <a:pt x="2" y="147"/>
                      <a:pt x="3" y="145"/>
                    </a:cubicBezTo>
                    <a:cubicBezTo>
                      <a:pt x="4" y="143"/>
                      <a:pt x="3" y="140"/>
                      <a:pt x="2" y="142"/>
                    </a:cubicBezTo>
                    <a:close/>
                    <a:moveTo>
                      <a:pt x="122" y="67"/>
                    </a:moveTo>
                    <a:cubicBezTo>
                      <a:pt x="122" y="65"/>
                      <a:pt x="121" y="62"/>
                      <a:pt x="121" y="59"/>
                    </a:cubicBezTo>
                    <a:cubicBezTo>
                      <a:pt x="121" y="56"/>
                      <a:pt x="121" y="58"/>
                      <a:pt x="119" y="57"/>
                    </a:cubicBezTo>
                    <a:cubicBezTo>
                      <a:pt x="117" y="55"/>
                      <a:pt x="116" y="55"/>
                      <a:pt x="115" y="57"/>
                    </a:cubicBezTo>
                    <a:cubicBezTo>
                      <a:pt x="115" y="59"/>
                      <a:pt x="117" y="61"/>
                      <a:pt x="116" y="62"/>
                    </a:cubicBezTo>
                    <a:cubicBezTo>
                      <a:pt x="115" y="64"/>
                      <a:pt x="113" y="63"/>
                      <a:pt x="114" y="61"/>
                    </a:cubicBezTo>
                    <a:cubicBezTo>
                      <a:pt x="114" y="59"/>
                      <a:pt x="112" y="58"/>
                      <a:pt x="110" y="59"/>
                    </a:cubicBezTo>
                    <a:cubicBezTo>
                      <a:pt x="109" y="59"/>
                      <a:pt x="109" y="62"/>
                      <a:pt x="109" y="62"/>
                    </a:cubicBezTo>
                    <a:cubicBezTo>
                      <a:pt x="107" y="65"/>
                      <a:pt x="107" y="65"/>
                      <a:pt x="107" y="65"/>
                    </a:cubicBezTo>
                    <a:cubicBezTo>
                      <a:pt x="107" y="65"/>
                      <a:pt x="106" y="65"/>
                      <a:pt x="106" y="73"/>
                    </a:cubicBezTo>
                    <a:cubicBezTo>
                      <a:pt x="106" y="75"/>
                      <a:pt x="106" y="76"/>
                      <a:pt x="106" y="77"/>
                    </a:cubicBezTo>
                    <a:cubicBezTo>
                      <a:pt x="107" y="77"/>
                      <a:pt x="107" y="78"/>
                      <a:pt x="106" y="80"/>
                    </a:cubicBezTo>
                    <a:cubicBezTo>
                      <a:pt x="105" y="83"/>
                      <a:pt x="106" y="82"/>
                      <a:pt x="106" y="87"/>
                    </a:cubicBezTo>
                    <a:cubicBezTo>
                      <a:pt x="107" y="92"/>
                      <a:pt x="103" y="92"/>
                      <a:pt x="102" y="93"/>
                    </a:cubicBezTo>
                    <a:cubicBezTo>
                      <a:pt x="101" y="94"/>
                      <a:pt x="101" y="98"/>
                      <a:pt x="98" y="102"/>
                    </a:cubicBezTo>
                    <a:cubicBezTo>
                      <a:pt x="95" y="106"/>
                      <a:pt x="94" y="108"/>
                      <a:pt x="92" y="109"/>
                    </a:cubicBezTo>
                    <a:cubicBezTo>
                      <a:pt x="89" y="111"/>
                      <a:pt x="85" y="111"/>
                      <a:pt x="85" y="111"/>
                    </a:cubicBezTo>
                    <a:cubicBezTo>
                      <a:pt x="85" y="111"/>
                      <a:pt x="80" y="111"/>
                      <a:pt x="80" y="110"/>
                    </a:cubicBezTo>
                    <a:cubicBezTo>
                      <a:pt x="80" y="108"/>
                      <a:pt x="80" y="107"/>
                      <a:pt x="80" y="107"/>
                    </a:cubicBezTo>
                    <a:cubicBezTo>
                      <a:pt x="80" y="107"/>
                      <a:pt x="77" y="109"/>
                      <a:pt x="76" y="109"/>
                    </a:cubicBezTo>
                    <a:cubicBezTo>
                      <a:pt x="74" y="109"/>
                      <a:pt x="76" y="113"/>
                      <a:pt x="75" y="115"/>
                    </a:cubicBezTo>
                    <a:cubicBezTo>
                      <a:pt x="74" y="117"/>
                      <a:pt x="71" y="120"/>
                      <a:pt x="69" y="122"/>
                    </a:cubicBezTo>
                    <a:cubicBezTo>
                      <a:pt x="67" y="123"/>
                      <a:pt x="66" y="125"/>
                      <a:pt x="66" y="126"/>
                    </a:cubicBezTo>
                    <a:cubicBezTo>
                      <a:pt x="65" y="128"/>
                      <a:pt x="67" y="128"/>
                      <a:pt x="67" y="130"/>
                    </a:cubicBezTo>
                    <a:cubicBezTo>
                      <a:pt x="67" y="131"/>
                      <a:pt x="64" y="131"/>
                      <a:pt x="62" y="130"/>
                    </a:cubicBezTo>
                    <a:cubicBezTo>
                      <a:pt x="61" y="129"/>
                      <a:pt x="62" y="127"/>
                      <a:pt x="62" y="127"/>
                    </a:cubicBezTo>
                    <a:cubicBezTo>
                      <a:pt x="62" y="127"/>
                      <a:pt x="58" y="128"/>
                      <a:pt x="57" y="129"/>
                    </a:cubicBezTo>
                    <a:cubicBezTo>
                      <a:pt x="56" y="129"/>
                      <a:pt x="54" y="127"/>
                      <a:pt x="53" y="127"/>
                    </a:cubicBezTo>
                    <a:cubicBezTo>
                      <a:pt x="52" y="126"/>
                      <a:pt x="51" y="130"/>
                      <a:pt x="50" y="131"/>
                    </a:cubicBezTo>
                    <a:cubicBezTo>
                      <a:pt x="49" y="131"/>
                      <a:pt x="45" y="131"/>
                      <a:pt x="44" y="131"/>
                    </a:cubicBezTo>
                    <a:cubicBezTo>
                      <a:pt x="43" y="131"/>
                      <a:pt x="36" y="131"/>
                      <a:pt x="36" y="131"/>
                    </a:cubicBezTo>
                    <a:cubicBezTo>
                      <a:pt x="36" y="131"/>
                      <a:pt x="33" y="135"/>
                      <a:pt x="31" y="137"/>
                    </a:cubicBezTo>
                    <a:cubicBezTo>
                      <a:pt x="29" y="139"/>
                      <a:pt x="21" y="144"/>
                      <a:pt x="19" y="145"/>
                    </a:cubicBezTo>
                    <a:cubicBezTo>
                      <a:pt x="17" y="146"/>
                      <a:pt x="13" y="150"/>
                      <a:pt x="14" y="150"/>
                    </a:cubicBezTo>
                    <a:cubicBezTo>
                      <a:pt x="17" y="149"/>
                      <a:pt x="18" y="151"/>
                      <a:pt x="18" y="151"/>
                    </a:cubicBezTo>
                    <a:cubicBezTo>
                      <a:pt x="18" y="151"/>
                      <a:pt x="19" y="150"/>
                      <a:pt x="20" y="150"/>
                    </a:cubicBezTo>
                    <a:cubicBezTo>
                      <a:pt x="21" y="150"/>
                      <a:pt x="24" y="149"/>
                      <a:pt x="25" y="149"/>
                    </a:cubicBezTo>
                    <a:cubicBezTo>
                      <a:pt x="26" y="149"/>
                      <a:pt x="30" y="151"/>
                      <a:pt x="30" y="150"/>
                    </a:cubicBezTo>
                    <a:cubicBezTo>
                      <a:pt x="31" y="149"/>
                      <a:pt x="28" y="148"/>
                      <a:pt x="30" y="148"/>
                    </a:cubicBezTo>
                    <a:cubicBezTo>
                      <a:pt x="32" y="149"/>
                      <a:pt x="38" y="147"/>
                      <a:pt x="40" y="145"/>
                    </a:cubicBezTo>
                    <a:cubicBezTo>
                      <a:pt x="41" y="144"/>
                      <a:pt x="44" y="143"/>
                      <a:pt x="46" y="143"/>
                    </a:cubicBezTo>
                    <a:cubicBezTo>
                      <a:pt x="48" y="144"/>
                      <a:pt x="56" y="141"/>
                      <a:pt x="56" y="141"/>
                    </a:cubicBezTo>
                    <a:cubicBezTo>
                      <a:pt x="56" y="141"/>
                      <a:pt x="59" y="141"/>
                      <a:pt x="62" y="141"/>
                    </a:cubicBezTo>
                    <a:cubicBezTo>
                      <a:pt x="64" y="141"/>
                      <a:pt x="62" y="145"/>
                      <a:pt x="60" y="147"/>
                    </a:cubicBezTo>
                    <a:cubicBezTo>
                      <a:pt x="58" y="149"/>
                      <a:pt x="59" y="152"/>
                      <a:pt x="59" y="152"/>
                    </a:cubicBezTo>
                    <a:cubicBezTo>
                      <a:pt x="59" y="152"/>
                      <a:pt x="64" y="153"/>
                      <a:pt x="65" y="153"/>
                    </a:cubicBezTo>
                    <a:cubicBezTo>
                      <a:pt x="66" y="153"/>
                      <a:pt x="67" y="151"/>
                      <a:pt x="69" y="149"/>
                    </a:cubicBezTo>
                    <a:cubicBezTo>
                      <a:pt x="70" y="148"/>
                      <a:pt x="76" y="144"/>
                      <a:pt x="75" y="143"/>
                    </a:cubicBezTo>
                    <a:cubicBezTo>
                      <a:pt x="75" y="142"/>
                      <a:pt x="74" y="139"/>
                      <a:pt x="75" y="138"/>
                    </a:cubicBezTo>
                    <a:cubicBezTo>
                      <a:pt x="76" y="137"/>
                      <a:pt x="76" y="141"/>
                      <a:pt x="78" y="141"/>
                    </a:cubicBezTo>
                    <a:cubicBezTo>
                      <a:pt x="79" y="142"/>
                      <a:pt x="85" y="142"/>
                      <a:pt x="86" y="141"/>
                    </a:cubicBezTo>
                    <a:cubicBezTo>
                      <a:pt x="87" y="140"/>
                      <a:pt x="91" y="139"/>
                      <a:pt x="92" y="138"/>
                    </a:cubicBezTo>
                    <a:cubicBezTo>
                      <a:pt x="93" y="136"/>
                      <a:pt x="96" y="136"/>
                      <a:pt x="95" y="138"/>
                    </a:cubicBezTo>
                    <a:cubicBezTo>
                      <a:pt x="94" y="139"/>
                      <a:pt x="95" y="141"/>
                      <a:pt x="96" y="141"/>
                    </a:cubicBezTo>
                    <a:cubicBezTo>
                      <a:pt x="97" y="142"/>
                      <a:pt x="98" y="139"/>
                      <a:pt x="99" y="137"/>
                    </a:cubicBezTo>
                    <a:cubicBezTo>
                      <a:pt x="99" y="136"/>
                      <a:pt x="99" y="135"/>
                      <a:pt x="99" y="135"/>
                    </a:cubicBezTo>
                    <a:cubicBezTo>
                      <a:pt x="99" y="135"/>
                      <a:pt x="101" y="135"/>
                      <a:pt x="103" y="135"/>
                    </a:cubicBezTo>
                    <a:cubicBezTo>
                      <a:pt x="105" y="135"/>
                      <a:pt x="104" y="134"/>
                      <a:pt x="104" y="133"/>
                    </a:cubicBezTo>
                    <a:cubicBezTo>
                      <a:pt x="104" y="131"/>
                      <a:pt x="106" y="130"/>
                      <a:pt x="107" y="131"/>
                    </a:cubicBezTo>
                    <a:cubicBezTo>
                      <a:pt x="107" y="133"/>
                      <a:pt x="106" y="137"/>
                      <a:pt x="106" y="137"/>
                    </a:cubicBezTo>
                    <a:cubicBezTo>
                      <a:pt x="111" y="135"/>
                      <a:pt x="111" y="135"/>
                      <a:pt x="111" y="135"/>
                    </a:cubicBezTo>
                    <a:cubicBezTo>
                      <a:pt x="111" y="135"/>
                      <a:pt x="112" y="133"/>
                      <a:pt x="112" y="131"/>
                    </a:cubicBezTo>
                    <a:cubicBezTo>
                      <a:pt x="112" y="129"/>
                      <a:pt x="115" y="128"/>
                      <a:pt x="115" y="128"/>
                    </a:cubicBezTo>
                    <a:cubicBezTo>
                      <a:pt x="115" y="128"/>
                      <a:pt x="114" y="126"/>
                      <a:pt x="113" y="123"/>
                    </a:cubicBezTo>
                    <a:cubicBezTo>
                      <a:pt x="113" y="121"/>
                      <a:pt x="114" y="117"/>
                      <a:pt x="115" y="115"/>
                    </a:cubicBezTo>
                    <a:cubicBezTo>
                      <a:pt x="116" y="113"/>
                      <a:pt x="117" y="109"/>
                      <a:pt x="117" y="107"/>
                    </a:cubicBezTo>
                    <a:cubicBezTo>
                      <a:pt x="117" y="105"/>
                      <a:pt x="117" y="100"/>
                      <a:pt x="117" y="98"/>
                    </a:cubicBezTo>
                    <a:cubicBezTo>
                      <a:pt x="118" y="97"/>
                      <a:pt x="121" y="96"/>
                      <a:pt x="122" y="94"/>
                    </a:cubicBezTo>
                    <a:cubicBezTo>
                      <a:pt x="123" y="92"/>
                      <a:pt x="125" y="89"/>
                      <a:pt x="126" y="87"/>
                    </a:cubicBezTo>
                    <a:cubicBezTo>
                      <a:pt x="127" y="85"/>
                      <a:pt x="128" y="81"/>
                      <a:pt x="127" y="77"/>
                    </a:cubicBezTo>
                    <a:cubicBezTo>
                      <a:pt x="125" y="73"/>
                      <a:pt x="123" y="68"/>
                      <a:pt x="122" y="67"/>
                    </a:cubicBezTo>
                    <a:close/>
                    <a:moveTo>
                      <a:pt x="106" y="77"/>
                    </a:moveTo>
                    <a:cubicBezTo>
                      <a:pt x="105" y="77"/>
                      <a:pt x="105" y="76"/>
                      <a:pt x="105" y="76"/>
                    </a:cubicBezTo>
                    <a:cubicBezTo>
                      <a:pt x="105" y="76"/>
                      <a:pt x="105" y="78"/>
                      <a:pt x="106" y="77"/>
                    </a:cubicBezTo>
                    <a:close/>
                    <a:moveTo>
                      <a:pt x="53" y="148"/>
                    </a:moveTo>
                    <a:cubicBezTo>
                      <a:pt x="52" y="148"/>
                      <a:pt x="52" y="145"/>
                      <a:pt x="51" y="145"/>
                    </a:cubicBezTo>
                    <a:cubicBezTo>
                      <a:pt x="50" y="144"/>
                      <a:pt x="46" y="146"/>
                      <a:pt x="45" y="148"/>
                    </a:cubicBezTo>
                    <a:cubicBezTo>
                      <a:pt x="44" y="151"/>
                      <a:pt x="43" y="150"/>
                      <a:pt x="41" y="150"/>
                    </a:cubicBezTo>
                    <a:cubicBezTo>
                      <a:pt x="39" y="149"/>
                      <a:pt x="38" y="149"/>
                      <a:pt x="38" y="150"/>
                    </a:cubicBezTo>
                    <a:cubicBezTo>
                      <a:pt x="37" y="150"/>
                      <a:pt x="36" y="153"/>
                      <a:pt x="34" y="154"/>
                    </a:cubicBezTo>
                    <a:cubicBezTo>
                      <a:pt x="32" y="154"/>
                      <a:pt x="30" y="156"/>
                      <a:pt x="30" y="157"/>
                    </a:cubicBezTo>
                    <a:cubicBezTo>
                      <a:pt x="30" y="158"/>
                      <a:pt x="35" y="162"/>
                      <a:pt x="35" y="162"/>
                    </a:cubicBezTo>
                    <a:cubicBezTo>
                      <a:pt x="39" y="165"/>
                      <a:pt x="39" y="165"/>
                      <a:pt x="39" y="165"/>
                    </a:cubicBezTo>
                    <a:cubicBezTo>
                      <a:pt x="39" y="165"/>
                      <a:pt x="40" y="162"/>
                      <a:pt x="41" y="158"/>
                    </a:cubicBezTo>
                    <a:cubicBezTo>
                      <a:pt x="42" y="155"/>
                      <a:pt x="44" y="155"/>
                      <a:pt x="47" y="157"/>
                    </a:cubicBezTo>
                    <a:cubicBezTo>
                      <a:pt x="50" y="159"/>
                      <a:pt x="48" y="160"/>
                      <a:pt x="50" y="157"/>
                    </a:cubicBezTo>
                    <a:cubicBezTo>
                      <a:pt x="52" y="154"/>
                      <a:pt x="55" y="150"/>
                      <a:pt x="55" y="150"/>
                    </a:cubicBezTo>
                    <a:cubicBezTo>
                      <a:pt x="57" y="147"/>
                      <a:pt x="57" y="147"/>
                      <a:pt x="57" y="147"/>
                    </a:cubicBezTo>
                    <a:cubicBezTo>
                      <a:pt x="57" y="143"/>
                      <a:pt x="57" y="143"/>
                      <a:pt x="57" y="143"/>
                    </a:cubicBezTo>
                    <a:cubicBezTo>
                      <a:pt x="57" y="143"/>
                      <a:pt x="54" y="148"/>
                      <a:pt x="53" y="148"/>
                    </a:cubicBezTo>
                    <a:close/>
                    <a:moveTo>
                      <a:pt x="91" y="103"/>
                    </a:moveTo>
                    <a:cubicBezTo>
                      <a:pt x="93" y="102"/>
                      <a:pt x="93" y="94"/>
                      <a:pt x="92" y="96"/>
                    </a:cubicBezTo>
                    <a:cubicBezTo>
                      <a:pt x="91" y="98"/>
                      <a:pt x="90" y="101"/>
                      <a:pt x="90" y="101"/>
                    </a:cubicBezTo>
                    <a:cubicBezTo>
                      <a:pt x="90" y="101"/>
                      <a:pt x="89" y="104"/>
                      <a:pt x="91" y="103"/>
                    </a:cubicBezTo>
                    <a:close/>
                    <a:moveTo>
                      <a:pt x="160" y="31"/>
                    </a:moveTo>
                    <a:cubicBezTo>
                      <a:pt x="158" y="31"/>
                      <a:pt x="157" y="30"/>
                      <a:pt x="157" y="26"/>
                    </a:cubicBezTo>
                    <a:cubicBezTo>
                      <a:pt x="157" y="22"/>
                      <a:pt x="159" y="18"/>
                      <a:pt x="159" y="18"/>
                    </a:cubicBezTo>
                    <a:cubicBezTo>
                      <a:pt x="159" y="18"/>
                      <a:pt x="154" y="22"/>
                      <a:pt x="152" y="23"/>
                    </a:cubicBezTo>
                    <a:cubicBezTo>
                      <a:pt x="149" y="25"/>
                      <a:pt x="141" y="20"/>
                      <a:pt x="137" y="15"/>
                    </a:cubicBezTo>
                    <a:cubicBezTo>
                      <a:pt x="134" y="10"/>
                      <a:pt x="127" y="4"/>
                      <a:pt x="126" y="2"/>
                    </a:cubicBezTo>
                    <a:cubicBezTo>
                      <a:pt x="125" y="0"/>
                      <a:pt x="124" y="4"/>
                      <a:pt x="123" y="5"/>
                    </a:cubicBezTo>
                    <a:cubicBezTo>
                      <a:pt x="122" y="6"/>
                      <a:pt x="124" y="9"/>
                      <a:pt x="125" y="11"/>
                    </a:cubicBezTo>
                    <a:cubicBezTo>
                      <a:pt x="126" y="13"/>
                      <a:pt x="124" y="18"/>
                      <a:pt x="123" y="20"/>
                    </a:cubicBezTo>
                    <a:cubicBezTo>
                      <a:pt x="123" y="21"/>
                      <a:pt x="121" y="24"/>
                      <a:pt x="121" y="24"/>
                    </a:cubicBezTo>
                    <a:cubicBezTo>
                      <a:pt x="121" y="24"/>
                      <a:pt x="121" y="30"/>
                      <a:pt x="121" y="31"/>
                    </a:cubicBezTo>
                    <a:cubicBezTo>
                      <a:pt x="120" y="32"/>
                      <a:pt x="119" y="35"/>
                      <a:pt x="117" y="33"/>
                    </a:cubicBezTo>
                    <a:cubicBezTo>
                      <a:pt x="114" y="31"/>
                      <a:pt x="111" y="32"/>
                      <a:pt x="111" y="32"/>
                    </a:cubicBezTo>
                    <a:cubicBezTo>
                      <a:pt x="112" y="36"/>
                      <a:pt x="112" y="36"/>
                      <a:pt x="112" y="36"/>
                    </a:cubicBezTo>
                    <a:cubicBezTo>
                      <a:pt x="112" y="36"/>
                      <a:pt x="106" y="40"/>
                      <a:pt x="105" y="40"/>
                    </a:cubicBezTo>
                    <a:cubicBezTo>
                      <a:pt x="104" y="40"/>
                      <a:pt x="105" y="46"/>
                      <a:pt x="106" y="47"/>
                    </a:cubicBezTo>
                    <a:cubicBezTo>
                      <a:pt x="107" y="47"/>
                      <a:pt x="108" y="52"/>
                      <a:pt x="107" y="52"/>
                    </a:cubicBezTo>
                    <a:cubicBezTo>
                      <a:pt x="107" y="52"/>
                      <a:pt x="106" y="54"/>
                      <a:pt x="107" y="57"/>
                    </a:cubicBezTo>
                    <a:cubicBezTo>
                      <a:pt x="108" y="59"/>
                      <a:pt x="110" y="56"/>
                      <a:pt x="111" y="54"/>
                    </a:cubicBezTo>
                    <a:cubicBezTo>
                      <a:pt x="112" y="52"/>
                      <a:pt x="116" y="52"/>
                      <a:pt x="116" y="52"/>
                    </a:cubicBezTo>
                    <a:cubicBezTo>
                      <a:pt x="119" y="52"/>
                      <a:pt x="119" y="52"/>
                      <a:pt x="119" y="52"/>
                    </a:cubicBezTo>
                    <a:cubicBezTo>
                      <a:pt x="119" y="52"/>
                      <a:pt x="115" y="49"/>
                      <a:pt x="112" y="48"/>
                    </a:cubicBezTo>
                    <a:cubicBezTo>
                      <a:pt x="110" y="48"/>
                      <a:pt x="109" y="45"/>
                      <a:pt x="110" y="43"/>
                    </a:cubicBezTo>
                    <a:cubicBezTo>
                      <a:pt x="111" y="41"/>
                      <a:pt x="115" y="44"/>
                      <a:pt x="115" y="44"/>
                    </a:cubicBezTo>
                    <a:cubicBezTo>
                      <a:pt x="115" y="44"/>
                      <a:pt x="117" y="45"/>
                      <a:pt x="119" y="42"/>
                    </a:cubicBezTo>
                    <a:cubicBezTo>
                      <a:pt x="122" y="39"/>
                      <a:pt x="125" y="41"/>
                      <a:pt x="128" y="44"/>
                    </a:cubicBezTo>
                    <a:cubicBezTo>
                      <a:pt x="131" y="46"/>
                      <a:pt x="139" y="49"/>
                      <a:pt x="139" y="49"/>
                    </a:cubicBezTo>
                    <a:cubicBezTo>
                      <a:pt x="139" y="49"/>
                      <a:pt x="143" y="41"/>
                      <a:pt x="145" y="38"/>
                    </a:cubicBezTo>
                    <a:cubicBezTo>
                      <a:pt x="148" y="35"/>
                      <a:pt x="154" y="37"/>
                      <a:pt x="156" y="36"/>
                    </a:cubicBezTo>
                    <a:cubicBezTo>
                      <a:pt x="159" y="35"/>
                      <a:pt x="162" y="34"/>
                      <a:pt x="164" y="31"/>
                    </a:cubicBezTo>
                    <a:cubicBezTo>
                      <a:pt x="167" y="27"/>
                      <a:pt x="163" y="32"/>
                      <a:pt x="160" y="3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1" name="Freeform 86"/>
              <p:cNvSpPr>
                <a:spLocks noEditPoints="1"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6075967" y="4471989"/>
                <a:ext cx="150983" cy="261937"/>
              </a:xfrm>
              <a:custGeom>
                <a:avLst/>
                <a:gdLst>
                  <a:gd name="T0" fmla="*/ 2147483647 w 38"/>
                  <a:gd name="T1" fmla="*/ 2147483647 h 67"/>
                  <a:gd name="T2" fmla="*/ 2147483647 w 38"/>
                  <a:gd name="T3" fmla="*/ 2147483647 h 67"/>
                  <a:gd name="T4" fmla="*/ 2147483647 w 38"/>
                  <a:gd name="T5" fmla="*/ 2147483647 h 67"/>
                  <a:gd name="T6" fmla="*/ 2147483647 w 38"/>
                  <a:gd name="T7" fmla="*/ 2147483647 h 67"/>
                  <a:gd name="T8" fmla="*/ 2147483647 w 38"/>
                  <a:gd name="T9" fmla="*/ 2147483647 h 67"/>
                  <a:gd name="T10" fmla="*/ 2147483647 w 38"/>
                  <a:gd name="T11" fmla="*/ 2147483647 h 67"/>
                  <a:gd name="T12" fmla="*/ 2147483647 w 38"/>
                  <a:gd name="T13" fmla="*/ 0 h 67"/>
                  <a:gd name="T14" fmla="*/ 2147483647 w 38"/>
                  <a:gd name="T15" fmla="*/ 2147483647 h 67"/>
                  <a:gd name="T16" fmla="*/ 2147483647 w 38"/>
                  <a:gd name="T17" fmla="*/ 2147483647 h 67"/>
                  <a:gd name="T18" fmla="*/ 2147483647 w 38"/>
                  <a:gd name="T19" fmla="*/ 2147483647 h 67"/>
                  <a:gd name="T20" fmla="*/ 2147483647 w 38"/>
                  <a:gd name="T21" fmla="*/ 2147483647 h 67"/>
                  <a:gd name="T22" fmla="*/ 2147483647 w 38"/>
                  <a:gd name="T23" fmla="*/ 2147483647 h 67"/>
                  <a:gd name="T24" fmla="*/ 2147483647 w 38"/>
                  <a:gd name="T25" fmla="*/ 2147483647 h 67"/>
                  <a:gd name="T26" fmla="*/ 2147483647 w 38"/>
                  <a:gd name="T27" fmla="*/ 2147483647 h 67"/>
                  <a:gd name="T28" fmla="*/ 2147483647 w 38"/>
                  <a:gd name="T29" fmla="*/ 2147483647 h 67"/>
                  <a:gd name="T30" fmla="*/ 2147483647 w 38"/>
                  <a:gd name="T31" fmla="*/ 2147483647 h 67"/>
                  <a:gd name="T32" fmla="*/ 2147483647 w 38"/>
                  <a:gd name="T33" fmla="*/ 2147483647 h 67"/>
                  <a:gd name="T34" fmla="*/ 2147483647 w 38"/>
                  <a:gd name="T35" fmla="*/ 2147483647 h 67"/>
                  <a:gd name="T36" fmla="*/ 2147483647 w 38"/>
                  <a:gd name="T37" fmla="*/ 2147483647 h 67"/>
                  <a:gd name="T38" fmla="*/ 2147483647 w 38"/>
                  <a:gd name="T39" fmla="*/ 2147483647 h 67"/>
                  <a:gd name="T40" fmla="*/ 2147483647 w 38"/>
                  <a:gd name="T41" fmla="*/ 2147483647 h 67"/>
                  <a:gd name="T42" fmla="*/ 2147483647 w 38"/>
                  <a:gd name="T43" fmla="*/ 2147483647 h 67"/>
                  <a:gd name="T44" fmla="*/ 2147483647 w 38"/>
                  <a:gd name="T45" fmla="*/ 2147483647 h 67"/>
                  <a:gd name="T46" fmla="*/ 2147483647 w 38"/>
                  <a:gd name="T47" fmla="*/ 2147483647 h 67"/>
                  <a:gd name="T48" fmla="*/ 2147483647 w 38"/>
                  <a:gd name="T49" fmla="*/ 2147483647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"/>
                  <a:gd name="T76" fmla="*/ 0 h 67"/>
                  <a:gd name="T77" fmla="*/ 38 w 38"/>
                  <a:gd name="T78" fmla="*/ 67 h 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" h="67">
                    <a:moveTo>
                      <a:pt x="5" y="63"/>
                    </a:moveTo>
                    <a:cubicBezTo>
                      <a:pt x="0" y="67"/>
                      <a:pt x="9" y="67"/>
                      <a:pt x="11" y="64"/>
                    </a:cubicBezTo>
                    <a:cubicBezTo>
                      <a:pt x="13" y="61"/>
                      <a:pt x="8" y="61"/>
                      <a:pt x="5" y="63"/>
                    </a:cubicBezTo>
                    <a:close/>
                    <a:moveTo>
                      <a:pt x="35" y="34"/>
                    </a:moveTo>
                    <a:cubicBezTo>
                      <a:pt x="35" y="34"/>
                      <a:pt x="35" y="30"/>
                      <a:pt x="36" y="26"/>
                    </a:cubicBezTo>
                    <a:cubicBezTo>
                      <a:pt x="36" y="22"/>
                      <a:pt x="34" y="17"/>
                      <a:pt x="32" y="13"/>
                    </a:cubicBezTo>
                    <a:cubicBezTo>
                      <a:pt x="30" y="10"/>
                      <a:pt x="25" y="0"/>
                      <a:pt x="25" y="0"/>
                    </a:cubicBezTo>
                    <a:cubicBezTo>
                      <a:pt x="25" y="0"/>
                      <a:pt x="25" y="4"/>
                      <a:pt x="22" y="5"/>
                    </a:cubicBezTo>
                    <a:cubicBezTo>
                      <a:pt x="19" y="7"/>
                      <a:pt x="14" y="4"/>
                      <a:pt x="12" y="5"/>
                    </a:cubicBezTo>
                    <a:cubicBezTo>
                      <a:pt x="11" y="5"/>
                      <a:pt x="9" y="9"/>
                      <a:pt x="7" y="11"/>
                    </a:cubicBezTo>
                    <a:cubicBezTo>
                      <a:pt x="6" y="13"/>
                      <a:pt x="4" y="11"/>
                      <a:pt x="4" y="11"/>
                    </a:cubicBezTo>
                    <a:cubicBezTo>
                      <a:pt x="4" y="11"/>
                      <a:pt x="6" y="15"/>
                      <a:pt x="7" y="16"/>
                    </a:cubicBezTo>
                    <a:cubicBezTo>
                      <a:pt x="9" y="17"/>
                      <a:pt x="10" y="23"/>
                      <a:pt x="9" y="21"/>
                    </a:cubicBezTo>
                    <a:cubicBezTo>
                      <a:pt x="8" y="20"/>
                      <a:pt x="4" y="22"/>
                      <a:pt x="3" y="24"/>
                    </a:cubicBezTo>
                    <a:cubicBezTo>
                      <a:pt x="2" y="25"/>
                      <a:pt x="7" y="30"/>
                      <a:pt x="7" y="32"/>
                    </a:cubicBezTo>
                    <a:cubicBezTo>
                      <a:pt x="7" y="33"/>
                      <a:pt x="6" y="38"/>
                      <a:pt x="5" y="41"/>
                    </a:cubicBezTo>
                    <a:cubicBezTo>
                      <a:pt x="4" y="44"/>
                      <a:pt x="2" y="49"/>
                      <a:pt x="2" y="51"/>
                    </a:cubicBezTo>
                    <a:cubicBezTo>
                      <a:pt x="2" y="53"/>
                      <a:pt x="7" y="51"/>
                      <a:pt x="6" y="54"/>
                    </a:cubicBezTo>
                    <a:cubicBezTo>
                      <a:pt x="6" y="57"/>
                      <a:pt x="10" y="56"/>
                      <a:pt x="11" y="54"/>
                    </a:cubicBezTo>
                    <a:cubicBezTo>
                      <a:pt x="13" y="52"/>
                      <a:pt x="19" y="49"/>
                      <a:pt x="21" y="49"/>
                    </a:cubicBezTo>
                    <a:cubicBezTo>
                      <a:pt x="22" y="48"/>
                      <a:pt x="27" y="48"/>
                      <a:pt x="28" y="47"/>
                    </a:cubicBezTo>
                    <a:cubicBezTo>
                      <a:pt x="30" y="46"/>
                      <a:pt x="26" y="45"/>
                      <a:pt x="26" y="45"/>
                    </a:cubicBezTo>
                    <a:cubicBezTo>
                      <a:pt x="26" y="45"/>
                      <a:pt x="30" y="44"/>
                      <a:pt x="33" y="44"/>
                    </a:cubicBezTo>
                    <a:cubicBezTo>
                      <a:pt x="36" y="43"/>
                      <a:pt x="36" y="36"/>
                      <a:pt x="37" y="34"/>
                    </a:cubicBezTo>
                    <a:cubicBezTo>
                      <a:pt x="38" y="31"/>
                      <a:pt x="35" y="34"/>
                      <a:pt x="35" y="34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2" name="Freeform 87"/>
              <p:cNvSpPr>
                <a:spLocks noEditPoints="1"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3004244" y="3522663"/>
                <a:ext cx="1591918" cy="836612"/>
              </a:xfrm>
              <a:custGeom>
                <a:avLst/>
                <a:gdLst>
                  <a:gd name="T0" fmla="*/ 2147483647 w 403"/>
                  <a:gd name="T1" fmla="*/ 2147483647 h 214"/>
                  <a:gd name="T2" fmla="*/ 2147483647 w 403"/>
                  <a:gd name="T3" fmla="*/ 2147483647 h 214"/>
                  <a:gd name="T4" fmla="*/ 2147483647 w 403"/>
                  <a:gd name="T5" fmla="*/ 2147483647 h 214"/>
                  <a:gd name="T6" fmla="*/ 2147483647 w 403"/>
                  <a:gd name="T7" fmla="*/ 2147483647 h 214"/>
                  <a:gd name="T8" fmla="*/ 2147483647 w 403"/>
                  <a:gd name="T9" fmla="*/ 2147483647 h 214"/>
                  <a:gd name="T10" fmla="*/ 2147483647 w 403"/>
                  <a:gd name="T11" fmla="*/ 2147483647 h 214"/>
                  <a:gd name="T12" fmla="*/ 2147483647 w 403"/>
                  <a:gd name="T13" fmla="*/ 2147483647 h 214"/>
                  <a:gd name="T14" fmla="*/ 2147483647 w 403"/>
                  <a:gd name="T15" fmla="*/ 2147483647 h 214"/>
                  <a:gd name="T16" fmla="*/ 2147483647 w 403"/>
                  <a:gd name="T17" fmla="*/ 2147483647 h 214"/>
                  <a:gd name="T18" fmla="*/ 2147483647 w 403"/>
                  <a:gd name="T19" fmla="*/ 2147483647 h 214"/>
                  <a:gd name="T20" fmla="*/ 2147483647 w 403"/>
                  <a:gd name="T21" fmla="*/ 2147483647 h 214"/>
                  <a:gd name="T22" fmla="*/ 2147483647 w 403"/>
                  <a:gd name="T23" fmla="*/ 2147483647 h 214"/>
                  <a:gd name="T24" fmla="*/ 2147483647 w 403"/>
                  <a:gd name="T25" fmla="*/ 2147483647 h 214"/>
                  <a:gd name="T26" fmla="*/ 2147483647 w 403"/>
                  <a:gd name="T27" fmla="*/ 2147483647 h 214"/>
                  <a:gd name="T28" fmla="*/ 2147483647 w 403"/>
                  <a:gd name="T29" fmla="*/ 2147483647 h 214"/>
                  <a:gd name="T30" fmla="*/ 2147483647 w 403"/>
                  <a:gd name="T31" fmla="*/ 2147483647 h 214"/>
                  <a:gd name="T32" fmla="*/ 2147483647 w 403"/>
                  <a:gd name="T33" fmla="*/ 2147483647 h 214"/>
                  <a:gd name="T34" fmla="*/ 2147483647 w 403"/>
                  <a:gd name="T35" fmla="*/ 2147483647 h 214"/>
                  <a:gd name="T36" fmla="*/ 2147483647 w 403"/>
                  <a:gd name="T37" fmla="*/ 2147483647 h 214"/>
                  <a:gd name="T38" fmla="*/ 2147483647 w 403"/>
                  <a:gd name="T39" fmla="*/ 2147483647 h 214"/>
                  <a:gd name="T40" fmla="*/ 2147483647 w 403"/>
                  <a:gd name="T41" fmla="*/ 2147483647 h 214"/>
                  <a:gd name="T42" fmla="*/ 2147483647 w 403"/>
                  <a:gd name="T43" fmla="*/ 2147483647 h 214"/>
                  <a:gd name="T44" fmla="*/ 2147483647 w 403"/>
                  <a:gd name="T45" fmla="*/ 2147483647 h 214"/>
                  <a:gd name="T46" fmla="*/ 2147483647 w 403"/>
                  <a:gd name="T47" fmla="*/ 2147483647 h 214"/>
                  <a:gd name="T48" fmla="*/ 2147483647 w 403"/>
                  <a:gd name="T49" fmla="*/ 2147483647 h 214"/>
                  <a:gd name="T50" fmla="*/ 2147483647 w 403"/>
                  <a:gd name="T51" fmla="*/ 2147483647 h 214"/>
                  <a:gd name="T52" fmla="*/ 2147483647 w 403"/>
                  <a:gd name="T53" fmla="*/ 2147483647 h 214"/>
                  <a:gd name="T54" fmla="*/ 2147483647 w 403"/>
                  <a:gd name="T55" fmla="*/ 2147483647 h 214"/>
                  <a:gd name="T56" fmla="*/ 2147483647 w 403"/>
                  <a:gd name="T57" fmla="*/ 2147483647 h 214"/>
                  <a:gd name="T58" fmla="*/ 2147483647 w 403"/>
                  <a:gd name="T59" fmla="*/ 2147483647 h 214"/>
                  <a:gd name="T60" fmla="*/ 2147483647 w 403"/>
                  <a:gd name="T61" fmla="*/ 2147483647 h 214"/>
                  <a:gd name="T62" fmla="*/ 2147483647 w 403"/>
                  <a:gd name="T63" fmla="*/ 2147483647 h 214"/>
                  <a:gd name="T64" fmla="*/ 2147483647 w 403"/>
                  <a:gd name="T65" fmla="*/ 2147483647 h 214"/>
                  <a:gd name="T66" fmla="*/ 2147483647 w 403"/>
                  <a:gd name="T67" fmla="*/ 2147483647 h 214"/>
                  <a:gd name="T68" fmla="*/ 2147483647 w 403"/>
                  <a:gd name="T69" fmla="*/ 2147483647 h 214"/>
                  <a:gd name="T70" fmla="*/ 2147483647 w 403"/>
                  <a:gd name="T71" fmla="*/ 2147483647 h 214"/>
                  <a:gd name="T72" fmla="*/ 2147483647 w 403"/>
                  <a:gd name="T73" fmla="*/ 2147483647 h 214"/>
                  <a:gd name="T74" fmla="*/ 2147483647 w 403"/>
                  <a:gd name="T75" fmla="*/ 2147483647 h 214"/>
                  <a:gd name="T76" fmla="*/ 2147483647 w 403"/>
                  <a:gd name="T77" fmla="*/ 2147483647 h 214"/>
                  <a:gd name="T78" fmla="*/ 2147483647 w 403"/>
                  <a:gd name="T79" fmla="*/ 2147483647 h 214"/>
                  <a:gd name="T80" fmla="*/ 2147483647 w 403"/>
                  <a:gd name="T81" fmla="*/ 2147483647 h 214"/>
                  <a:gd name="T82" fmla="*/ 2147483647 w 403"/>
                  <a:gd name="T83" fmla="*/ 2147483647 h 214"/>
                  <a:gd name="T84" fmla="*/ 2147483647 w 403"/>
                  <a:gd name="T85" fmla="*/ 2147483647 h 214"/>
                  <a:gd name="T86" fmla="*/ 2147483647 w 403"/>
                  <a:gd name="T87" fmla="*/ 2147483647 h 214"/>
                  <a:gd name="T88" fmla="*/ 2147483647 w 403"/>
                  <a:gd name="T89" fmla="*/ 2147483647 h 214"/>
                  <a:gd name="T90" fmla="*/ 2147483647 w 403"/>
                  <a:gd name="T91" fmla="*/ 2147483647 h 214"/>
                  <a:gd name="T92" fmla="*/ 2147483647 w 403"/>
                  <a:gd name="T93" fmla="*/ 2147483647 h 214"/>
                  <a:gd name="T94" fmla="*/ 2147483647 w 403"/>
                  <a:gd name="T95" fmla="*/ 2147483647 h 214"/>
                  <a:gd name="T96" fmla="*/ 2147483647 w 403"/>
                  <a:gd name="T97" fmla="*/ 2147483647 h 214"/>
                  <a:gd name="T98" fmla="*/ 2147483647 w 403"/>
                  <a:gd name="T99" fmla="*/ 2147483647 h 214"/>
                  <a:gd name="T100" fmla="*/ 2147483647 w 403"/>
                  <a:gd name="T101" fmla="*/ 2147483647 h 214"/>
                  <a:gd name="T102" fmla="*/ 2147483647 w 403"/>
                  <a:gd name="T103" fmla="*/ 2147483647 h 214"/>
                  <a:gd name="T104" fmla="*/ 2147483647 w 403"/>
                  <a:gd name="T105" fmla="*/ 2147483647 h 214"/>
                  <a:gd name="T106" fmla="*/ 2147483647 w 403"/>
                  <a:gd name="T107" fmla="*/ 2147483647 h 214"/>
                  <a:gd name="T108" fmla="*/ 2147483647 w 403"/>
                  <a:gd name="T109" fmla="*/ 2147483647 h 214"/>
                  <a:gd name="T110" fmla="*/ 2147483647 w 403"/>
                  <a:gd name="T111" fmla="*/ 2147483647 h 214"/>
                  <a:gd name="T112" fmla="*/ 2147483647 w 403"/>
                  <a:gd name="T113" fmla="*/ 2147483647 h 214"/>
                  <a:gd name="T114" fmla="*/ 2147483647 w 403"/>
                  <a:gd name="T115" fmla="*/ 2147483647 h 214"/>
                  <a:gd name="T116" fmla="*/ 2147483647 w 403"/>
                  <a:gd name="T117" fmla="*/ 2147483647 h 2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14"/>
                  <a:gd name="T179" fmla="*/ 403 w 403"/>
                  <a:gd name="T180" fmla="*/ 214 h 2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14">
                    <a:moveTo>
                      <a:pt x="399" y="98"/>
                    </a:moveTo>
                    <a:cubicBezTo>
                      <a:pt x="396" y="97"/>
                      <a:pt x="395" y="93"/>
                      <a:pt x="395" y="93"/>
                    </a:cubicBezTo>
                    <a:cubicBezTo>
                      <a:pt x="395" y="93"/>
                      <a:pt x="397" y="89"/>
                      <a:pt x="395" y="90"/>
                    </a:cubicBezTo>
                    <a:cubicBezTo>
                      <a:pt x="394" y="91"/>
                      <a:pt x="391" y="94"/>
                      <a:pt x="390" y="94"/>
                    </a:cubicBezTo>
                    <a:cubicBezTo>
                      <a:pt x="389" y="94"/>
                      <a:pt x="381" y="94"/>
                      <a:pt x="380" y="93"/>
                    </a:cubicBezTo>
                    <a:cubicBezTo>
                      <a:pt x="379" y="92"/>
                      <a:pt x="380" y="87"/>
                      <a:pt x="378" y="86"/>
                    </a:cubicBezTo>
                    <a:cubicBezTo>
                      <a:pt x="377" y="85"/>
                      <a:pt x="370" y="82"/>
                      <a:pt x="370" y="82"/>
                    </a:cubicBezTo>
                    <a:cubicBezTo>
                      <a:pt x="367" y="74"/>
                      <a:pt x="367" y="74"/>
                      <a:pt x="367" y="74"/>
                    </a:cubicBezTo>
                    <a:cubicBezTo>
                      <a:pt x="367" y="74"/>
                      <a:pt x="362" y="71"/>
                      <a:pt x="361" y="71"/>
                    </a:cubicBezTo>
                    <a:cubicBezTo>
                      <a:pt x="360" y="71"/>
                      <a:pt x="356" y="73"/>
                      <a:pt x="354" y="74"/>
                    </a:cubicBezTo>
                    <a:cubicBezTo>
                      <a:pt x="353" y="76"/>
                      <a:pt x="348" y="75"/>
                      <a:pt x="347" y="74"/>
                    </a:cubicBezTo>
                    <a:cubicBezTo>
                      <a:pt x="346" y="74"/>
                      <a:pt x="343" y="74"/>
                      <a:pt x="343" y="74"/>
                    </a:cubicBezTo>
                    <a:cubicBezTo>
                      <a:pt x="343" y="74"/>
                      <a:pt x="343" y="71"/>
                      <a:pt x="342" y="71"/>
                    </a:cubicBezTo>
                    <a:cubicBezTo>
                      <a:pt x="341" y="72"/>
                      <a:pt x="339" y="71"/>
                      <a:pt x="339" y="71"/>
                    </a:cubicBezTo>
                    <a:cubicBezTo>
                      <a:pt x="339" y="71"/>
                      <a:pt x="341" y="66"/>
                      <a:pt x="338" y="66"/>
                    </a:cubicBezTo>
                    <a:cubicBezTo>
                      <a:pt x="335" y="66"/>
                      <a:pt x="333" y="67"/>
                      <a:pt x="333" y="67"/>
                    </a:cubicBezTo>
                    <a:cubicBezTo>
                      <a:pt x="333" y="67"/>
                      <a:pt x="335" y="70"/>
                      <a:pt x="334" y="71"/>
                    </a:cubicBezTo>
                    <a:cubicBezTo>
                      <a:pt x="333" y="72"/>
                      <a:pt x="329" y="75"/>
                      <a:pt x="329" y="75"/>
                    </a:cubicBezTo>
                    <a:cubicBezTo>
                      <a:pt x="329" y="75"/>
                      <a:pt x="319" y="56"/>
                      <a:pt x="319" y="54"/>
                    </a:cubicBezTo>
                    <a:cubicBezTo>
                      <a:pt x="319" y="52"/>
                      <a:pt x="309" y="36"/>
                      <a:pt x="308" y="35"/>
                    </a:cubicBezTo>
                    <a:cubicBezTo>
                      <a:pt x="306" y="33"/>
                      <a:pt x="295" y="22"/>
                      <a:pt x="295" y="22"/>
                    </a:cubicBezTo>
                    <a:cubicBezTo>
                      <a:pt x="297" y="20"/>
                      <a:pt x="297" y="20"/>
                      <a:pt x="297" y="20"/>
                    </a:cubicBezTo>
                    <a:cubicBezTo>
                      <a:pt x="298" y="16"/>
                      <a:pt x="298" y="16"/>
                      <a:pt x="298" y="16"/>
                    </a:cubicBezTo>
                    <a:cubicBezTo>
                      <a:pt x="293" y="17"/>
                      <a:pt x="293" y="17"/>
                      <a:pt x="293" y="17"/>
                    </a:cubicBezTo>
                    <a:cubicBezTo>
                      <a:pt x="293" y="17"/>
                      <a:pt x="288" y="21"/>
                      <a:pt x="286" y="21"/>
                    </a:cubicBezTo>
                    <a:cubicBezTo>
                      <a:pt x="285" y="21"/>
                      <a:pt x="283" y="24"/>
                      <a:pt x="283" y="24"/>
                    </a:cubicBezTo>
                    <a:cubicBezTo>
                      <a:pt x="283" y="24"/>
                      <a:pt x="278" y="25"/>
                      <a:pt x="277" y="27"/>
                    </a:cubicBezTo>
                    <a:cubicBezTo>
                      <a:pt x="276" y="28"/>
                      <a:pt x="274" y="32"/>
                      <a:pt x="274" y="32"/>
                    </a:cubicBezTo>
                    <a:cubicBezTo>
                      <a:pt x="270" y="30"/>
                      <a:pt x="270" y="30"/>
                      <a:pt x="270" y="30"/>
                    </a:cubicBezTo>
                    <a:cubicBezTo>
                      <a:pt x="270" y="30"/>
                      <a:pt x="265" y="30"/>
                      <a:pt x="265" y="31"/>
                    </a:cubicBezTo>
                    <a:cubicBezTo>
                      <a:pt x="265" y="33"/>
                      <a:pt x="262" y="30"/>
                      <a:pt x="263" y="28"/>
                    </a:cubicBezTo>
                    <a:cubicBezTo>
                      <a:pt x="264" y="27"/>
                      <a:pt x="267" y="25"/>
                      <a:pt x="267" y="25"/>
                    </a:cubicBezTo>
                    <a:cubicBezTo>
                      <a:pt x="267" y="25"/>
                      <a:pt x="268" y="20"/>
                      <a:pt x="266" y="22"/>
                    </a:cubicBezTo>
                    <a:cubicBezTo>
                      <a:pt x="265" y="23"/>
                      <a:pt x="264" y="24"/>
                      <a:pt x="262" y="23"/>
                    </a:cubicBezTo>
                    <a:cubicBezTo>
                      <a:pt x="261" y="22"/>
                      <a:pt x="255" y="19"/>
                      <a:pt x="256" y="21"/>
                    </a:cubicBezTo>
                    <a:cubicBezTo>
                      <a:pt x="257" y="24"/>
                      <a:pt x="257" y="24"/>
                      <a:pt x="257" y="24"/>
                    </a:cubicBezTo>
                    <a:cubicBezTo>
                      <a:pt x="257" y="24"/>
                      <a:pt x="254" y="22"/>
                      <a:pt x="253" y="21"/>
                    </a:cubicBezTo>
                    <a:cubicBezTo>
                      <a:pt x="253" y="20"/>
                      <a:pt x="251" y="16"/>
                      <a:pt x="251" y="17"/>
                    </a:cubicBezTo>
                    <a:cubicBezTo>
                      <a:pt x="250" y="18"/>
                      <a:pt x="248" y="19"/>
                      <a:pt x="248" y="19"/>
                    </a:cubicBezTo>
                    <a:cubicBezTo>
                      <a:pt x="248" y="19"/>
                      <a:pt x="244" y="22"/>
                      <a:pt x="243" y="21"/>
                    </a:cubicBezTo>
                    <a:cubicBezTo>
                      <a:pt x="241" y="20"/>
                      <a:pt x="240" y="19"/>
                      <a:pt x="242" y="18"/>
                    </a:cubicBezTo>
                    <a:cubicBezTo>
                      <a:pt x="243" y="16"/>
                      <a:pt x="244" y="13"/>
                      <a:pt x="242" y="12"/>
                    </a:cubicBezTo>
                    <a:cubicBezTo>
                      <a:pt x="241" y="11"/>
                      <a:pt x="241" y="6"/>
                      <a:pt x="240" y="4"/>
                    </a:cubicBezTo>
                    <a:cubicBezTo>
                      <a:pt x="239" y="2"/>
                      <a:pt x="237" y="1"/>
                      <a:pt x="236" y="2"/>
                    </a:cubicBezTo>
                    <a:cubicBezTo>
                      <a:pt x="234" y="4"/>
                      <a:pt x="233" y="5"/>
                      <a:pt x="231" y="3"/>
                    </a:cubicBezTo>
                    <a:cubicBezTo>
                      <a:pt x="229" y="1"/>
                      <a:pt x="226" y="1"/>
                      <a:pt x="224" y="1"/>
                    </a:cubicBezTo>
                    <a:cubicBezTo>
                      <a:pt x="222" y="0"/>
                      <a:pt x="220" y="1"/>
                      <a:pt x="219" y="2"/>
                    </a:cubicBezTo>
                    <a:cubicBezTo>
                      <a:pt x="217" y="4"/>
                      <a:pt x="215" y="2"/>
                      <a:pt x="214" y="4"/>
                    </a:cubicBezTo>
                    <a:cubicBezTo>
                      <a:pt x="212" y="6"/>
                      <a:pt x="209" y="7"/>
                      <a:pt x="208" y="8"/>
                    </a:cubicBezTo>
                    <a:cubicBezTo>
                      <a:pt x="207" y="8"/>
                      <a:pt x="199" y="11"/>
                      <a:pt x="197" y="11"/>
                    </a:cubicBezTo>
                    <a:cubicBezTo>
                      <a:pt x="195" y="12"/>
                      <a:pt x="191" y="12"/>
                      <a:pt x="189" y="12"/>
                    </a:cubicBezTo>
                    <a:cubicBezTo>
                      <a:pt x="186" y="12"/>
                      <a:pt x="183" y="13"/>
                      <a:pt x="184" y="15"/>
                    </a:cubicBezTo>
                    <a:cubicBezTo>
                      <a:pt x="184" y="17"/>
                      <a:pt x="183" y="18"/>
                      <a:pt x="182" y="17"/>
                    </a:cubicBezTo>
                    <a:cubicBezTo>
                      <a:pt x="182" y="16"/>
                      <a:pt x="175" y="17"/>
                      <a:pt x="172" y="17"/>
                    </a:cubicBezTo>
                    <a:cubicBezTo>
                      <a:pt x="170" y="18"/>
                      <a:pt x="163" y="20"/>
                      <a:pt x="162" y="21"/>
                    </a:cubicBezTo>
                    <a:cubicBezTo>
                      <a:pt x="160" y="22"/>
                      <a:pt x="158" y="25"/>
                      <a:pt x="157" y="24"/>
                    </a:cubicBezTo>
                    <a:cubicBezTo>
                      <a:pt x="156" y="23"/>
                      <a:pt x="151" y="23"/>
                      <a:pt x="151" y="23"/>
                    </a:cubicBezTo>
                    <a:cubicBezTo>
                      <a:pt x="146" y="22"/>
                      <a:pt x="146" y="22"/>
                      <a:pt x="146" y="22"/>
                    </a:cubicBezTo>
                    <a:cubicBezTo>
                      <a:pt x="142" y="24"/>
                      <a:pt x="142" y="24"/>
                      <a:pt x="142" y="24"/>
                    </a:cubicBezTo>
                    <a:cubicBezTo>
                      <a:pt x="144" y="26"/>
                      <a:pt x="144" y="26"/>
                      <a:pt x="144" y="26"/>
                    </a:cubicBezTo>
                    <a:cubicBezTo>
                      <a:pt x="144" y="26"/>
                      <a:pt x="139" y="29"/>
                      <a:pt x="142" y="29"/>
                    </a:cubicBezTo>
                    <a:cubicBezTo>
                      <a:pt x="145" y="29"/>
                      <a:pt x="148" y="30"/>
                      <a:pt x="148" y="30"/>
                    </a:cubicBezTo>
                    <a:cubicBezTo>
                      <a:pt x="144" y="32"/>
                      <a:pt x="144" y="32"/>
                      <a:pt x="144" y="32"/>
                    </a:cubicBezTo>
                    <a:cubicBezTo>
                      <a:pt x="144" y="32"/>
                      <a:pt x="146" y="36"/>
                      <a:pt x="147" y="36"/>
                    </a:cubicBezTo>
                    <a:cubicBezTo>
                      <a:pt x="148" y="36"/>
                      <a:pt x="153" y="37"/>
                      <a:pt x="153" y="38"/>
                    </a:cubicBezTo>
                    <a:cubicBezTo>
                      <a:pt x="154" y="39"/>
                      <a:pt x="151" y="40"/>
                      <a:pt x="150" y="40"/>
                    </a:cubicBezTo>
                    <a:cubicBezTo>
                      <a:pt x="149" y="40"/>
                      <a:pt x="146" y="38"/>
                      <a:pt x="144" y="40"/>
                    </a:cubicBezTo>
                    <a:cubicBezTo>
                      <a:pt x="142" y="42"/>
                      <a:pt x="140" y="44"/>
                      <a:pt x="140" y="44"/>
                    </a:cubicBezTo>
                    <a:cubicBezTo>
                      <a:pt x="143" y="50"/>
                      <a:pt x="143" y="50"/>
                      <a:pt x="143" y="50"/>
                    </a:cubicBezTo>
                    <a:cubicBezTo>
                      <a:pt x="143" y="50"/>
                      <a:pt x="132" y="55"/>
                      <a:pt x="133" y="56"/>
                    </a:cubicBezTo>
                    <a:cubicBezTo>
                      <a:pt x="134" y="57"/>
                      <a:pt x="138" y="59"/>
                      <a:pt x="138" y="59"/>
                    </a:cubicBezTo>
                    <a:cubicBezTo>
                      <a:pt x="138" y="59"/>
                      <a:pt x="136" y="62"/>
                      <a:pt x="138" y="62"/>
                    </a:cubicBezTo>
                    <a:cubicBezTo>
                      <a:pt x="140" y="62"/>
                      <a:pt x="142" y="64"/>
                      <a:pt x="143" y="64"/>
                    </a:cubicBezTo>
                    <a:cubicBezTo>
                      <a:pt x="145" y="64"/>
                      <a:pt x="147" y="66"/>
                      <a:pt x="147" y="66"/>
                    </a:cubicBezTo>
                    <a:cubicBezTo>
                      <a:pt x="147" y="66"/>
                      <a:pt x="148" y="69"/>
                      <a:pt x="147" y="72"/>
                    </a:cubicBezTo>
                    <a:cubicBezTo>
                      <a:pt x="147" y="74"/>
                      <a:pt x="147" y="77"/>
                      <a:pt x="142" y="77"/>
                    </a:cubicBezTo>
                    <a:cubicBezTo>
                      <a:pt x="137" y="77"/>
                      <a:pt x="134" y="74"/>
                      <a:pt x="134" y="74"/>
                    </a:cubicBezTo>
                    <a:cubicBezTo>
                      <a:pt x="131" y="77"/>
                      <a:pt x="131" y="77"/>
                      <a:pt x="131" y="77"/>
                    </a:cubicBezTo>
                    <a:cubicBezTo>
                      <a:pt x="131" y="77"/>
                      <a:pt x="129" y="81"/>
                      <a:pt x="128" y="80"/>
                    </a:cubicBezTo>
                    <a:cubicBezTo>
                      <a:pt x="127" y="78"/>
                      <a:pt x="127" y="77"/>
                      <a:pt x="125" y="77"/>
                    </a:cubicBezTo>
                    <a:cubicBezTo>
                      <a:pt x="123" y="77"/>
                      <a:pt x="119" y="77"/>
                      <a:pt x="119" y="74"/>
                    </a:cubicBezTo>
                    <a:cubicBezTo>
                      <a:pt x="118" y="71"/>
                      <a:pt x="114" y="69"/>
                      <a:pt x="114" y="69"/>
                    </a:cubicBezTo>
                    <a:cubicBezTo>
                      <a:pt x="111" y="70"/>
                      <a:pt x="111" y="70"/>
                      <a:pt x="111" y="70"/>
                    </a:cubicBezTo>
                    <a:cubicBezTo>
                      <a:pt x="111" y="70"/>
                      <a:pt x="111" y="72"/>
                      <a:pt x="110" y="72"/>
                    </a:cubicBezTo>
                    <a:cubicBezTo>
                      <a:pt x="108" y="73"/>
                      <a:pt x="105" y="72"/>
                      <a:pt x="105" y="71"/>
                    </a:cubicBezTo>
                    <a:cubicBezTo>
                      <a:pt x="104" y="70"/>
                      <a:pt x="101" y="70"/>
                      <a:pt x="101" y="70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97" y="71"/>
                      <a:pt x="97" y="71"/>
                      <a:pt x="97" y="71"/>
                    </a:cubicBezTo>
                    <a:cubicBezTo>
                      <a:pt x="95" y="74"/>
                      <a:pt x="95" y="74"/>
                      <a:pt x="95" y="74"/>
                    </a:cubicBezTo>
                    <a:cubicBezTo>
                      <a:pt x="90" y="78"/>
                      <a:pt x="90" y="78"/>
                      <a:pt x="90" y="78"/>
                    </a:cubicBezTo>
                    <a:cubicBezTo>
                      <a:pt x="84" y="74"/>
                      <a:pt x="84" y="74"/>
                      <a:pt x="84" y="74"/>
                    </a:cubicBezTo>
                    <a:cubicBezTo>
                      <a:pt x="81" y="74"/>
                      <a:pt x="81" y="74"/>
                      <a:pt x="81" y="74"/>
                    </a:cubicBezTo>
                    <a:cubicBezTo>
                      <a:pt x="81" y="74"/>
                      <a:pt x="80" y="78"/>
                      <a:pt x="79" y="78"/>
                    </a:cubicBezTo>
                    <a:cubicBezTo>
                      <a:pt x="78" y="78"/>
                      <a:pt x="78" y="74"/>
                      <a:pt x="78" y="74"/>
                    </a:cubicBezTo>
                    <a:cubicBezTo>
                      <a:pt x="78" y="74"/>
                      <a:pt x="75" y="70"/>
                      <a:pt x="74" y="69"/>
                    </a:cubicBezTo>
                    <a:cubicBezTo>
                      <a:pt x="74" y="68"/>
                      <a:pt x="69" y="68"/>
                      <a:pt x="70" y="67"/>
                    </a:cubicBezTo>
                    <a:cubicBezTo>
                      <a:pt x="71" y="66"/>
                      <a:pt x="67" y="64"/>
                      <a:pt x="65" y="64"/>
                    </a:cubicBezTo>
                    <a:cubicBezTo>
                      <a:pt x="63" y="64"/>
                      <a:pt x="60" y="63"/>
                      <a:pt x="60" y="63"/>
                    </a:cubicBezTo>
                    <a:cubicBezTo>
                      <a:pt x="56" y="59"/>
                      <a:pt x="56" y="59"/>
                      <a:pt x="56" y="59"/>
                    </a:cubicBezTo>
                    <a:cubicBezTo>
                      <a:pt x="51" y="62"/>
                      <a:pt x="51" y="62"/>
                      <a:pt x="51" y="62"/>
                    </a:cubicBezTo>
                    <a:cubicBezTo>
                      <a:pt x="51" y="62"/>
                      <a:pt x="49" y="67"/>
                      <a:pt x="49" y="65"/>
                    </a:cubicBezTo>
                    <a:cubicBezTo>
                      <a:pt x="48" y="64"/>
                      <a:pt x="46" y="62"/>
                      <a:pt x="47" y="61"/>
                    </a:cubicBezTo>
                    <a:cubicBezTo>
                      <a:pt x="48" y="60"/>
                      <a:pt x="42" y="60"/>
                      <a:pt x="42" y="60"/>
                    </a:cubicBezTo>
                    <a:cubicBezTo>
                      <a:pt x="42" y="60"/>
                      <a:pt x="42" y="62"/>
                      <a:pt x="40" y="64"/>
                    </a:cubicBezTo>
                    <a:cubicBezTo>
                      <a:pt x="37" y="67"/>
                      <a:pt x="33" y="68"/>
                      <a:pt x="32" y="69"/>
                    </a:cubicBezTo>
                    <a:cubicBezTo>
                      <a:pt x="31" y="70"/>
                      <a:pt x="28" y="69"/>
                      <a:pt x="28" y="71"/>
                    </a:cubicBezTo>
                    <a:cubicBezTo>
                      <a:pt x="28" y="73"/>
                      <a:pt x="28" y="74"/>
                      <a:pt x="26" y="74"/>
                    </a:cubicBezTo>
                    <a:cubicBezTo>
                      <a:pt x="25" y="74"/>
                      <a:pt x="23" y="77"/>
                      <a:pt x="22" y="77"/>
                    </a:cubicBezTo>
                    <a:cubicBezTo>
                      <a:pt x="21" y="77"/>
                      <a:pt x="21" y="83"/>
                      <a:pt x="22" y="84"/>
                    </a:cubicBezTo>
                    <a:cubicBezTo>
                      <a:pt x="22" y="85"/>
                      <a:pt x="24" y="86"/>
                      <a:pt x="22" y="87"/>
                    </a:cubicBezTo>
                    <a:cubicBezTo>
                      <a:pt x="21" y="88"/>
                      <a:pt x="18" y="89"/>
                      <a:pt x="18" y="89"/>
                    </a:cubicBezTo>
                    <a:cubicBezTo>
                      <a:pt x="18" y="89"/>
                      <a:pt x="15" y="82"/>
                      <a:pt x="12" y="81"/>
                    </a:cubicBezTo>
                    <a:cubicBezTo>
                      <a:pt x="9" y="80"/>
                      <a:pt x="10" y="81"/>
                      <a:pt x="9" y="84"/>
                    </a:cubicBezTo>
                    <a:cubicBezTo>
                      <a:pt x="8" y="88"/>
                      <a:pt x="6" y="88"/>
                      <a:pt x="5" y="89"/>
                    </a:cubicBezTo>
                    <a:cubicBezTo>
                      <a:pt x="4" y="89"/>
                      <a:pt x="4" y="94"/>
                      <a:pt x="3" y="96"/>
                    </a:cubicBezTo>
                    <a:cubicBezTo>
                      <a:pt x="3" y="97"/>
                      <a:pt x="4" y="100"/>
                      <a:pt x="5" y="101"/>
                    </a:cubicBezTo>
                    <a:cubicBezTo>
                      <a:pt x="5" y="102"/>
                      <a:pt x="1" y="106"/>
                      <a:pt x="0" y="108"/>
                    </a:cubicBezTo>
                    <a:cubicBezTo>
                      <a:pt x="0" y="110"/>
                      <a:pt x="2" y="111"/>
                      <a:pt x="3" y="112"/>
                    </a:cubicBezTo>
                    <a:cubicBezTo>
                      <a:pt x="5" y="113"/>
                      <a:pt x="6" y="116"/>
                      <a:pt x="6" y="117"/>
                    </a:cubicBezTo>
                    <a:cubicBezTo>
                      <a:pt x="6" y="118"/>
                      <a:pt x="6" y="122"/>
                      <a:pt x="8" y="121"/>
                    </a:cubicBezTo>
                    <a:cubicBezTo>
                      <a:pt x="10" y="120"/>
                      <a:pt x="16" y="119"/>
                      <a:pt x="16" y="121"/>
                    </a:cubicBezTo>
                    <a:cubicBezTo>
                      <a:pt x="17" y="123"/>
                      <a:pt x="21" y="124"/>
                      <a:pt x="21" y="126"/>
                    </a:cubicBezTo>
                    <a:cubicBezTo>
                      <a:pt x="21" y="128"/>
                      <a:pt x="25" y="134"/>
                      <a:pt x="24" y="135"/>
                    </a:cubicBezTo>
                    <a:cubicBezTo>
                      <a:pt x="24" y="136"/>
                      <a:pt x="22" y="135"/>
                      <a:pt x="21" y="135"/>
                    </a:cubicBezTo>
                    <a:cubicBezTo>
                      <a:pt x="20" y="134"/>
                      <a:pt x="21" y="137"/>
                      <a:pt x="22" y="138"/>
                    </a:cubicBezTo>
                    <a:cubicBezTo>
                      <a:pt x="24" y="139"/>
                      <a:pt x="26" y="141"/>
                      <a:pt x="26" y="141"/>
                    </a:cubicBezTo>
                    <a:cubicBezTo>
                      <a:pt x="28" y="141"/>
                      <a:pt x="30" y="139"/>
                      <a:pt x="32" y="138"/>
                    </a:cubicBezTo>
                    <a:cubicBezTo>
                      <a:pt x="35" y="136"/>
                      <a:pt x="41" y="133"/>
                      <a:pt x="44" y="132"/>
                    </a:cubicBezTo>
                    <a:cubicBezTo>
                      <a:pt x="46" y="130"/>
                      <a:pt x="51" y="134"/>
                      <a:pt x="51" y="134"/>
                    </a:cubicBezTo>
                    <a:cubicBezTo>
                      <a:pt x="51" y="134"/>
                      <a:pt x="57" y="136"/>
                      <a:pt x="59" y="135"/>
                    </a:cubicBezTo>
                    <a:cubicBezTo>
                      <a:pt x="61" y="133"/>
                      <a:pt x="64" y="136"/>
                      <a:pt x="63" y="139"/>
                    </a:cubicBezTo>
                    <a:cubicBezTo>
                      <a:pt x="62" y="142"/>
                      <a:pt x="63" y="149"/>
                      <a:pt x="62" y="152"/>
                    </a:cubicBezTo>
                    <a:cubicBezTo>
                      <a:pt x="60" y="155"/>
                      <a:pt x="53" y="154"/>
                      <a:pt x="50" y="153"/>
                    </a:cubicBezTo>
                    <a:cubicBezTo>
                      <a:pt x="48" y="153"/>
                      <a:pt x="47" y="159"/>
                      <a:pt x="44" y="160"/>
                    </a:cubicBezTo>
                    <a:cubicBezTo>
                      <a:pt x="41" y="162"/>
                      <a:pt x="48" y="164"/>
                      <a:pt x="46" y="166"/>
                    </a:cubicBezTo>
                    <a:cubicBezTo>
                      <a:pt x="44" y="168"/>
                      <a:pt x="40" y="165"/>
                      <a:pt x="38" y="164"/>
                    </a:cubicBezTo>
                    <a:cubicBezTo>
                      <a:pt x="35" y="163"/>
                      <a:pt x="38" y="169"/>
                      <a:pt x="40" y="170"/>
                    </a:cubicBezTo>
                    <a:cubicBezTo>
                      <a:pt x="41" y="170"/>
                      <a:pt x="43" y="172"/>
                      <a:pt x="45" y="175"/>
                    </a:cubicBezTo>
                    <a:cubicBezTo>
                      <a:pt x="46" y="177"/>
                      <a:pt x="46" y="185"/>
                      <a:pt x="47" y="185"/>
                    </a:cubicBezTo>
                    <a:cubicBezTo>
                      <a:pt x="49" y="184"/>
                      <a:pt x="47" y="185"/>
                      <a:pt x="52" y="188"/>
                    </a:cubicBezTo>
                    <a:cubicBezTo>
                      <a:pt x="57" y="191"/>
                      <a:pt x="57" y="189"/>
                      <a:pt x="60" y="189"/>
                    </a:cubicBezTo>
                    <a:cubicBezTo>
                      <a:pt x="63" y="190"/>
                      <a:pt x="60" y="194"/>
                      <a:pt x="59" y="196"/>
                    </a:cubicBezTo>
                    <a:cubicBezTo>
                      <a:pt x="58" y="199"/>
                      <a:pt x="59" y="203"/>
                      <a:pt x="59" y="203"/>
                    </a:cubicBezTo>
                    <a:cubicBezTo>
                      <a:pt x="61" y="201"/>
                      <a:pt x="65" y="195"/>
                      <a:pt x="72" y="196"/>
                    </a:cubicBezTo>
                    <a:cubicBezTo>
                      <a:pt x="80" y="197"/>
                      <a:pt x="81" y="203"/>
                      <a:pt x="84" y="206"/>
                    </a:cubicBezTo>
                    <a:cubicBezTo>
                      <a:pt x="87" y="208"/>
                      <a:pt x="89" y="210"/>
                      <a:pt x="89" y="210"/>
                    </a:cubicBezTo>
                    <a:cubicBezTo>
                      <a:pt x="94" y="210"/>
                      <a:pt x="94" y="210"/>
                      <a:pt x="94" y="210"/>
                    </a:cubicBezTo>
                    <a:cubicBezTo>
                      <a:pt x="93" y="160"/>
                      <a:pt x="93" y="160"/>
                      <a:pt x="93" y="160"/>
                    </a:cubicBezTo>
                    <a:cubicBezTo>
                      <a:pt x="118" y="152"/>
                      <a:pt x="118" y="152"/>
                      <a:pt x="118" y="152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20" y="147"/>
                      <a:pt x="120" y="147"/>
                      <a:pt x="120" y="147"/>
                    </a:cubicBezTo>
                    <a:cubicBezTo>
                      <a:pt x="125" y="145"/>
                      <a:pt x="125" y="145"/>
                      <a:pt x="125" y="145"/>
                    </a:cubicBezTo>
                    <a:cubicBezTo>
                      <a:pt x="125" y="145"/>
                      <a:pt x="125" y="148"/>
                      <a:pt x="127" y="149"/>
                    </a:cubicBezTo>
                    <a:cubicBezTo>
                      <a:pt x="129" y="150"/>
                      <a:pt x="129" y="145"/>
                      <a:pt x="129" y="143"/>
                    </a:cubicBezTo>
                    <a:cubicBezTo>
                      <a:pt x="128" y="141"/>
                      <a:pt x="131" y="141"/>
                      <a:pt x="131" y="142"/>
                    </a:cubicBezTo>
                    <a:cubicBezTo>
                      <a:pt x="132" y="144"/>
                      <a:pt x="136" y="143"/>
                      <a:pt x="139" y="143"/>
                    </a:cubicBezTo>
                    <a:cubicBezTo>
                      <a:pt x="143" y="144"/>
                      <a:pt x="139" y="142"/>
                      <a:pt x="137" y="141"/>
                    </a:cubicBezTo>
                    <a:cubicBezTo>
                      <a:pt x="134" y="140"/>
                      <a:pt x="133" y="140"/>
                      <a:pt x="132" y="139"/>
                    </a:cubicBezTo>
                    <a:cubicBezTo>
                      <a:pt x="132" y="138"/>
                      <a:pt x="135" y="136"/>
                      <a:pt x="137" y="137"/>
                    </a:cubicBezTo>
                    <a:cubicBezTo>
                      <a:pt x="139" y="138"/>
                      <a:pt x="140" y="134"/>
                      <a:pt x="140" y="136"/>
                    </a:cubicBezTo>
                    <a:cubicBezTo>
                      <a:pt x="141" y="137"/>
                      <a:pt x="142" y="139"/>
                      <a:pt x="143" y="138"/>
                    </a:cubicBezTo>
                    <a:cubicBezTo>
                      <a:pt x="145" y="137"/>
                      <a:pt x="149" y="134"/>
                      <a:pt x="149" y="134"/>
                    </a:cubicBezTo>
                    <a:cubicBezTo>
                      <a:pt x="149" y="134"/>
                      <a:pt x="146" y="140"/>
                      <a:pt x="143" y="143"/>
                    </a:cubicBezTo>
                    <a:cubicBezTo>
                      <a:pt x="140" y="145"/>
                      <a:pt x="141" y="150"/>
                      <a:pt x="142" y="152"/>
                    </a:cubicBezTo>
                    <a:cubicBezTo>
                      <a:pt x="142" y="154"/>
                      <a:pt x="144" y="156"/>
                      <a:pt x="148" y="159"/>
                    </a:cubicBezTo>
                    <a:cubicBezTo>
                      <a:pt x="151" y="161"/>
                      <a:pt x="147" y="163"/>
                      <a:pt x="145" y="162"/>
                    </a:cubicBezTo>
                    <a:cubicBezTo>
                      <a:pt x="142" y="162"/>
                      <a:pt x="143" y="169"/>
                      <a:pt x="143" y="169"/>
                    </a:cubicBezTo>
                    <a:cubicBezTo>
                      <a:pt x="149" y="177"/>
                      <a:pt x="149" y="177"/>
                      <a:pt x="149" y="177"/>
                    </a:cubicBezTo>
                    <a:cubicBezTo>
                      <a:pt x="152" y="182"/>
                      <a:pt x="152" y="182"/>
                      <a:pt x="152" y="182"/>
                    </a:cubicBezTo>
                    <a:cubicBezTo>
                      <a:pt x="165" y="178"/>
                      <a:pt x="165" y="178"/>
                      <a:pt x="165" y="178"/>
                    </a:cubicBezTo>
                    <a:cubicBezTo>
                      <a:pt x="177" y="179"/>
                      <a:pt x="177" y="179"/>
                      <a:pt x="177" y="179"/>
                    </a:cubicBezTo>
                    <a:cubicBezTo>
                      <a:pt x="182" y="176"/>
                      <a:pt x="182" y="176"/>
                      <a:pt x="182" y="176"/>
                    </a:cubicBezTo>
                    <a:cubicBezTo>
                      <a:pt x="187" y="182"/>
                      <a:pt x="187" y="182"/>
                      <a:pt x="187" y="182"/>
                    </a:cubicBezTo>
                    <a:cubicBezTo>
                      <a:pt x="189" y="188"/>
                      <a:pt x="189" y="188"/>
                      <a:pt x="189" y="188"/>
                    </a:cubicBezTo>
                    <a:cubicBezTo>
                      <a:pt x="193" y="188"/>
                      <a:pt x="193" y="188"/>
                      <a:pt x="193" y="188"/>
                    </a:cubicBezTo>
                    <a:cubicBezTo>
                      <a:pt x="193" y="196"/>
                      <a:pt x="193" y="196"/>
                      <a:pt x="193" y="196"/>
                    </a:cubicBezTo>
                    <a:cubicBezTo>
                      <a:pt x="192" y="201"/>
                      <a:pt x="192" y="201"/>
                      <a:pt x="192" y="201"/>
                    </a:cubicBezTo>
                    <a:cubicBezTo>
                      <a:pt x="196" y="202"/>
                      <a:pt x="196" y="202"/>
                      <a:pt x="196" y="202"/>
                    </a:cubicBezTo>
                    <a:cubicBezTo>
                      <a:pt x="197" y="210"/>
                      <a:pt x="197" y="210"/>
                      <a:pt x="197" y="210"/>
                    </a:cubicBezTo>
                    <a:cubicBezTo>
                      <a:pt x="211" y="212"/>
                      <a:pt x="211" y="212"/>
                      <a:pt x="211" y="212"/>
                    </a:cubicBezTo>
                    <a:cubicBezTo>
                      <a:pt x="218" y="214"/>
                      <a:pt x="218" y="214"/>
                      <a:pt x="218" y="214"/>
                    </a:cubicBezTo>
                    <a:cubicBezTo>
                      <a:pt x="224" y="208"/>
                      <a:pt x="224" y="208"/>
                      <a:pt x="224" y="208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35" y="198"/>
                      <a:pt x="235" y="198"/>
                      <a:pt x="235" y="198"/>
                    </a:cubicBezTo>
                    <a:cubicBezTo>
                      <a:pt x="237" y="199"/>
                      <a:pt x="237" y="199"/>
                      <a:pt x="237" y="199"/>
                    </a:cubicBezTo>
                    <a:cubicBezTo>
                      <a:pt x="237" y="199"/>
                      <a:pt x="238" y="199"/>
                      <a:pt x="239" y="199"/>
                    </a:cubicBezTo>
                    <a:cubicBezTo>
                      <a:pt x="239" y="199"/>
                      <a:pt x="238" y="199"/>
                      <a:pt x="238" y="199"/>
                    </a:cubicBezTo>
                    <a:cubicBezTo>
                      <a:pt x="240" y="196"/>
                      <a:pt x="241" y="191"/>
                      <a:pt x="242" y="190"/>
                    </a:cubicBezTo>
                    <a:cubicBezTo>
                      <a:pt x="243" y="189"/>
                      <a:pt x="249" y="189"/>
                      <a:pt x="251" y="189"/>
                    </a:cubicBezTo>
                    <a:cubicBezTo>
                      <a:pt x="254" y="189"/>
                      <a:pt x="265" y="195"/>
                      <a:pt x="265" y="195"/>
                    </a:cubicBezTo>
                    <a:cubicBezTo>
                      <a:pt x="265" y="195"/>
                      <a:pt x="265" y="190"/>
                      <a:pt x="265" y="188"/>
                    </a:cubicBezTo>
                    <a:cubicBezTo>
                      <a:pt x="265" y="187"/>
                      <a:pt x="268" y="185"/>
                      <a:pt x="271" y="185"/>
                    </a:cubicBezTo>
                    <a:cubicBezTo>
                      <a:pt x="273" y="184"/>
                      <a:pt x="280" y="188"/>
                      <a:pt x="282" y="189"/>
                    </a:cubicBezTo>
                    <a:cubicBezTo>
                      <a:pt x="283" y="190"/>
                      <a:pt x="291" y="189"/>
                      <a:pt x="292" y="188"/>
                    </a:cubicBezTo>
                    <a:cubicBezTo>
                      <a:pt x="293" y="188"/>
                      <a:pt x="300" y="187"/>
                      <a:pt x="302" y="187"/>
                    </a:cubicBezTo>
                    <a:cubicBezTo>
                      <a:pt x="304" y="187"/>
                      <a:pt x="316" y="189"/>
                      <a:pt x="318" y="190"/>
                    </a:cubicBezTo>
                    <a:cubicBezTo>
                      <a:pt x="320" y="190"/>
                      <a:pt x="327" y="195"/>
                      <a:pt x="330" y="197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31" y="197"/>
                      <a:pt x="331" y="194"/>
                      <a:pt x="331" y="192"/>
                    </a:cubicBezTo>
                    <a:cubicBezTo>
                      <a:pt x="331" y="190"/>
                      <a:pt x="333" y="190"/>
                      <a:pt x="334" y="190"/>
                    </a:cubicBezTo>
                    <a:cubicBezTo>
                      <a:pt x="336" y="189"/>
                      <a:pt x="333" y="187"/>
                      <a:pt x="333" y="187"/>
                    </a:cubicBezTo>
                    <a:cubicBezTo>
                      <a:pt x="333" y="187"/>
                      <a:pt x="336" y="185"/>
                      <a:pt x="336" y="184"/>
                    </a:cubicBezTo>
                    <a:cubicBezTo>
                      <a:pt x="336" y="183"/>
                      <a:pt x="335" y="176"/>
                      <a:pt x="335" y="176"/>
                    </a:cubicBezTo>
                    <a:cubicBezTo>
                      <a:pt x="335" y="176"/>
                      <a:pt x="333" y="165"/>
                      <a:pt x="333" y="163"/>
                    </a:cubicBezTo>
                    <a:cubicBezTo>
                      <a:pt x="334" y="162"/>
                      <a:pt x="328" y="162"/>
                      <a:pt x="328" y="161"/>
                    </a:cubicBezTo>
                    <a:cubicBezTo>
                      <a:pt x="328" y="160"/>
                      <a:pt x="335" y="158"/>
                      <a:pt x="339" y="157"/>
                    </a:cubicBezTo>
                    <a:cubicBezTo>
                      <a:pt x="342" y="156"/>
                      <a:pt x="345" y="155"/>
                      <a:pt x="345" y="155"/>
                    </a:cubicBezTo>
                    <a:cubicBezTo>
                      <a:pt x="345" y="155"/>
                      <a:pt x="350" y="157"/>
                      <a:pt x="352" y="157"/>
                    </a:cubicBezTo>
                    <a:cubicBezTo>
                      <a:pt x="354" y="157"/>
                      <a:pt x="354" y="158"/>
                      <a:pt x="355" y="156"/>
                    </a:cubicBezTo>
                    <a:cubicBezTo>
                      <a:pt x="355" y="154"/>
                      <a:pt x="354" y="152"/>
                      <a:pt x="352" y="151"/>
                    </a:cubicBezTo>
                    <a:cubicBezTo>
                      <a:pt x="350" y="149"/>
                      <a:pt x="353" y="147"/>
                      <a:pt x="353" y="144"/>
                    </a:cubicBezTo>
                    <a:cubicBezTo>
                      <a:pt x="354" y="140"/>
                      <a:pt x="359" y="128"/>
                      <a:pt x="359" y="128"/>
                    </a:cubicBezTo>
                    <a:cubicBezTo>
                      <a:pt x="359" y="128"/>
                      <a:pt x="367" y="132"/>
                      <a:pt x="369" y="131"/>
                    </a:cubicBezTo>
                    <a:cubicBezTo>
                      <a:pt x="372" y="130"/>
                      <a:pt x="376" y="133"/>
                      <a:pt x="377" y="134"/>
                    </a:cubicBezTo>
                    <a:cubicBezTo>
                      <a:pt x="379" y="134"/>
                      <a:pt x="383" y="129"/>
                      <a:pt x="384" y="127"/>
                    </a:cubicBezTo>
                    <a:cubicBezTo>
                      <a:pt x="386" y="125"/>
                      <a:pt x="383" y="119"/>
                      <a:pt x="384" y="115"/>
                    </a:cubicBezTo>
                    <a:cubicBezTo>
                      <a:pt x="385" y="111"/>
                      <a:pt x="390" y="110"/>
                      <a:pt x="393" y="109"/>
                    </a:cubicBezTo>
                    <a:cubicBezTo>
                      <a:pt x="397" y="107"/>
                      <a:pt x="394" y="103"/>
                      <a:pt x="396" y="101"/>
                    </a:cubicBezTo>
                    <a:cubicBezTo>
                      <a:pt x="397" y="100"/>
                      <a:pt x="403" y="101"/>
                      <a:pt x="403" y="101"/>
                    </a:cubicBezTo>
                    <a:cubicBezTo>
                      <a:pt x="403" y="101"/>
                      <a:pt x="403" y="101"/>
                      <a:pt x="403" y="100"/>
                    </a:cubicBezTo>
                    <a:cubicBezTo>
                      <a:pt x="402" y="100"/>
                      <a:pt x="401" y="99"/>
                      <a:pt x="399" y="98"/>
                    </a:cubicBezTo>
                    <a:close/>
                    <a:moveTo>
                      <a:pt x="318" y="142"/>
                    </a:moveTo>
                    <a:cubicBezTo>
                      <a:pt x="314" y="142"/>
                      <a:pt x="308" y="140"/>
                      <a:pt x="304" y="140"/>
                    </a:cubicBezTo>
                    <a:cubicBezTo>
                      <a:pt x="301" y="140"/>
                      <a:pt x="296" y="139"/>
                      <a:pt x="291" y="139"/>
                    </a:cubicBezTo>
                    <a:cubicBezTo>
                      <a:pt x="286" y="139"/>
                      <a:pt x="282" y="139"/>
                      <a:pt x="278" y="142"/>
                    </a:cubicBezTo>
                    <a:cubicBezTo>
                      <a:pt x="275" y="144"/>
                      <a:pt x="272" y="147"/>
                      <a:pt x="271" y="150"/>
                    </a:cubicBezTo>
                    <a:cubicBezTo>
                      <a:pt x="270" y="152"/>
                      <a:pt x="272" y="160"/>
                      <a:pt x="270" y="159"/>
                    </a:cubicBezTo>
                    <a:cubicBezTo>
                      <a:pt x="267" y="158"/>
                      <a:pt x="263" y="153"/>
                      <a:pt x="265" y="150"/>
                    </a:cubicBezTo>
                    <a:cubicBezTo>
                      <a:pt x="266" y="146"/>
                      <a:pt x="270" y="144"/>
                      <a:pt x="272" y="141"/>
                    </a:cubicBezTo>
                    <a:cubicBezTo>
                      <a:pt x="274" y="138"/>
                      <a:pt x="278" y="133"/>
                      <a:pt x="280" y="134"/>
                    </a:cubicBezTo>
                    <a:cubicBezTo>
                      <a:pt x="282" y="136"/>
                      <a:pt x="281" y="139"/>
                      <a:pt x="285" y="136"/>
                    </a:cubicBezTo>
                    <a:cubicBezTo>
                      <a:pt x="288" y="133"/>
                      <a:pt x="292" y="134"/>
                      <a:pt x="295" y="136"/>
                    </a:cubicBezTo>
                    <a:cubicBezTo>
                      <a:pt x="297" y="138"/>
                      <a:pt x="302" y="138"/>
                      <a:pt x="304" y="137"/>
                    </a:cubicBezTo>
                    <a:cubicBezTo>
                      <a:pt x="306" y="136"/>
                      <a:pt x="310" y="138"/>
                      <a:pt x="311" y="138"/>
                    </a:cubicBezTo>
                    <a:cubicBezTo>
                      <a:pt x="313" y="139"/>
                      <a:pt x="315" y="136"/>
                      <a:pt x="316" y="135"/>
                    </a:cubicBezTo>
                    <a:cubicBezTo>
                      <a:pt x="318" y="135"/>
                      <a:pt x="321" y="135"/>
                      <a:pt x="321" y="135"/>
                    </a:cubicBezTo>
                    <a:cubicBezTo>
                      <a:pt x="321" y="135"/>
                      <a:pt x="322" y="142"/>
                      <a:pt x="318" y="142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  <a:lumOff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3" name="Freeform 88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853158" y="5081589"/>
                <a:ext cx="71826" cy="147637"/>
              </a:xfrm>
              <a:custGeom>
                <a:avLst/>
                <a:gdLst>
                  <a:gd name="T0" fmla="*/ 2147483647 w 18"/>
                  <a:gd name="T1" fmla="*/ 2147483647 h 37"/>
                  <a:gd name="T2" fmla="*/ 2147483647 w 18"/>
                  <a:gd name="T3" fmla="*/ 2147483647 h 37"/>
                  <a:gd name="T4" fmla="*/ 2147483647 w 18"/>
                  <a:gd name="T5" fmla="*/ 2147483647 h 37"/>
                  <a:gd name="T6" fmla="*/ 2147483647 w 18"/>
                  <a:gd name="T7" fmla="*/ 2147483647 h 37"/>
                  <a:gd name="T8" fmla="*/ 2147483647 w 18"/>
                  <a:gd name="T9" fmla="*/ 2147483647 h 37"/>
                  <a:gd name="T10" fmla="*/ 2147483647 w 18"/>
                  <a:gd name="T11" fmla="*/ 2147483647 h 37"/>
                  <a:gd name="T12" fmla="*/ 2147483647 w 18"/>
                  <a:gd name="T13" fmla="*/ 2147483647 h 37"/>
                  <a:gd name="T14" fmla="*/ 2147483647 w 18"/>
                  <a:gd name="T15" fmla="*/ 2147483647 h 37"/>
                  <a:gd name="T16" fmla="*/ 2147483647 w 18"/>
                  <a:gd name="T17" fmla="*/ 2147483647 h 37"/>
                  <a:gd name="T18" fmla="*/ 0 w 18"/>
                  <a:gd name="T19" fmla="*/ 2147483647 h 37"/>
                  <a:gd name="T20" fmla="*/ 2147483647 w 18"/>
                  <a:gd name="T21" fmla="*/ 2147483647 h 37"/>
                  <a:gd name="T22" fmla="*/ 2147483647 w 18"/>
                  <a:gd name="T23" fmla="*/ 2147483647 h 37"/>
                  <a:gd name="T24" fmla="*/ 2147483647 w 18"/>
                  <a:gd name="T25" fmla="*/ 2147483647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"/>
                  <a:gd name="T40" fmla="*/ 0 h 37"/>
                  <a:gd name="T41" fmla="*/ 18 w 18"/>
                  <a:gd name="T42" fmla="*/ 37 h 3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" h="37">
                    <a:moveTo>
                      <a:pt x="6" y="35"/>
                    </a:moveTo>
                    <a:cubicBezTo>
                      <a:pt x="8" y="34"/>
                      <a:pt x="8" y="28"/>
                      <a:pt x="10" y="26"/>
                    </a:cubicBezTo>
                    <a:cubicBezTo>
                      <a:pt x="12" y="25"/>
                      <a:pt x="15" y="13"/>
                      <a:pt x="15" y="13"/>
                    </a:cubicBezTo>
                    <a:cubicBezTo>
                      <a:pt x="15" y="13"/>
                      <a:pt x="17" y="8"/>
                      <a:pt x="17" y="7"/>
                    </a:cubicBezTo>
                    <a:cubicBezTo>
                      <a:pt x="18" y="5"/>
                      <a:pt x="18" y="3"/>
                      <a:pt x="17" y="2"/>
                    </a:cubicBezTo>
                    <a:cubicBezTo>
                      <a:pt x="16" y="2"/>
                      <a:pt x="13" y="0"/>
                      <a:pt x="12" y="1"/>
                    </a:cubicBezTo>
                    <a:cubicBezTo>
                      <a:pt x="10" y="2"/>
                      <a:pt x="6" y="6"/>
                      <a:pt x="4" y="9"/>
                    </a:cubicBezTo>
                    <a:cubicBezTo>
                      <a:pt x="2" y="12"/>
                      <a:pt x="4" y="13"/>
                      <a:pt x="2" y="14"/>
                    </a:cubicBezTo>
                    <a:cubicBezTo>
                      <a:pt x="0" y="15"/>
                      <a:pt x="1" y="18"/>
                      <a:pt x="1" y="20"/>
                    </a:cubicBezTo>
                    <a:cubicBezTo>
                      <a:pt x="0" y="21"/>
                      <a:pt x="0" y="25"/>
                      <a:pt x="0" y="25"/>
                    </a:cubicBezTo>
                    <a:cubicBezTo>
                      <a:pt x="0" y="25"/>
                      <a:pt x="0" y="27"/>
                      <a:pt x="1" y="29"/>
                    </a:cubicBezTo>
                    <a:cubicBezTo>
                      <a:pt x="3" y="31"/>
                      <a:pt x="2" y="29"/>
                      <a:pt x="3" y="31"/>
                    </a:cubicBezTo>
                    <a:cubicBezTo>
                      <a:pt x="4" y="33"/>
                      <a:pt x="4" y="37"/>
                      <a:pt x="6" y="35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4" name="Freeform 89"/>
              <p:cNvSpPr>
                <a:spLocks noEditPoints="1"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5076255" y="5815013"/>
                <a:ext cx="750517" cy="241300"/>
              </a:xfrm>
              <a:custGeom>
                <a:avLst/>
                <a:gdLst>
                  <a:gd name="T0" fmla="*/ 2147483647 w 190"/>
                  <a:gd name="T1" fmla="*/ 2147483647 h 62"/>
                  <a:gd name="T2" fmla="*/ 2147483647 w 190"/>
                  <a:gd name="T3" fmla="*/ 2147483647 h 62"/>
                  <a:gd name="T4" fmla="*/ 2147483647 w 190"/>
                  <a:gd name="T5" fmla="*/ 2147483647 h 62"/>
                  <a:gd name="T6" fmla="*/ 2147483647 w 190"/>
                  <a:gd name="T7" fmla="*/ 2147483647 h 62"/>
                  <a:gd name="T8" fmla="*/ 2147483647 w 190"/>
                  <a:gd name="T9" fmla="*/ 2147483647 h 62"/>
                  <a:gd name="T10" fmla="*/ 2147483647 w 190"/>
                  <a:gd name="T11" fmla="*/ 2147483647 h 62"/>
                  <a:gd name="T12" fmla="*/ 2147483647 w 190"/>
                  <a:gd name="T13" fmla="*/ 2147483647 h 62"/>
                  <a:gd name="T14" fmla="*/ 2147483647 w 190"/>
                  <a:gd name="T15" fmla="*/ 2147483647 h 62"/>
                  <a:gd name="T16" fmla="*/ 2147483647 w 190"/>
                  <a:gd name="T17" fmla="*/ 2147483647 h 62"/>
                  <a:gd name="T18" fmla="*/ 2147483647 w 190"/>
                  <a:gd name="T19" fmla="*/ 2147483647 h 62"/>
                  <a:gd name="T20" fmla="*/ 2147483647 w 190"/>
                  <a:gd name="T21" fmla="*/ 2147483647 h 62"/>
                  <a:gd name="T22" fmla="*/ 2147483647 w 190"/>
                  <a:gd name="T23" fmla="*/ 2147483647 h 62"/>
                  <a:gd name="T24" fmla="*/ 2147483647 w 190"/>
                  <a:gd name="T25" fmla="*/ 2147483647 h 62"/>
                  <a:gd name="T26" fmla="*/ 2147483647 w 190"/>
                  <a:gd name="T27" fmla="*/ 2147483647 h 62"/>
                  <a:gd name="T28" fmla="*/ 2147483647 w 190"/>
                  <a:gd name="T29" fmla="*/ 2147483647 h 62"/>
                  <a:gd name="T30" fmla="*/ 2147483647 w 190"/>
                  <a:gd name="T31" fmla="*/ 2147483647 h 62"/>
                  <a:gd name="T32" fmla="*/ 2147483647 w 190"/>
                  <a:gd name="T33" fmla="*/ 2147483647 h 62"/>
                  <a:gd name="T34" fmla="*/ 2147483647 w 190"/>
                  <a:gd name="T35" fmla="*/ 2147483647 h 62"/>
                  <a:gd name="T36" fmla="*/ 2147483647 w 190"/>
                  <a:gd name="T37" fmla="*/ 2147483647 h 62"/>
                  <a:gd name="T38" fmla="*/ 2147483647 w 190"/>
                  <a:gd name="T39" fmla="*/ 2147483647 h 62"/>
                  <a:gd name="T40" fmla="*/ 2147483647 w 190"/>
                  <a:gd name="T41" fmla="*/ 2147483647 h 62"/>
                  <a:gd name="T42" fmla="*/ 2147483647 w 190"/>
                  <a:gd name="T43" fmla="*/ 2147483647 h 62"/>
                  <a:gd name="T44" fmla="*/ 2147483647 w 190"/>
                  <a:gd name="T45" fmla="*/ 2147483647 h 62"/>
                  <a:gd name="T46" fmla="*/ 2147483647 w 190"/>
                  <a:gd name="T47" fmla="*/ 2147483647 h 62"/>
                  <a:gd name="T48" fmla="*/ 2147483647 w 190"/>
                  <a:gd name="T49" fmla="*/ 2147483647 h 62"/>
                  <a:gd name="T50" fmla="*/ 2147483647 w 190"/>
                  <a:gd name="T51" fmla="*/ 2147483647 h 62"/>
                  <a:gd name="T52" fmla="*/ 2147483647 w 190"/>
                  <a:gd name="T53" fmla="*/ 2147483647 h 62"/>
                  <a:gd name="T54" fmla="*/ 2147483647 w 190"/>
                  <a:gd name="T55" fmla="*/ 2147483647 h 62"/>
                  <a:gd name="T56" fmla="*/ 2147483647 w 190"/>
                  <a:gd name="T57" fmla="*/ 2147483647 h 62"/>
                  <a:gd name="T58" fmla="*/ 2147483647 w 190"/>
                  <a:gd name="T59" fmla="*/ 2147483647 h 62"/>
                  <a:gd name="T60" fmla="*/ 2147483647 w 190"/>
                  <a:gd name="T61" fmla="*/ 2147483647 h 62"/>
                  <a:gd name="T62" fmla="*/ 2147483647 w 190"/>
                  <a:gd name="T63" fmla="*/ 2147483647 h 6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0"/>
                  <a:gd name="T97" fmla="*/ 0 h 62"/>
                  <a:gd name="T98" fmla="*/ 190 w 190"/>
                  <a:gd name="T99" fmla="*/ 62 h 6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0" h="62">
                    <a:moveTo>
                      <a:pt x="187" y="17"/>
                    </a:moveTo>
                    <a:cubicBezTo>
                      <a:pt x="184" y="16"/>
                      <a:pt x="181" y="14"/>
                      <a:pt x="179" y="13"/>
                    </a:cubicBezTo>
                    <a:cubicBezTo>
                      <a:pt x="177" y="12"/>
                      <a:pt x="177" y="11"/>
                      <a:pt x="174" y="11"/>
                    </a:cubicBezTo>
                    <a:cubicBezTo>
                      <a:pt x="171" y="12"/>
                      <a:pt x="173" y="8"/>
                      <a:pt x="174" y="7"/>
                    </a:cubicBezTo>
                    <a:cubicBezTo>
                      <a:pt x="174" y="6"/>
                      <a:pt x="171" y="5"/>
                      <a:pt x="170" y="4"/>
                    </a:cubicBezTo>
                    <a:cubicBezTo>
                      <a:pt x="169" y="3"/>
                      <a:pt x="169" y="2"/>
                      <a:pt x="168" y="1"/>
                    </a:cubicBezTo>
                    <a:cubicBezTo>
                      <a:pt x="166" y="0"/>
                      <a:pt x="165" y="4"/>
                      <a:pt x="165" y="2"/>
                    </a:cubicBezTo>
                    <a:cubicBezTo>
                      <a:pt x="165" y="0"/>
                      <a:pt x="164" y="1"/>
                      <a:pt x="162" y="3"/>
                    </a:cubicBezTo>
                    <a:cubicBezTo>
                      <a:pt x="160" y="6"/>
                      <a:pt x="157" y="14"/>
                      <a:pt x="157" y="14"/>
                    </a:cubicBezTo>
                    <a:cubicBezTo>
                      <a:pt x="153" y="15"/>
                      <a:pt x="153" y="15"/>
                      <a:pt x="153" y="15"/>
                    </a:cubicBezTo>
                    <a:cubicBezTo>
                      <a:pt x="153" y="19"/>
                      <a:pt x="153" y="19"/>
                      <a:pt x="153" y="19"/>
                    </a:cubicBezTo>
                    <a:cubicBezTo>
                      <a:pt x="153" y="19"/>
                      <a:pt x="152" y="25"/>
                      <a:pt x="150" y="28"/>
                    </a:cubicBezTo>
                    <a:cubicBezTo>
                      <a:pt x="149" y="30"/>
                      <a:pt x="146" y="30"/>
                      <a:pt x="144" y="29"/>
                    </a:cubicBezTo>
                    <a:cubicBezTo>
                      <a:pt x="142" y="29"/>
                      <a:pt x="147" y="21"/>
                      <a:pt x="147" y="21"/>
                    </a:cubicBezTo>
                    <a:cubicBezTo>
                      <a:pt x="147" y="21"/>
                      <a:pt x="145" y="21"/>
                      <a:pt x="142" y="23"/>
                    </a:cubicBezTo>
                    <a:cubicBezTo>
                      <a:pt x="140" y="25"/>
                      <a:pt x="135" y="31"/>
                      <a:pt x="133" y="33"/>
                    </a:cubicBezTo>
                    <a:cubicBezTo>
                      <a:pt x="130" y="35"/>
                      <a:pt x="126" y="39"/>
                      <a:pt x="123" y="40"/>
                    </a:cubicBezTo>
                    <a:cubicBezTo>
                      <a:pt x="119" y="41"/>
                      <a:pt x="115" y="41"/>
                      <a:pt x="111" y="43"/>
                    </a:cubicBezTo>
                    <a:cubicBezTo>
                      <a:pt x="107" y="46"/>
                      <a:pt x="110" y="50"/>
                      <a:pt x="108" y="54"/>
                    </a:cubicBezTo>
                    <a:cubicBezTo>
                      <a:pt x="107" y="57"/>
                      <a:pt x="104" y="54"/>
                      <a:pt x="101" y="54"/>
                    </a:cubicBezTo>
                    <a:cubicBezTo>
                      <a:pt x="98" y="53"/>
                      <a:pt x="94" y="50"/>
                      <a:pt x="93" y="50"/>
                    </a:cubicBezTo>
                    <a:cubicBezTo>
                      <a:pt x="92" y="53"/>
                      <a:pt x="99" y="58"/>
                      <a:pt x="101" y="60"/>
                    </a:cubicBezTo>
                    <a:cubicBezTo>
                      <a:pt x="103" y="62"/>
                      <a:pt x="105" y="61"/>
                      <a:pt x="108" y="60"/>
                    </a:cubicBezTo>
                    <a:cubicBezTo>
                      <a:pt x="111" y="59"/>
                      <a:pt x="116" y="59"/>
                      <a:pt x="117" y="59"/>
                    </a:cubicBezTo>
                    <a:cubicBezTo>
                      <a:pt x="118" y="58"/>
                      <a:pt x="119" y="55"/>
                      <a:pt x="122" y="55"/>
                    </a:cubicBezTo>
                    <a:cubicBezTo>
                      <a:pt x="125" y="54"/>
                      <a:pt x="127" y="55"/>
                      <a:pt x="128" y="56"/>
                    </a:cubicBezTo>
                    <a:cubicBezTo>
                      <a:pt x="129" y="57"/>
                      <a:pt x="134" y="57"/>
                      <a:pt x="135" y="56"/>
                    </a:cubicBezTo>
                    <a:cubicBezTo>
                      <a:pt x="137" y="54"/>
                      <a:pt x="143" y="55"/>
                      <a:pt x="143" y="55"/>
                    </a:cubicBezTo>
                    <a:cubicBezTo>
                      <a:pt x="147" y="46"/>
                      <a:pt x="147" y="46"/>
                      <a:pt x="147" y="46"/>
                    </a:cubicBezTo>
                    <a:cubicBezTo>
                      <a:pt x="147" y="46"/>
                      <a:pt x="148" y="45"/>
                      <a:pt x="148" y="42"/>
                    </a:cubicBezTo>
                    <a:cubicBezTo>
                      <a:pt x="148" y="38"/>
                      <a:pt x="151" y="40"/>
                      <a:pt x="152" y="37"/>
                    </a:cubicBezTo>
                    <a:cubicBezTo>
                      <a:pt x="154" y="35"/>
                      <a:pt x="152" y="33"/>
                      <a:pt x="152" y="31"/>
                    </a:cubicBezTo>
                    <a:cubicBezTo>
                      <a:pt x="152" y="30"/>
                      <a:pt x="153" y="27"/>
                      <a:pt x="155" y="27"/>
                    </a:cubicBezTo>
                    <a:cubicBezTo>
                      <a:pt x="158" y="27"/>
                      <a:pt x="164" y="26"/>
                      <a:pt x="167" y="26"/>
                    </a:cubicBezTo>
                    <a:cubicBezTo>
                      <a:pt x="169" y="27"/>
                      <a:pt x="171" y="29"/>
                      <a:pt x="172" y="30"/>
                    </a:cubicBezTo>
                    <a:cubicBezTo>
                      <a:pt x="173" y="31"/>
                      <a:pt x="173" y="32"/>
                      <a:pt x="173" y="32"/>
                    </a:cubicBezTo>
                    <a:cubicBezTo>
                      <a:pt x="173" y="30"/>
                      <a:pt x="173" y="26"/>
                      <a:pt x="173" y="26"/>
                    </a:cubicBezTo>
                    <a:cubicBezTo>
                      <a:pt x="177" y="28"/>
                      <a:pt x="177" y="28"/>
                      <a:pt x="177" y="28"/>
                    </a:cubicBezTo>
                    <a:cubicBezTo>
                      <a:pt x="177" y="28"/>
                      <a:pt x="184" y="26"/>
                      <a:pt x="183" y="25"/>
                    </a:cubicBezTo>
                    <a:cubicBezTo>
                      <a:pt x="182" y="25"/>
                      <a:pt x="178" y="22"/>
                      <a:pt x="178" y="22"/>
                    </a:cubicBezTo>
                    <a:cubicBezTo>
                      <a:pt x="178" y="22"/>
                      <a:pt x="184" y="20"/>
                      <a:pt x="186" y="19"/>
                    </a:cubicBezTo>
                    <a:cubicBezTo>
                      <a:pt x="189" y="18"/>
                      <a:pt x="190" y="17"/>
                      <a:pt x="187" y="17"/>
                    </a:cubicBezTo>
                    <a:close/>
                    <a:moveTo>
                      <a:pt x="33" y="40"/>
                    </a:moveTo>
                    <a:cubicBezTo>
                      <a:pt x="33" y="36"/>
                      <a:pt x="31" y="35"/>
                      <a:pt x="32" y="30"/>
                    </a:cubicBezTo>
                    <a:cubicBezTo>
                      <a:pt x="33" y="26"/>
                      <a:pt x="30" y="16"/>
                      <a:pt x="28" y="15"/>
                    </a:cubicBezTo>
                    <a:cubicBezTo>
                      <a:pt x="26" y="14"/>
                      <a:pt x="20" y="9"/>
                      <a:pt x="20" y="9"/>
                    </a:cubicBezTo>
                    <a:cubicBezTo>
                      <a:pt x="20" y="9"/>
                      <a:pt x="19" y="12"/>
                      <a:pt x="18" y="12"/>
                    </a:cubicBezTo>
                    <a:cubicBezTo>
                      <a:pt x="17" y="12"/>
                      <a:pt x="13" y="12"/>
                      <a:pt x="13" y="12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2" y="10"/>
                      <a:pt x="10" y="8"/>
                    </a:cubicBezTo>
                    <a:cubicBezTo>
                      <a:pt x="7" y="7"/>
                      <a:pt x="6" y="7"/>
                      <a:pt x="5" y="5"/>
                    </a:cubicBezTo>
                    <a:cubicBezTo>
                      <a:pt x="4" y="4"/>
                      <a:pt x="0" y="2"/>
                      <a:pt x="1" y="7"/>
                    </a:cubicBezTo>
                    <a:cubicBezTo>
                      <a:pt x="1" y="7"/>
                      <a:pt x="3" y="10"/>
                      <a:pt x="2" y="13"/>
                    </a:cubicBezTo>
                    <a:cubicBezTo>
                      <a:pt x="2" y="16"/>
                      <a:pt x="1" y="17"/>
                      <a:pt x="3" y="20"/>
                    </a:cubicBezTo>
                    <a:cubicBezTo>
                      <a:pt x="5" y="24"/>
                      <a:pt x="5" y="26"/>
                      <a:pt x="5" y="28"/>
                    </a:cubicBezTo>
                    <a:cubicBezTo>
                      <a:pt x="5" y="31"/>
                      <a:pt x="8" y="32"/>
                      <a:pt x="9" y="34"/>
                    </a:cubicBezTo>
                    <a:cubicBezTo>
                      <a:pt x="10" y="36"/>
                      <a:pt x="12" y="38"/>
                      <a:pt x="12" y="40"/>
                    </a:cubicBezTo>
                    <a:cubicBezTo>
                      <a:pt x="13" y="42"/>
                      <a:pt x="14" y="43"/>
                      <a:pt x="18" y="45"/>
                    </a:cubicBezTo>
                    <a:cubicBezTo>
                      <a:pt x="22" y="47"/>
                      <a:pt x="25" y="50"/>
                      <a:pt x="26" y="51"/>
                    </a:cubicBezTo>
                    <a:cubicBezTo>
                      <a:pt x="28" y="53"/>
                      <a:pt x="35" y="57"/>
                      <a:pt x="36" y="58"/>
                    </a:cubicBezTo>
                    <a:cubicBezTo>
                      <a:pt x="36" y="59"/>
                      <a:pt x="39" y="60"/>
                      <a:pt x="39" y="60"/>
                    </a:cubicBezTo>
                    <a:cubicBezTo>
                      <a:pt x="45" y="62"/>
                      <a:pt x="45" y="62"/>
                      <a:pt x="45" y="62"/>
                    </a:cubicBezTo>
                    <a:cubicBezTo>
                      <a:pt x="45" y="62"/>
                      <a:pt x="41" y="54"/>
                      <a:pt x="41" y="52"/>
                    </a:cubicBezTo>
                    <a:cubicBezTo>
                      <a:pt x="40" y="51"/>
                      <a:pt x="34" y="44"/>
                      <a:pt x="33" y="4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5" name="Freeform 90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966315" y="5283201"/>
                <a:ext cx="326886" cy="587375"/>
              </a:xfrm>
              <a:custGeom>
                <a:avLst/>
                <a:gdLst>
                  <a:gd name="T0" fmla="*/ 2147483647 w 83"/>
                  <a:gd name="T1" fmla="*/ 2147483647 h 150"/>
                  <a:gd name="T2" fmla="*/ 2147483647 w 83"/>
                  <a:gd name="T3" fmla="*/ 2147483647 h 150"/>
                  <a:gd name="T4" fmla="*/ 2147483647 w 83"/>
                  <a:gd name="T5" fmla="*/ 2147483647 h 150"/>
                  <a:gd name="T6" fmla="*/ 2147483647 w 83"/>
                  <a:gd name="T7" fmla="*/ 2147483647 h 150"/>
                  <a:gd name="T8" fmla="*/ 2147483647 w 83"/>
                  <a:gd name="T9" fmla="*/ 2147483647 h 150"/>
                  <a:gd name="T10" fmla="*/ 2147483647 w 83"/>
                  <a:gd name="T11" fmla="*/ 2147483647 h 150"/>
                  <a:gd name="T12" fmla="*/ 2147483647 w 83"/>
                  <a:gd name="T13" fmla="*/ 2147483647 h 150"/>
                  <a:gd name="T14" fmla="*/ 2147483647 w 83"/>
                  <a:gd name="T15" fmla="*/ 2147483647 h 150"/>
                  <a:gd name="T16" fmla="*/ 2147483647 w 83"/>
                  <a:gd name="T17" fmla="*/ 2147483647 h 150"/>
                  <a:gd name="T18" fmla="*/ 2147483647 w 83"/>
                  <a:gd name="T19" fmla="*/ 2147483647 h 150"/>
                  <a:gd name="T20" fmla="*/ 2147483647 w 83"/>
                  <a:gd name="T21" fmla="*/ 2147483647 h 150"/>
                  <a:gd name="T22" fmla="*/ 2147483647 w 83"/>
                  <a:gd name="T23" fmla="*/ 2147483647 h 150"/>
                  <a:gd name="T24" fmla="*/ 2147483647 w 83"/>
                  <a:gd name="T25" fmla="*/ 2147483647 h 150"/>
                  <a:gd name="T26" fmla="*/ 2147483647 w 83"/>
                  <a:gd name="T27" fmla="*/ 2147483647 h 150"/>
                  <a:gd name="T28" fmla="*/ 2147483647 w 83"/>
                  <a:gd name="T29" fmla="*/ 2147483647 h 150"/>
                  <a:gd name="T30" fmla="*/ 2147483647 w 83"/>
                  <a:gd name="T31" fmla="*/ 2147483647 h 150"/>
                  <a:gd name="T32" fmla="*/ 2147483647 w 83"/>
                  <a:gd name="T33" fmla="*/ 2147483647 h 150"/>
                  <a:gd name="T34" fmla="*/ 2147483647 w 83"/>
                  <a:gd name="T35" fmla="*/ 2147483647 h 150"/>
                  <a:gd name="T36" fmla="*/ 2147483647 w 83"/>
                  <a:gd name="T37" fmla="*/ 2147483647 h 150"/>
                  <a:gd name="T38" fmla="*/ 2147483647 w 83"/>
                  <a:gd name="T39" fmla="*/ 2147483647 h 150"/>
                  <a:gd name="T40" fmla="*/ 2147483647 w 83"/>
                  <a:gd name="T41" fmla="*/ 2147483647 h 150"/>
                  <a:gd name="T42" fmla="*/ 2147483647 w 83"/>
                  <a:gd name="T43" fmla="*/ 2147483647 h 150"/>
                  <a:gd name="T44" fmla="*/ 2147483647 w 83"/>
                  <a:gd name="T45" fmla="*/ 2147483647 h 150"/>
                  <a:gd name="T46" fmla="*/ 2147483647 w 83"/>
                  <a:gd name="T47" fmla="*/ 2147483647 h 150"/>
                  <a:gd name="T48" fmla="*/ 2147483647 w 83"/>
                  <a:gd name="T49" fmla="*/ 2147483647 h 150"/>
                  <a:gd name="T50" fmla="*/ 2147483647 w 83"/>
                  <a:gd name="T51" fmla="*/ 2147483647 h 150"/>
                  <a:gd name="T52" fmla="*/ 2147483647 w 83"/>
                  <a:gd name="T53" fmla="*/ 2147483647 h 150"/>
                  <a:gd name="T54" fmla="*/ 2147483647 w 83"/>
                  <a:gd name="T55" fmla="*/ 2147483647 h 150"/>
                  <a:gd name="T56" fmla="*/ 2147483647 w 83"/>
                  <a:gd name="T57" fmla="*/ 2147483647 h 150"/>
                  <a:gd name="T58" fmla="*/ 2147483647 w 83"/>
                  <a:gd name="T59" fmla="*/ 2147483647 h 150"/>
                  <a:gd name="T60" fmla="*/ 2147483647 w 83"/>
                  <a:gd name="T61" fmla="*/ 2147483647 h 150"/>
                  <a:gd name="T62" fmla="*/ 2147483647 w 83"/>
                  <a:gd name="T63" fmla="*/ 2147483647 h 150"/>
                  <a:gd name="T64" fmla="*/ 2147483647 w 83"/>
                  <a:gd name="T65" fmla="*/ 2147483647 h 150"/>
                  <a:gd name="T66" fmla="*/ 2147483647 w 83"/>
                  <a:gd name="T67" fmla="*/ 2147483647 h 150"/>
                  <a:gd name="T68" fmla="*/ 2147483647 w 83"/>
                  <a:gd name="T69" fmla="*/ 2147483647 h 150"/>
                  <a:gd name="T70" fmla="*/ 2147483647 w 83"/>
                  <a:gd name="T71" fmla="*/ 2147483647 h 150"/>
                  <a:gd name="T72" fmla="*/ 2147483647 w 83"/>
                  <a:gd name="T73" fmla="*/ 2147483647 h 150"/>
                  <a:gd name="T74" fmla="*/ 2147483647 w 83"/>
                  <a:gd name="T75" fmla="*/ 2147483647 h 150"/>
                  <a:gd name="T76" fmla="*/ 2147483647 w 83"/>
                  <a:gd name="T77" fmla="*/ 2147483647 h 1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83"/>
                  <a:gd name="T118" fmla="*/ 0 h 150"/>
                  <a:gd name="T119" fmla="*/ 83 w 83"/>
                  <a:gd name="T120" fmla="*/ 150 h 1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83" h="150">
                    <a:moveTo>
                      <a:pt x="83" y="51"/>
                    </a:moveTo>
                    <a:cubicBezTo>
                      <a:pt x="83" y="51"/>
                      <a:pt x="82" y="51"/>
                      <a:pt x="80" y="47"/>
                    </a:cubicBezTo>
                    <a:cubicBezTo>
                      <a:pt x="78" y="43"/>
                      <a:pt x="76" y="43"/>
                      <a:pt x="75" y="41"/>
                    </a:cubicBezTo>
                    <a:cubicBezTo>
                      <a:pt x="74" y="39"/>
                      <a:pt x="74" y="34"/>
                      <a:pt x="74" y="33"/>
                    </a:cubicBezTo>
                    <a:cubicBezTo>
                      <a:pt x="74" y="32"/>
                      <a:pt x="74" y="31"/>
                      <a:pt x="69" y="26"/>
                    </a:cubicBezTo>
                    <a:cubicBezTo>
                      <a:pt x="64" y="21"/>
                      <a:pt x="63" y="22"/>
                      <a:pt x="60" y="22"/>
                    </a:cubicBezTo>
                    <a:cubicBezTo>
                      <a:pt x="58" y="21"/>
                      <a:pt x="57" y="25"/>
                      <a:pt x="57" y="25"/>
                    </a:cubicBezTo>
                    <a:cubicBezTo>
                      <a:pt x="57" y="25"/>
                      <a:pt x="55" y="29"/>
                      <a:pt x="52" y="27"/>
                    </a:cubicBezTo>
                    <a:cubicBezTo>
                      <a:pt x="50" y="24"/>
                      <a:pt x="46" y="25"/>
                      <a:pt x="45" y="26"/>
                    </a:cubicBezTo>
                    <a:cubicBezTo>
                      <a:pt x="43" y="27"/>
                      <a:pt x="41" y="31"/>
                      <a:pt x="39" y="31"/>
                    </a:cubicBezTo>
                    <a:cubicBezTo>
                      <a:pt x="38" y="31"/>
                      <a:pt x="38" y="29"/>
                      <a:pt x="39" y="27"/>
                    </a:cubicBezTo>
                    <a:cubicBezTo>
                      <a:pt x="40" y="24"/>
                      <a:pt x="38" y="22"/>
                      <a:pt x="39" y="20"/>
                    </a:cubicBezTo>
                    <a:cubicBezTo>
                      <a:pt x="40" y="19"/>
                      <a:pt x="40" y="13"/>
                      <a:pt x="40" y="13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3" y="10"/>
                      <a:pt x="33" y="4"/>
                      <a:pt x="32" y="3"/>
                    </a:cubicBezTo>
                    <a:cubicBezTo>
                      <a:pt x="31" y="1"/>
                      <a:pt x="28" y="0"/>
                      <a:pt x="27" y="0"/>
                    </a:cubicBezTo>
                    <a:cubicBezTo>
                      <a:pt x="26" y="0"/>
                      <a:pt x="23" y="1"/>
                      <a:pt x="23" y="1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22" y="4"/>
                      <a:pt x="19" y="3"/>
                      <a:pt x="18" y="5"/>
                    </a:cubicBezTo>
                    <a:cubicBezTo>
                      <a:pt x="17" y="7"/>
                      <a:pt x="13" y="9"/>
                      <a:pt x="12" y="8"/>
                    </a:cubicBezTo>
                    <a:cubicBezTo>
                      <a:pt x="10" y="8"/>
                      <a:pt x="8" y="7"/>
                      <a:pt x="7" y="8"/>
                    </a:cubicBezTo>
                    <a:cubicBezTo>
                      <a:pt x="7" y="9"/>
                      <a:pt x="5" y="13"/>
                      <a:pt x="5" y="16"/>
                    </a:cubicBezTo>
                    <a:cubicBezTo>
                      <a:pt x="5" y="18"/>
                      <a:pt x="5" y="19"/>
                      <a:pt x="5" y="19"/>
                    </a:cubicBezTo>
                    <a:cubicBezTo>
                      <a:pt x="5" y="19"/>
                      <a:pt x="0" y="18"/>
                      <a:pt x="1" y="20"/>
                    </a:cubicBezTo>
                    <a:cubicBezTo>
                      <a:pt x="1" y="21"/>
                      <a:pt x="3" y="23"/>
                      <a:pt x="3" y="23"/>
                    </a:cubicBezTo>
                    <a:cubicBezTo>
                      <a:pt x="3" y="23"/>
                      <a:pt x="5" y="26"/>
                      <a:pt x="6" y="28"/>
                    </a:cubicBezTo>
                    <a:cubicBezTo>
                      <a:pt x="7" y="29"/>
                      <a:pt x="13" y="36"/>
                      <a:pt x="13" y="37"/>
                    </a:cubicBezTo>
                    <a:cubicBezTo>
                      <a:pt x="13" y="38"/>
                      <a:pt x="16" y="41"/>
                      <a:pt x="16" y="41"/>
                    </a:cubicBezTo>
                    <a:cubicBezTo>
                      <a:pt x="16" y="41"/>
                      <a:pt x="17" y="46"/>
                      <a:pt x="16" y="46"/>
                    </a:cubicBezTo>
                    <a:cubicBezTo>
                      <a:pt x="15" y="45"/>
                      <a:pt x="13" y="51"/>
                      <a:pt x="13" y="51"/>
                    </a:cubicBezTo>
                    <a:cubicBezTo>
                      <a:pt x="13" y="51"/>
                      <a:pt x="11" y="54"/>
                      <a:pt x="10" y="54"/>
                    </a:cubicBezTo>
                    <a:cubicBezTo>
                      <a:pt x="9" y="54"/>
                      <a:pt x="8" y="58"/>
                      <a:pt x="13" y="63"/>
                    </a:cubicBezTo>
                    <a:cubicBezTo>
                      <a:pt x="18" y="67"/>
                      <a:pt x="20" y="69"/>
                      <a:pt x="19" y="72"/>
                    </a:cubicBezTo>
                    <a:cubicBezTo>
                      <a:pt x="19" y="75"/>
                      <a:pt x="21" y="79"/>
                      <a:pt x="22" y="83"/>
                    </a:cubicBezTo>
                    <a:cubicBezTo>
                      <a:pt x="23" y="87"/>
                      <a:pt x="24" y="89"/>
                      <a:pt x="22" y="91"/>
                    </a:cubicBezTo>
                    <a:cubicBezTo>
                      <a:pt x="20" y="93"/>
                      <a:pt x="20" y="96"/>
                      <a:pt x="17" y="99"/>
                    </a:cubicBezTo>
                    <a:cubicBezTo>
                      <a:pt x="14" y="102"/>
                      <a:pt x="13" y="106"/>
                      <a:pt x="12" y="108"/>
                    </a:cubicBezTo>
                    <a:cubicBezTo>
                      <a:pt x="12" y="110"/>
                      <a:pt x="11" y="114"/>
                      <a:pt x="10" y="117"/>
                    </a:cubicBezTo>
                    <a:cubicBezTo>
                      <a:pt x="10" y="121"/>
                      <a:pt x="10" y="130"/>
                      <a:pt x="10" y="130"/>
                    </a:cubicBezTo>
                    <a:cubicBezTo>
                      <a:pt x="14" y="123"/>
                      <a:pt x="14" y="123"/>
                      <a:pt x="14" y="123"/>
                    </a:cubicBezTo>
                    <a:cubicBezTo>
                      <a:pt x="14" y="123"/>
                      <a:pt x="17" y="127"/>
                      <a:pt x="17" y="129"/>
                    </a:cubicBezTo>
                    <a:cubicBezTo>
                      <a:pt x="17" y="130"/>
                      <a:pt x="18" y="133"/>
                      <a:pt x="18" y="133"/>
                    </a:cubicBezTo>
                    <a:cubicBezTo>
                      <a:pt x="20" y="130"/>
                      <a:pt x="20" y="130"/>
                      <a:pt x="20" y="130"/>
                    </a:cubicBezTo>
                    <a:cubicBezTo>
                      <a:pt x="21" y="134"/>
                      <a:pt x="21" y="134"/>
                      <a:pt x="21" y="134"/>
                    </a:cubicBezTo>
                    <a:cubicBezTo>
                      <a:pt x="23" y="136"/>
                      <a:pt x="23" y="136"/>
                      <a:pt x="23" y="136"/>
                    </a:cubicBezTo>
                    <a:cubicBezTo>
                      <a:pt x="23" y="136"/>
                      <a:pt x="22" y="130"/>
                      <a:pt x="28" y="141"/>
                    </a:cubicBezTo>
                    <a:cubicBezTo>
                      <a:pt x="28" y="142"/>
                      <a:pt x="29" y="142"/>
                      <a:pt x="29" y="143"/>
                    </a:cubicBezTo>
                    <a:cubicBezTo>
                      <a:pt x="28" y="138"/>
                      <a:pt x="32" y="140"/>
                      <a:pt x="33" y="141"/>
                    </a:cubicBezTo>
                    <a:cubicBezTo>
                      <a:pt x="34" y="143"/>
                      <a:pt x="35" y="143"/>
                      <a:pt x="38" y="144"/>
                    </a:cubicBezTo>
                    <a:cubicBezTo>
                      <a:pt x="40" y="146"/>
                      <a:pt x="38" y="150"/>
                      <a:pt x="38" y="150"/>
                    </a:cubicBezTo>
                    <a:cubicBezTo>
                      <a:pt x="41" y="148"/>
                      <a:pt x="41" y="148"/>
                      <a:pt x="41" y="148"/>
                    </a:cubicBezTo>
                    <a:cubicBezTo>
                      <a:pt x="41" y="148"/>
                      <a:pt x="45" y="148"/>
                      <a:pt x="46" y="148"/>
                    </a:cubicBezTo>
                    <a:cubicBezTo>
                      <a:pt x="47" y="148"/>
                      <a:pt x="48" y="145"/>
                      <a:pt x="48" y="145"/>
                    </a:cubicBezTo>
                    <a:cubicBezTo>
                      <a:pt x="48" y="145"/>
                      <a:pt x="44" y="139"/>
                      <a:pt x="43" y="138"/>
                    </a:cubicBezTo>
                    <a:cubicBezTo>
                      <a:pt x="42" y="137"/>
                      <a:pt x="40" y="139"/>
                      <a:pt x="37" y="136"/>
                    </a:cubicBezTo>
                    <a:cubicBezTo>
                      <a:pt x="34" y="134"/>
                      <a:pt x="30" y="124"/>
                      <a:pt x="30" y="123"/>
                    </a:cubicBezTo>
                    <a:cubicBezTo>
                      <a:pt x="30" y="122"/>
                      <a:pt x="28" y="120"/>
                      <a:pt x="27" y="118"/>
                    </a:cubicBezTo>
                    <a:cubicBezTo>
                      <a:pt x="27" y="116"/>
                      <a:pt x="25" y="114"/>
                      <a:pt x="23" y="114"/>
                    </a:cubicBezTo>
                    <a:cubicBezTo>
                      <a:pt x="21" y="113"/>
                      <a:pt x="19" y="106"/>
                      <a:pt x="20" y="103"/>
                    </a:cubicBezTo>
                    <a:cubicBezTo>
                      <a:pt x="22" y="99"/>
                      <a:pt x="22" y="94"/>
                      <a:pt x="24" y="92"/>
                    </a:cubicBezTo>
                    <a:cubicBezTo>
                      <a:pt x="26" y="89"/>
                      <a:pt x="28" y="86"/>
                      <a:pt x="28" y="84"/>
                    </a:cubicBezTo>
                    <a:cubicBezTo>
                      <a:pt x="28" y="83"/>
                      <a:pt x="27" y="75"/>
                      <a:pt x="29" y="75"/>
                    </a:cubicBezTo>
                    <a:cubicBezTo>
                      <a:pt x="31" y="75"/>
                      <a:pt x="33" y="72"/>
                      <a:pt x="34" y="75"/>
                    </a:cubicBezTo>
                    <a:cubicBezTo>
                      <a:pt x="35" y="78"/>
                      <a:pt x="36" y="80"/>
                      <a:pt x="36" y="80"/>
                    </a:cubicBezTo>
                    <a:cubicBezTo>
                      <a:pt x="36" y="80"/>
                      <a:pt x="44" y="80"/>
                      <a:pt x="45" y="80"/>
                    </a:cubicBezTo>
                    <a:cubicBezTo>
                      <a:pt x="46" y="81"/>
                      <a:pt x="49" y="83"/>
                      <a:pt x="50" y="86"/>
                    </a:cubicBezTo>
                    <a:cubicBezTo>
                      <a:pt x="50" y="89"/>
                      <a:pt x="51" y="89"/>
                      <a:pt x="51" y="89"/>
                    </a:cubicBezTo>
                    <a:cubicBezTo>
                      <a:pt x="54" y="84"/>
                      <a:pt x="54" y="84"/>
                      <a:pt x="54" y="84"/>
                    </a:cubicBezTo>
                    <a:cubicBezTo>
                      <a:pt x="54" y="84"/>
                      <a:pt x="52" y="79"/>
                      <a:pt x="52" y="77"/>
                    </a:cubicBezTo>
                    <a:cubicBezTo>
                      <a:pt x="53" y="75"/>
                      <a:pt x="50" y="72"/>
                      <a:pt x="52" y="70"/>
                    </a:cubicBezTo>
                    <a:cubicBezTo>
                      <a:pt x="54" y="69"/>
                      <a:pt x="55" y="62"/>
                      <a:pt x="59" y="63"/>
                    </a:cubicBezTo>
                    <a:cubicBezTo>
                      <a:pt x="62" y="63"/>
                      <a:pt x="64" y="63"/>
                      <a:pt x="70" y="63"/>
                    </a:cubicBezTo>
                    <a:cubicBezTo>
                      <a:pt x="75" y="63"/>
                      <a:pt x="77" y="63"/>
                      <a:pt x="77" y="63"/>
                    </a:cubicBezTo>
                    <a:cubicBezTo>
                      <a:pt x="77" y="64"/>
                      <a:pt x="77" y="64"/>
                      <a:pt x="77" y="64"/>
                    </a:cubicBezTo>
                    <a:cubicBezTo>
                      <a:pt x="77" y="64"/>
                      <a:pt x="78" y="64"/>
                      <a:pt x="81" y="62"/>
                    </a:cubicBezTo>
                    <a:cubicBezTo>
                      <a:pt x="83" y="60"/>
                      <a:pt x="82" y="57"/>
                      <a:pt x="82" y="56"/>
                    </a:cubicBezTo>
                    <a:cubicBezTo>
                      <a:pt x="81" y="55"/>
                      <a:pt x="83" y="51"/>
                      <a:pt x="83" y="5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6" name="Freeform 91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4768425" y="4941888"/>
                <a:ext cx="351805" cy="754062"/>
              </a:xfrm>
              <a:custGeom>
                <a:avLst/>
                <a:gdLst>
                  <a:gd name="T0" fmla="*/ 2147483647 w 89"/>
                  <a:gd name="T1" fmla="*/ 2147483647 h 193"/>
                  <a:gd name="T2" fmla="*/ 2147483647 w 89"/>
                  <a:gd name="T3" fmla="*/ 2147483647 h 193"/>
                  <a:gd name="T4" fmla="*/ 2147483647 w 89"/>
                  <a:gd name="T5" fmla="*/ 2147483647 h 193"/>
                  <a:gd name="T6" fmla="*/ 2147483647 w 89"/>
                  <a:gd name="T7" fmla="*/ 2147483647 h 193"/>
                  <a:gd name="T8" fmla="*/ 2147483647 w 89"/>
                  <a:gd name="T9" fmla="*/ 2147483647 h 193"/>
                  <a:gd name="T10" fmla="*/ 2147483647 w 89"/>
                  <a:gd name="T11" fmla="*/ 2147483647 h 193"/>
                  <a:gd name="T12" fmla="*/ 2147483647 w 89"/>
                  <a:gd name="T13" fmla="*/ 2147483647 h 193"/>
                  <a:gd name="T14" fmla="*/ 2147483647 w 89"/>
                  <a:gd name="T15" fmla="*/ 2147483647 h 193"/>
                  <a:gd name="T16" fmla="*/ 2147483647 w 89"/>
                  <a:gd name="T17" fmla="*/ 2147483647 h 193"/>
                  <a:gd name="T18" fmla="*/ 2147483647 w 89"/>
                  <a:gd name="T19" fmla="*/ 2147483647 h 193"/>
                  <a:gd name="T20" fmla="*/ 2147483647 w 89"/>
                  <a:gd name="T21" fmla="*/ 2147483647 h 193"/>
                  <a:gd name="T22" fmla="*/ 2147483647 w 89"/>
                  <a:gd name="T23" fmla="*/ 2147483647 h 193"/>
                  <a:gd name="T24" fmla="*/ 2147483647 w 89"/>
                  <a:gd name="T25" fmla="*/ 2147483647 h 193"/>
                  <a:gd name="T26" fmla="*/ 2147483647 w 89"/>
                  <a:gd name="T27" fmla="*/ 2147483647 h 193"/>
                  <a:gd name="T28" fmla="*/ 2147483647 w 89"/>
                  <a:gd name="T29" fmla="*/ 2147483647 h 193"/>
                  <a:gd name="T30" fmla="*/ 2147483647 w 89"/>
                  <a:gd name="T31" fmla="*/ 2147483647 h 193"/>
                  <a:gd name="T32" fmla="*/ 2147483647 w 89"/>
                  <a:gd name="T33" fmla="*/ 2147483647 h 193"/>
                  <a:gd name="T34" fmla="*/ 2147483647 w 89"/>
                  <a:gd name="T35" fmla="*/ 2147483647 h 193"/>
                  <a:gd name="T36" fmla="*/ 2147483647 w 89"/>
                  <a:gd name="T37" fmla="*/ 2147483647 h 193"/>
                  <a:gd name="T38" fmla="*/ 2147483647 w 89"/>
                  <a:gd name="T39" fmla="*/ 2147483647 h 193"/>
                  <a:gd name="T40" fmla="*/ 2147483647 w 89"/>
                  <a:gd name="T41" fmla="*/ 2147483647 h 193"/>
                  <a:gd name="T42" fmla="*/ 2147483647 w 89"/>
                  <a:gd name="T43" fmla="*/ 2147483647 h 193"/>
                  <a:gd name="T44" fmla="*/ 2147483647 w 89"/>
                  <a:gd name="T45" fmla="*/ 2147483647 h 193"/>
                  <a:gd name="T46" fmla="*/ 2147483647 w 89"/>
                  <a:gd name="T47" fmla="*/ 2147483647 h 193"/>
                  <a:gd name="T48" fmla="*/ 2147483647 w 89"/>
                  <a:gd name="T49" fmla="*/ 2147483647 h 193"/>
                  <a:gd name="T50" fmla="*/ 2147483647 w 89"/>
                  <a:gd name="T51" fmla="*/ 2147483647 h 193"/>
                  <a:gd name="T52" fmla="*/ 2147483647 w 89"/>
                  <a:gd name="T53" fmla="*/ 2147483647 h 193"/>
                  <a:gd name="T54" fmla="*/ 2147483647 w 89"/>
                  <a:gd name="T55" fmla="*/ 2147483647 h 193"/>
                  <a:gd name="T56" fmla="*/ 2147483647 w 89"/>
                  <a:gd name="T57" fmla="*/ 2147483647 h 193"/>
                  <a:gd name="T58" fmla="*/ 2147483647 w 89"/>
                  <a:gd name="T59" fmla="*/ 2147483647 h 193"/>
                  <a:gd name="T60" fmla="*/ 2147483647 w 89"/>
                  <a:gd name="T61" fmla="*/ 2147483647 h 193"/>
                  <a:gd name="T62" fmla="*/ 2147483647 w 89"/>
                  <a:gd name="T63" fmla="*/ 2147483647 h 193"/>
                  <a:gd name="T64" fmla="*/ 2147483647 w 89"/>
                  <a:gd name="T65" fmla="*/ 2147483647 h 193"/>
                  <a:gd name="T66" fmla="*/ 2147483647 w 89"/>
                  <a:gd name="T67" fmla="*/ 2147483647 h 193"/>
                  <a:gd name="T68" fmla="*/ 2147483647 w 89"/>
                  <a:gd name="T69" fmla="*/ 2147483647 h 193"/>
                  <a:gd name="T70" fmla="*/ 2147483647 w 89"/>
                  <a:gd name="T71" fmla="*/ 2147483647 h 193"/>
                  <a:gd name="T72" fmla="*/ 2147483647 w 89"/>
                  <a:gd name="T73" fmla="*/ 2147483647 h 193"/>
                  <a:gd name="T74" fmla="*/ 2147483647 w 89"/>
                  <a:gd name="T75" fmla="*/ 2147483647 h 193"/>
                  <a:gd name="T76" fmla="*/ 2147483647 w 89"/>
                  <a:gd name="T77" fmla="*/ 2147483647 h 193"/>
                  <a:gd name="T78" fmla="*/ 2147483647 w 89"/>
                  <a:gd name="T79" fmla="*/ 2147483647 h 193"/>
                  <a:gd name="T80" fmla="*/ 2147483647 w 89"/>
                  <a:gd name="T81" fmla="*/ 2147483647 h 193"/>
                  <a:gd name="T82" fmla="*/ 2147483647 w 89"/>
                  <a:gd name="T83" fmla="*/ 2147483647 h 193"/>
                  <a:gd name="T84" fmla="*/ 2147483647 w 89"/>
                  <a:gd name="T85" fmla="*/ 2147483647 h 193"/>
                  <a:gd name="T86" fmla="*/ 2147483647 w 89"/>
                  <a:gd name="T87" fmla="*/ 2147483647 h 193"/>
                  <a:gd name="T88" fmla="*/ 2147483647 w 89"/>
                  <a:gd name="T89" fmla="*/ 2147483647 h 19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89"/>
                  <a:gd name="T136" fmla="*/ 0 h 193"/>
                  <a:gd name="T137" fmla="*/ 89 w 89"/>
                  <a:gd name="T138" fmla="*/ 193 h 19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89" h="193">
                    <a:moveTo>
                      <a:pt x="63" y="162"/>
                    </a:moveTo>
                    <a:cubicBezTo>
                      <a:pt x="63" y="164"/>
                      <a:pt x="65" y="166"/>
                      <a:pt x="64" y="167"/>
                    </a:cubicBezTo>
                    <a:cubicBezTo>
                      <a:pt x="64" y="168"/>
                      <a:pt x="65" y="173"/>
                      <a:pt x="62" y="173"/>
                    </a:cubicBezTo>
                    <a:cubicBezTo>
                      <a:pt x="60" y="173"/>
                      <a:pt x="62" y="177"/>
                      <a:pt x="62" y="177"/>
                    </a:cubicBezTo>
                    <a:cubicBezTo>
                      <a:pt x="62" y="177"/>
                      <a:pt x="64" y="177"/>
                      <a:pt x="64" y="179"/>
                    </a:cubicBezTo>
                    <a:cubicBezTo>
                      <a:pt x="64" y="181"/>
                      <a:pt x="63" y="185"/>
                      <a:pt x="62" y="187"/>
                    </a:cubicBezTo>
                    <a:cubicBezTo>
                      <a:pt x="62" y="187"/>
                      <a:pt x="63" y="190"/>
                      <a:pt x="63" y="193"/>
                    </a:cubicBezTo>
                    <a:cubicBezTo>
                      <a:pt x="64" y="191"/>
                      <a:pt x="65" y="188"/>
                      <a:pt x="67" y="186"/>
                    </a:cubicBezTo>
                    <a:cubicBezTo>
                      <a:pt x="70" y="183"/>
                      <a:pt x="70" y="180"/>
                      <a:pt x="72" y="178"/>
                    </a:cubicBezTo>
                    <a:cubicBezTo>
                      <a:pt x="74" y="176"/>
                      <a:pt x="73" y="174"/>
                      <a:pt x="72" y="170"/>
                    </a:cubicBezTo>
                    <a:cubicBezTo>
                      <a:pt x="71" y="166"/>
                      <a:pt x="69" y="162"/>
                      <a:pt x="69" y="159"/>
                    </a:cubicBezTo>
                    <a:cubicBezTo>
                      <a:pt x="70" y="156"/>
                      <a:pt x="68" y="154"/>
                      <a:pt x="63" y="150"/>
                    </a:cubicBezTo>
                    <a:cubicBezTo>
                      <a:pt x="58" y="145"/>
                      <a:pt x="59" y="141"/>
                      <a:pt x="60" y="141"/>
                    </a:cubicBezTo>
                    <a:cubicBezTo>
                      <a:pt x="61" y="141"/>
                      <a:pt x="63" y="138"/>
                      <a:pt x="63" y="138"/>
                    </a:cubicBezTo>
                    <a:cubicBezTo>
                      <a:pt x="63" y="138"/>
                      <a:pt x="65" y="132"/>
                      <a:pt x="66" y="133"/>
                    </a:cubicBezTo>
                    <a:cubicBezTo>
                      <a:pt x="67" y="133"/>
                      <a:pt x="66" y="128"/>
                      <a:pt x="66" y="128"/>
                    </a:cubicBezTo>
                    <a:cubicBezTo>
                      <a:pt x="66" y="128"/>
                      <a:pt x="63" y="125"/>
                      <a:pt x="63" y="124"/>
                    </a:cubicBezTo>
                    <a:cubicBezTo>
                      <a:pt x="63" y="123"/>
                      <a:pt x="57" y="116"/>
                      <a:pt x="56" y="115"/>
                    </a:cubicBezTo>
                    <a:cubicBezTo>
                      <a:pt x="55" y="113"/>
                      <a:pt x="53" y="110"/>
                      <a:pt x="53" y="110"/>
                    </a:cubicBezTo>
                    <a:cubicBezTo>
                      <a:pt x="53" y="110"/>
                      <a:pt x="51" y="108"/>
                      <a:pt x="51" y="107"/>
                    </a:cubicBezTo>
                    <a:cubicBezTo>
                      <a:pt x="50" y="105"/>
                      <a:pt x="55" y="106"/>
                      <a:pt x="55" y="106"/>
                    </a:cubicBezTo>
                    <a:cubicBezTo>
                      <a:pt x="55" y="106"/>
                      <a:pt x="55" y="105"/>
                      <a:pt x="55" y="103"/>
                    </a:cubicBezTo>
                    <a:cubicBezTo>
                      <a:pt x="55" y="100"/>
                      <a:pt x="57" y="96"/>
                      <a:pt x="57" y="95"/>
                    </a:cubicBezTo>
                    <a:cubicBezTo>
                      <a:pt x="58" y="94"/>
                      <a:pt x="60" y="95"/>
                      <a:pt x="62" y="95"/>
                    </a:cubicBezTo>
                    <a:cubicBezTo>
                      <a:pt x="63" y="96"/>
                      <a:pt x="67" y="94"/>
                      <a:pt x="68" y="92"/>
                    </a:cubicBezTo>
                    <a:cubicBezTo>
                      <a:pt x="69" y="90"/>
                      <a:pt x="72" y="91"/>
                      <a:pt x="72" y="91"/>
                    </a:cubicBezTo>
                    <a:cubicBezTo>
                      <a:pt x="73" y="88"/>
                      <a:pt x="73" y="88"/>
                      <a:pt x="73" y="88"/>
                    </a:cubicBezTo>
                    <a:cubicBezTo>
                      <a:pt x="73" y="88"/>
                      <a:pt x="76" y="87"/>
                      <a:pt x="77" y="87"/>
                    </a:cubicBezTo>
                    <a:cubicBezTo>
                      <a:pt x="77" y="87"/>
                      <a:pt x="78" y="87"/>
                      <a:pt x="78" y="87"/>
                    </a:cubicBezTo>
                    <a:cubicBezTo>
                      <a:pt x="79" y="84"/>
                      <a:pt x="79" y="85"/>
                      <a:pt x="80" y="84"/>
                    </a:cubicBezTo>
                    <a:cubicBezTo>
                      <a:pt x="82" y="83"/>
                      <a:pt x="82" y="83"/>
                      <a:pt x="84" y="80"/>
                    </a:cubicBezTo>
                    <a:cubicBezTo>
                      <a:pt x="87" y="77"/>
                      <a:pt x="89" y="77"/>
                      <a:pt x="89" y="76"/>
                    </a:cubicBezTo>
                    <a:cubicBezTo>
                      <a:pt x="89" y="74"/>
                      <a:pt x="88" y="74"/>
                      <a:pt x="87" y="73"/>
                    </a:cubicBezTo>
                    <a:cubicBezTo>
                      <a:pt x="85" y="73"/>
                      <a:pt x="83" y="77"/>
                      <a:pt x="82" y="77"/>
                    </a:cubicBezTo>
                    <a:cubicBezTo>
                      <a:pt x="81" y="77"/>
                      <a:pt x="79" y="76"/>
                      <a:pt x="79" y="75"/>
                    </a:cubicBezTo>
                    <a:cubicBezTo>
                      <a:pt x="78" y="73"/>
                      <a:pt x="77" y="72"/>
                      <a:pt x="76" y="71"/>
                    </a:cubicBezTo>
                    <a:cubicBezTo>
                      <a:pt x="75" y="70"/>
                      <a:pt x="69" y="69"/>
                      <a:pt x="69" y="69"/>
                    </a:cubicBezTo>
                    <a:cubicBezTo>
                      <a:pt x="69" y="69"/>
                      <a:pt x="70" y="67"/>
                      <a:pt x="71" y="65"/>
                    </a:cubicBezTo>
                    <a:cubicBezTo>
                      <a:pt x="72" y="64"/>
                      <a:pt x="71" y="63"/>
                      <a:pt x="73" y="60"/>
                    </a:cubicBezTo>
                    <a:cubicBezTo>
                      <a:pt x="75" y="57"/>
                      <a:pt x="68" y="59"/>
                      <a:pt x="67" y="59"/>
                    </a:cubicBezTo>
                    <a:cubicBezTo>
                      <a:pt x="66" y="58"/>
                      <a:pt x="65" y="54"/>
                      <a:pt x="65" y="52"/>
                    </a:cubicBezTo>
                    <a:cubicBezTo>
                      <a:pt x="65" y="51"/>
                      <a:pt x="66" y="48"/>
                      <a:pt x="66" y="48"/>
                    </a:cubicBezTo>
                    <a:cubicBezTo>
                      <a:pt x="66" y="48"/>
                      <a:pt x="61" y="47"/>
                      <a:pt x="58" y="49"/>
                    </a:cubicBezTo>
                    <a:cubicBezTo>
                      <a:pt x="56" y="51"/>
                      <a:pt x="53" y="50"/>
                      <a:pt x="54" y="49"/>
                    </a:cubicBezTo>
                    <a:cubicBezTo>
                      <a:pt x="55" y="49"/>
                      <a:pt x="54" y="44"/>
                      <a:pt x="54" y="44"/>
                    </a:cubicBezTo>
                    <a:cubicBezTo>
                      <a:pt x="54" y="44"/>
                      <a:pt x="55" y="40"/>
                      <a:pt x="55" y="39"/>
                    </a:cubicBezTo>
                    <a:cubicBezTo>
                      <a:pt x="55" y="38"/>
                      <a:pt x="57" y="36"/>
                      <a:pt x="58" y="35"/>
                    </a:cubicBezTo>
                    <a:cubicBezTo>
                      <a:pt x="59" y="34"/>
                      <a:pt x="60" y="32"/>
                      <a:pt x="63" y="31"/>
                    </a:cubicBezTo>
                    <a:cubicBezTo>
                      <a:pt x="65" y="31"/>
                      <a:pt x="64" y="28"/>
                      <a:pt x="65" y="26"/>
                    </a:cubicBezTo>
                    <a:cubicBezTo>
                      <a:pt x="65" y="24"/>
                      <a:pt x="64" y="12"/>
                      <a:pt x="64" y="11"/>
                    </a:cubicBezTo>
                    <a:cubicBezTo>
                      <a:pt x="64" y="9"/>
                      <a:pt x="61" y="11"/>
                      <a:pt x="61" y="11"/>
                    </a:cubicBezTo>
                    <a:cubicBezTo>
                      <a:pt x="61" y="11"/>
                      <a:pt x="60" y="7"/>
                      <a:pt x="60" y="5"/>
                    </a:cubicBezTo>
                    <a:cubicBezTo>
                      <a:pt x="60" y="3"/>
                      <a:pt x="54" y="0"/>
                      <a:pt x="54" y="0"/>
                    </a:cubicBezTo>
                    <a:cubicBezTo>
                      <a:pt x="54" y="0"/>
                      <a:pt x="53" y="1"/>
                      <a:pt x="52" y="3"/>
                    </a:cubicBezTo>
                    <a:cubicBezTo>
                      <a:pt x="51" y="6"/>
                      <a:pt x="50" y="7"/>
                      <a:pt x="48" y="9"/>
                    </a:cubicBezTo>
                    <a:cubicBezTo>
                      <a:pt x="46" y="11"/>
                      <a:pt x="50" y="16"/>
                      <a:pt x="49" y="15"/>
                    </a:cubicBezTo>
                    <a:cubicBezTo>
                      <a:pt x="48" y="15"/>
                      <a:pt x="44" y="13"/>
                      <a:pt x="42" y="13"/>
                    </a:cubicBezTo>
                    <a:cubicBezTo>
                      <a:pt x="41" y="14"/>
                      <a:pt x="35" y="18"/>
                      <a:pt x="34" y="19"/>
                    </a:cubicBezTo>
                    <a:cubicBezTo>
                      <a:pt x="32" y="20"/>
                      <a:pt x="30" y="20"/>
                      <a:pt x="29" y="23"/>
                    </a:cubicBezTo>
                    <a:cubicBezTo>
                      <a:pt x="29" y="27"/>
                      <a:pt x="29" y="30"/>
                      <a:pt x="27" y="32"/>
                    </a:cubicBezTo>
                    <a:cubicBezTo>
                      <a:pt x="25" y="34"/>
                      <a:pt x="24" y="37"/>
                      <a:pt x="25" y="37"/>
                    </a:cubicBezTo>
                    <a:cubicBezTo>
                      <a:pt x="26" y="38"/>
                      <a:pt x="24" y="43"/>
                      <a:pt x="24" y="43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19" y="51"/>
                      <a:pt x="15" y="49"/>
                      <a:pt x="12" y="49"/>
                    </a:cubicBezTo>
                    <a:cubicBezTo>
                      <a:pt x="10" y="50"/>
                      <a:pt x="14" y="54"/>
                      <a:pt x="13" y="58"/>
                    </a:cubicBezTo>
                    <a:cubicBezTo>
                      <a:pt x="13" y="62"/>
                      <a:pt x="10" y="60"/>
                      <a:pt x="10" y="60"/>
                    </a:cubicBezTo>
                    <a:cubicBezTo>
                      <a:pt x="10" y="60"/>
                      <a:pt x="10" y="64"/>
                      <a:pt x="10" y="65"/>
                    </a:cubicBezTo>
                    <a:cubicBezTo>
                      <a:pt x="10" y="66"/>
                      <a:pt x="10" y="69"/>
                      <a:pt x="8" y="70"/>
                    </a:cubicBezTo>
                    <a:cubicBezTo>
                      <a:pt x="7" y="71"/>
                      <a:pt x="5" y="70"/>
                      <a:pt x="5" y="70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78"/>
                      <a:pt x="4" y="78"/>
                      <a:pt x="2" y="78"/>
                    </a:cubicBezTo>
                    <a:cubicBezTo>
                      <a:pt x="0" y="78"/>
                      <a:pt x="4" y="85"/>
                      <a:pt x="4" y="85"/>
                    </a:cubicBezTo>
                    <a:cubicBezTo>
                      <a:pt x="4" y="85"/>
                      <a:pt x="6" y="89"/>
                      <a:pt x="7" y="89"/>
                    </a:cubicBezTo>
                    <a:cubicBezTo>
                      <a:pt x="9" y="89"/>
                      <a:pt x="13" y="93"/>
                      <a:pt x="15" y="95"/>
                    </a:cubicBezTo>
                    <a:cubicBezTo>
                      <a:pt x="16" y="97"/>
                      <a:pt x="15" y="97"/>
                      <a:pt x="13" y="97"/>
                    </a:cubicBezTo>
                    <a:cubicBezTo>
                      <a:pt x="11" y="97"/>
                      <a:pt x="14" y="100"/>
                      <a:pt x="15" y="102"/>
                    </a:cubicBezTo>
                    <a:cubicBezTo>
                      <a:pt x="15" y="103"/>
                      <a:pt x="15" y="105"/>
                      <a:pt x="16" y="105"/>
                    </a:cubicBezTo>
                    <a:cubicBezTo>
                      <a:pt x="17" y="105"/>
                      <a:pt x="19" y="104"/>
                      <a:pt x="19" y="104"/>
                    </a:cubicBezTo>
                    <a:cubicBezTo>
                      <a:pt x="23" y="114"/>
                      <a:pt x="23" y="114"/>
                      <a:pt x="23" y="114"/>
                    </a:cubicBezTo>
                    <a:cubicBezTo>
                      <a:pt x="23" y="114"/>
                      <a:pt x="22" y="126"/>
                      <a:pt x="21" y="127"/>
                    </a:cubicBezTo>
                    <a:cubicBezTo>
                      <a:pt x="20" y="128"/>
                      <a:pt x="21" y="134"/>
                      <a:pt x="21" y="135"/>
                    </a:cubicBezTo>
                    <a:cubicBezTo>
                      <a:pt x="22" y="136"/>
                      <a:pt x="27" y="136"/>
                      <a:pt x="29" y="136"/>
                    </a:cubicBezTo>
                    <a:cubicBezTo>
                      <a:pt x="31" y="136"/>
                      <a:pt x="33" y="136"/>
                      <a:pt x="34" y="135"/>
                    </a:cubicBezTo>
                    <a:cubicBezTo>
                      <a:pt x="34" y="134"/>
                      <a:pt x="38" y="131"/>
                      <a:pt x="39" y="131"/>
                    </a:cubicBezTo>
                    <a:cubicBezTo>
                      <a:pt x="40" y="132"/>
                      <a:pt x="44" y="128"/>
                      <a:pt x="45" y="127"/>
                    </a:cubicBezTo>
                    <a:cubicBezTo>
                      <a:pt x="46" y="125"/>
                      <a:pt x="47" y="121"/>
                      <a:pt x="49" y="121"/>
                    </a:cubicBezTo>
                    <a:cubicBezTo>
                      <a:pt x="50" y="121"/>
                      <a:pt x="51" y="128"/>
                      <a:pt x="53" y="129"/>
                    </a:cubicBezTo>
                    <a:cubicBezTo>
                      <a:pt x="54" y="131"/>
                      <a:pt x="54" y="135"/>
                      <a:pt x="55" y="139"/>
                    </a:cubicBezTo>
                    <a:cubicBezTo>
                      <a:pt x="56" y="142"/>
                      <a:pt x="56" y="147"/>
                      <a:pt x="56" y="150"/>
                    </a:cubicBezTo>
                    <a:cubicBezTo>
                      <a:pt x="56" y="153"/>
                      <a:pt x="58" y="156"/>
                      <a:pt x="60" y="156"/>
                    </a:cubicBezTo>
                    <a:cubicBezTo>
                      <a:pt x="62" y="157"/>
                      <a:pt x="62" y="161"/>
                      <a:pt x="63" y="16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7" name="Freeform 92"/>
              <p:cNvSpPr>
                <a:spLocks noEditPoints="1"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5076255" y="5200651"/>
                <a:ext cx="296103" cy="352425"/>
              </a:xfrm>
              <a:custGeom>
                <a:avLst/>
                <a:gdLst>
                  <a:gd name="T0" fmla="*/ 2147483647 w 75"/>
                  <a:gd name="T1" fmla="*/ 2147483647 h 90"/>
                  <a:gd name="T2" fmla="*/ 2147483647 w 75"/>
                  <a:gd name="T3" fmla="*/ 2147483647 h 90"/>
                  <a:gd name="T4" fmla="*/ 2147483647 w 75"/>
                  <a:gd name="T5" fmla="*/ 2147483647 h 90"/>
                  <a:gd name="T6" fmla="*/ 2147483647 w 75"/>
                  <a:gd name="T7" fmla="*/ 2147483647 h 90"/>
                  <a:gd name="T8" fmla="*/ 2147483647 w 75"/>
                  <a:gd name="T9" fmla="*/ 2147483647 h 90"/>
                  <a:gd name="T10" fmla="*/ 2147483647 w 75"/>
                  <a:gd name="T11" fmla="*/ 2147483647 h 90"/>
                  <a:gd name="T12" fmla="*/ 2147483647 w 75"/>
                  <a:gd name="T13" fmla="*/ 2147483647 h 90"/>
                  <a:gd name="T14" fmla="*/ 2147483647 w 75"/>
                  <a:gd name="T15" fmla="*/ 2147483647 h 90"/>
                  <a:gd name="T16" fmla="*/ 2147483647 w 75"/>
                  <a:gd name="T17" fmla="*/ 2147483647 h 90"/>
                  <a:gd name="T18" fmla="*/ 2147483647 w 75"/>
                  <a:gd name="T19" fmla="*/ 2147483647 h 90"/>
                  <a:gd name="T20" fmla="*/ 2147483647 w 75"/>
                  <a:gd name="T21" fmla="*/ 2147483647 h 90"/>
                  <a:gd name="T22" fmla="*/ 2147483647 w 75"/>
                  <a:gd name="T23" fmla="*/ 2147483647 h 90"/>
                  <a:gd name="T24" fmla="*/ 2147483647 w 75"/>
                  <a:gd name="T25" fmla="*/ 2147483647 h 90"/>
                  <a:gd name="T26" fmla="*/ 2147483647 w 75"/>
                  <a:gd name="T27" fmla="*/ 2147483647 h 90"/>
                  <a:gd name="T28" fmla="*/ 2147483647 w 75"/>
                  <a:gd name="T29" fmla="*/ 2147483647 h 90"/>
                  <a:gd name="T30" fmla="*/ 2147483647 w 75"/>
                  <a:gd name="T31" fmla="*/ 2147483647 h 90"/>
                  <a:gd name="T32" fmla="*/ 2147483647 w 75"/>
                  <a:gd name="T33" fmla="*/ 2147483647 h 90"/>
                  <a:gd name="T34" fmla="*/ 2147483647 w 75"/>
                  <a:gd name="T35" fmla="*/ 2147483647 h 90"/>
                  <a:gd name="T36" fmla="*/ 2147483647 w 75"/>
                  <a:gd name="T37" fmla="*/ 2147483647 h 90"/>
                  <a:gd name="T38" fmla="*/ 2147483647 w 75"/>
                  <a:gd name="T39" fmla="*/ 2147483647 h 90"/>
                  <a:gd name="T40" fmla="*/ 2147483647 w 75"/>
                  <a:gd name="T41" fmla="*/ 2147483647 h 90"/>
                  <a:gd name="T42" fmla="*/ 2147483647 w 75"/>
                  <a:gd name="T43" fmla="*/ 2147483647 h 90"/>
                  <a:gd name="T44" fmla="*/ 2147483647 w 75"/>
                  <a:gd name="T45" fmla="*/ 2147483647 h 90"/>
                  <a:gd name="T46" fmla="*/ 2147483647 w 75"/>
                  <a:gd name="T47" fmla="*/ 0 h 90"/>
                  <a:gd name="T48" fmla="*/ 2147483647 w 75"/>
                  <a:gd name="T49" fmla="*/ 0 h 90"/>
                  <a:gd name="T50" fmla="*/ 2147483647 w 75"/>
                  <a:gd name="T51" fmla="*/ 2147483647 h 90"/>
                  <a:gd name="T52" fmla="*/ 2147483647 w 75"/>
                  <a:gd name="T53" fmla="*/ 2147483647 h 90"/>
                  <a:gd name="T54" fmla="*/ 2147483647 w 75"/>
                  <a:gd name="T55" fmla="*/ 2147483647 h 90"/>
                  <a:gd name="T56" fmla="*/ 2147483647 w 75"/>
                  <a:gd name="T57" fmla="*/ 2147483647 h 90"/>
                  <a:gd name="T58" fmla="*/ 2147483647 w 75"/>
                  <a:gd name="T59" fmla="*/ 2147483647 h 90"/>
                  <a:gd name="T60" fmla="*/ 2147483647 w 75"/>
                  <a:gd name="T61" fmla="*/ 2147483647 h 90"/>
                  <a:gd name="T62" fmla="*/ 2147483647 w 75"/>
                  <a:gd name="T63" fmla="*/ 2147483647 h 90"/>
                  <a:gd name="T64" fmla="*/ 0 w 75"/>
                  <a:gd name="T65" fmla="*/ 2147483647 h 90"/>
                  <a:gd name="T66" fmla="*/ 0 w 75"/>
                  <a:gd name="T67" fmla="*/ 2147483647 h 90"/>
                  <a:gd name="T68" fmla="*/ 2147483647 w 75"/>
                  <a:gd name="T69" fmla="*/ 2147483647 h 90"/>
                  <a:gd name="T70" fmla="*/ 2147483647 w 75"/>
                  <a:gd name="T71" fmla="*/ 2147483647 h 90"/>
                  <a:gd name="T72" fmla="*/ 2147483647 w 75"/>
                  <a:gd name="T73" fmla="*/ 2147483647 h 90"/>
                  <a:gd name="T74" fmla="*/ 2147483647 w 75"/>
                  <a:gd name="T75" fmla="*/ 2147483647 h 90"/>
                  <a:gd name="T76" fmla="*/ 2147483647 w 75"/>
                  <a:gd name="T77" fmla="*/ 2147483647 h 90"/>
                  <a:gd name="T78" fmla="*/ 2147483647 w 75"/>
                  <a:gd name="T79" fmla="*/ 2147483647 h 90"/>
                  <a:gd name="T80" fmla="*/ 2147483647 w 75"/>
                  <a:gd name="T81" fmla="*/ 2147483647 h 90"/>
                  <a:gd name="T82" fmla="*/ 2147483647 w 75"/>
                  <a:gd name="T83" fmla="*/ 2147483647 h 90"/>
                  <a:gd name="T84" fmla="*/ 2147483647 w 75"/>
                  <a:gd name="T85" fmla="*/ 2147483647 h 90"/>
                  <a:gd name="T86" fmla="*/ 2147483647 w 75"/>
                  <a:gd name="T87" fmla="*/ 2147483647 h 90"/>
                  <a:gd name="T88" fmla="*/ 2147483647 w 75"/>
                  <a:gd name="T89" fmla="*/ 2147483647 h 90"/>
                  <a:gd name="T90" fmla="*/ 2147483647 w 75"/>
                  <a:gd name="T91" fmla="*/ 2147483647 h 90"/>
                  <a:gd name="T92" fmla="*/ 2147483647 w 75"/>
                  <a:gd name="T93" fmla="*/ 2147483647 h 90"/>
                  <a:gd name="T94" fmla="*/ 2147483647 w 75"/>
                  <a:gd name="T95" fmla="*/ 2147483647 h 90"/>
                  <a:gd name="T96" fmla="*/ 2147483647 w 75"/>
                  <a:gd name="T97" fmla="*/ 2147483647 h 90"/>
                  <a:gd name="T98" fmla="*/ 2147483647 w 75"/>
                  <a:gd name="T99" fmla="*/ 2147483647 h 90"/>
                  <a:gd name="T100" fmla="*/ 2147483647 w 75"/>
                  <a:gd name="T101" fmla="*/ 2147483647 h 90"/>
                  <a:gd name="T102" fmla="*/ 2147483647 w 75"/>
                  <a:gd name="T103" fmla="*/ 2147483647 h 90"/>
                  <a:gd name="T104" fmla="*/ 2147483647 w 75"/>
                  <a:gd name="T105" fmla="*/ 2147483647 h 90"/>
                  <a:gd name="T106" fmla="*/ 2147483647 w 75"/>
                  <a:gd name="T107" fmla="*/ 2147483647 h 90"/>
                  <a:gd name="T108" fmla="*/ 2147483647 w 75"/>
                  <a:gd name="T109" fmla="*/ 2147483647 h 90"/>
                  <a:gd name="T110" fmla="*/ 2147483647 w 75"/>
                  <a:gd name="T111" fmla="*/ 2147483647 h 90"/>
                  <a:gd name="T112" fmla="*/ 2147483647 w 75"/>
                  <a:gd name="T113" fmla="*/ 2147483647 h 90"/>
                  <a:gd name="T114" fmla="*/ 2147483647 w 75"/>
                  <a:gd name="T115" fmla="*/ 2147483647 h 90"/>
                  <a:gd name="T116" fmla="*/ 2147483647 w 75"/>
                  <a:gd name="T117" fmla="*/ 2147483647 h 90"/>
                  <a:gd name="T118" fmla="*/ 2147483647 w 75"/>
                  <a:gd name="T119" fmla="*/ 2147483647 h 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"/>
                  <a:gd name="T181" fmla="*/ 0 h 90"/>
                  <a:gd name="T182" fmla="*/ 75 w 75"/>
                  <a:gd name="T183" fmla="*/ 90 h 9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" h="90">
                    <a:moveTo>
                      <a:pt x="49" y="85"/>
                    </a:moveTo>
                    <a:cubicBezTo>
                      <a:pt x="49" y="84"/>
                      <a:pt x="49" y="84"/>
                      <a:pt x="49" y="84"/>
                    </a:cubicBezTo>
                    <a:cubicBezTo>
                      <a:pt x="49" y="84"/>
                      <a:pt x="49" y="85"/>
                      <a:pt x="49" y="85"/>
                    </a:cubicBezTo>
                    <a:close/>
                    <a:moveTo>
                      <a:pt x="72" y="71"/>
                    </a:moveTo>
                    <a:cubicBezTo>
                      <a:pt x="71" y="69"/>
                      <a:pt x="73" y="69"/>
                      <a:pt x="73" y="68"/>
                    </a:cubicBezTo>
                    <a:cubicBezTo>
                      <a:pt x="73" y="67"/>
                      <a:pt x="73" y="66"/>
                      <a:pt x="69" y="63"/>
                    </a:cubicBezTo>
                    <a:cubicBezTo>
                      <a:pt x="65" y="61"/>
                      <a:pt x="65" y="62"/>
                      <a:pt x="65" y="62"/>
                    </a:cubicBezTo>
                    <a:cubicBezTo>
                      <a:pt x="65" y="62"/>
                      <a:pt x="64" y="59"/>
                      <a:pt x="63" y="57"/>
                    </a:cubicBezTo>
                    <a:cubicBezTo>
                      <a:pt x="61" y="55"/>
                      <a:pt x="58" y="52"/>
                      <a:pt x="56" y="49"/>
                    </a:cubicBezTo>
                    <a:cubicBezTo>
                      <a:pt x="54" y="46"/>
                      <a:pt x="52" y="44"/>
                      <a:pt x="51" y="43"/>
                    </a:cubicBezTo>
                    <a:cubicBezTo>
                      <a:pt x="50" y="42"/>
                      <a:pt x="50" y="42"/>
                      <a:pt x="47" y="39"/>
                    </a:cubicBezTo>
                    <a:cubicBezTo>
                      <a:pt x="43" y="36"/>
                      <a:pt x="37" y="33"/>
                      <a:pt x="37" y="33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9" y="31"/>
                      <a:pt x="41" y="29"/>
                      <a:pt x="43" y="29"/>
                    </a:cubicBezTo>
                    <a:cubicBezTo>
                      <a:pt x="44" y="30"/>
                      <a:pt x="46" y="29"/>
                      <a:pt x="47" y="28"/>
                    </a:cubicBezTo>
                    <a:cubicBezTo>
                      <a:pt x="48" y="27"/>
                      <a:pt x="49" y="24"/>
                      <a:pt x="47" y="24"/>
                    </a:cubicBezTo>
                    <a:cubicBezTo>
                      <a:pt x="45" y="23"/>
                      <a:pt x="43" y="21"/>
                      <a:pt x="43" y="21"/>
                    </a:cubicBezTo>
                    <a:cubicBezTo>
                      <a:pt x="43" y="21"/>
                      <a:pt x="47" y="21"/>
                      <a:pt x="45" y="19"/>
                    </a:cubicBezTo>
                    <a:cubicBezTo>
                      <a:pt x="42" y="17"/>
                      <a:pt x="40" y="15"/>
                      <a:pt x="38" y="17"/>
                    </a:cubicBezTo>
                    <a:cubicBezTo>
                      <a:pt x="36" y="18"/>
                      <a:pt x="34" y="19"/>
                      <a:pt x="33" y="18"/>
                    </a:cubicBezTo>
                    <a:cubicBezTo>
                      <a:pt x="32" y="17"/>
                      <a:pt x="28" y="14"/>
                      <a:pt x="28" y="14"/>
                    </a:cubicBezTo>
                    <a:cubicBezTo>
                      <a:pt x="28" y="14"/>
                      <a:pt x="30" y="10"/>
                      <a:pt x="28" y="8"/>
                    </a:cubicBezTo>
                    <a:cubicBezTo>
                      <a:pt x="27" y="7"/>
                      <a:pt x="25" y="9"/>
                      <a:pt x="25" y="7"/>
                    </a:cubicBezTo>
                    <a:cubicBezTo>
                      <a:pt x="25" y="6"/>
                      <a:pt x="20" y="0"/>
                      <a:pt x="2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4" y="2"/>
                      <a:pt x="15" y="3"/>
                    </a:cubicBezTo>
                    <a:cubicBezTo>
                      <a:pt x="15" y="4"/>
                      <a:pt x="16" y="6"/>
                      <a:pt x="16" y="8"/>
                    </a:cubicBezTo>
                    <a:cubicBezTo>
                      <a:pt x="17" y="9"/>
                      <a:pt x="17" y="14"/>
                      <a:pt x="17" y="14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9" y="11"/>
                      <a:pt x="8" y="12"/>
                      <a:pt x="6" y="14"/>
                    </a:cubicBezTo>
                    <a:cubicBezTo>
                      <a:pt x="4" y="17"/>
                      <a:pt x="4" y="17"/>
                      <a:pt x="2" y="18"/>
                    </a:cubicBezTo>
                    <a:cubicBezTo>
                      <a:pt x="1" y="19"/>
                      <a:pt x="1" y="18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22"/>
                      <a:pt x="3" y="23"/>
                      <a:pt x="4" y="24"/>
                    </a:cubicBezTo>
                    <a:cubicBezTo>
                      <a:pt x="5" y="25"/>
                      <a:pt x="5" y="31"/>
                      <a:pt x="5" y="31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4"/>
                      <a:pt x="12" y="40"/>
                      <a:pt x="11" y="41"/>
                    </a:cubicBezTo>
                    <a:cubicBezTo>
                      <a:pt x="10" y="43"/>
                      <a:pt x="12" y="45"/>
                      <a:pt x="11" y="48"/>
                    </a:cubicBezTo>
                    <a:cubicBezTo>
                      <a:pt x="10" y="50"/>
                      <a:pt x="10" y="52"/>
                      <a:pt x="11" y="52"/>
                    </a:cubicBezTo>
                    <a:cubicBezTo>
                      <a:pt x="13" y="52"/>
                      <a:pt x="15" y="48"/>
                      <a:pt x="17" y="47"/>
                    </a:cubicBezTo>
                    <a:cubicBezTo>
                      <a:pt x="18" y="46"/>
                      <a:pt x="22" y="45"/>
                      <a:pt x="24" y="48"/>
                    </a:cubicBezTo>
                    <a:cubicBezTo>
                      <a:pt x="27" y="50"/>
                      <a:pt x="29" y="46"/>
                      <a:pt x="29" y="46"/>
                    </a:cubicBezTo>
                    <a:cubicBezTo>
                      <a:pt x="29" y="46"/>
                      <a:pt x="30" y="42"/>
                      <a:pt x="32" y="43"/>
                    </a:cubicBezTo>
                    <a:cubicBezTo>
                      <a:pt x="35" y="43"/>
                      <a:pt x="36" y="42"/>
                      <a:pt x="41" y="47"/>
                    </a:cubicBezTo>
                    <a:cubicBezTo>
                      <a:pt x="46" y="52"/>
                      <a:pt x="46" y="53"/>
                      <a:pt x="46" y="54"/>
                    </a:cubicBezTo>
                    <a:cubicBezTo>
                      <a:pt x="46" y="55"/>
                      <a:pt x="46" y="60"/>
                      <a:pt x="47" y="62"/>
                    </a:cubicBezTo>
                    <a:cubicBezTo>
                      <a:pt x="48" y="64"/>
                      <a:pt x="50" y="64"/>
                      <a:pt x="52" y="68"/>
                    </a:cubicBezTo>
                    <a:cubicBezTo>
                      <a:pt x="54" y="72"/>
                      <a:pt x="55" y="72"/>
                      <a:pt x="55" y="72"/>
                    </a:cubicBezTo>
                    <a:cubicBezTo>
                      <a:pt x="55" y="72"/>
                      <a:pt x="53" y="76"/>
                      <a:pt x="54" y="77"/>
                    </a:cubicBezTo>
                    <a:cubicBezTo>
                      <a:pt x="54" y="78"/>
                      <a:pt x="55" y="81"/>
                      <a:pt x="53" y="83"/>
                    </a:cubicBezTo>
                    <a:cubicBezTo>
                      <a:pt x="50" y="85"/>
                      <a:pt x="49" y="85"/>
                      <a:pt x="49" y="85"/>
                    </a:cubicBezTo>
                    <a:cubicBezTo>
                      <a:pt x="51" y="86"/>
                      <a:pt x="52" y="87"/>
                      <a:pt x="54" y="87"/>
                    </a:cubicBezTo>
                    <a:cubicBezTo>
                      <a:pt x="55" y="87"/>
                      <a:pt x="60" y="90"/>
                      <a:pt x="60" y="88"/>
                    </a:cubicBezTo>
                    <a:cubicBezTo>
                      <a:pt x="60" y="86"/>
                      <a:pt x="59" y="84"/>
                      <a:pt x="61" y="83"/>
                    </a:cubicBezTo>
                    <a:cubicBezTo>
                      <a:pt x="63" y="82"/>
                      <a:pt x="63" y="82"/>
                      <a:pt x="67" y="84"/>
                    </a:cubicBezTo>
                    <a:cubicBezTo>
                      <a:pt x="70" y="85"/>
                      <a:pt x="71" y="83"/>
                      <a:pt x="73" y="81"/>
                    </a:cubicBezTo>
                    <a:cubicBezTo>
                      <a:pt x="74" y="79"/>
                      <a:pt x="75" y="77"/>
                      <a:pt x="75" y="76"/>
                    </a:cubicBezTo>
                    <a:cubicBezTo>
                      <a:pt x="75" y="75"/>
                      <a:pt x="72" y="73"/>
                      <a:pt x="72" y="7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8" name="Freeform 93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5156876" y="5164138"/>
                <a:ext cx="281444" cy="595312"/>
              </a:xfrm>
              <a:custGeom>
                <a:avLst/>
                <a:gdLst>
                  <a:gd name="T0" fmla="*/ 2147483647 w 71"/>
                  <a:gd name="T1" fmla="*/ 2147483647 h 152"/>
                  <a:gd name="T2" fmla="*/ 2147483647 w 71"/>
                  <a:gd name="T3" fmla="*/ 2147483647 h 152"/>
                  <a:gd name="T4" fmla="*/ 2147483647 w 71"/>
                  <a:gd name="T5" fmla="*/ 2147483647 h 152"/>
                  <a:gd name="T6" fmla="*/ 2147483647 w 71"/>
                  <a:gd name="T7" fmla="*/ 2147483647 h 152"/>
                  <a:gd name="T8" fmla="*/ 2147483647 w 71"/>
                  <a:gd name="T9" fmla="*/ 2147483647 h 152"/>
                  <a:gd name="T10" fmla="*/ 2147483647 w 71"/>
                  <a:gd name="T11" fmla="*/ 2147483647 h 152"/>
                  <a:gd name="T12" fmla="*/ 2147483647 w 71"/>
                  <a:gd name="T13" fmla="*/ 2147483647 h 152"/>
                  <a:gd name="T14" fmla="*/ 2147483647 w 71"/>
                  <a:gd name="T15" fmla="*/ 2147483647 h 152"/>
                  <a:gd name="T16" fmla="*/ 2147483647 w 71"/>
                  <a:gd name="T17" fmla="*/ 2147483647 h 152"/>
                  <a:gd name="T18" fmla="*/ 2147483647 w 71"/>
                  <a:gd name="T19" fmla="*/ 2147483647 h 152"/>
                  <a:gd name="T20" fmla="*/ 2147483647 w 71"/>
                  <a:gd name="T21" fmla="*/ 2147483647 h 152"/>
                  <a:gd name="T22" fmla="*/ 2147483647 w 71"/>
                  <a:gd name="T23" fmla="*/ 2147483647 h 152"/>
                  <a:gd name="T24" fmla="*/ 2147483647 w 71"/>
                  <a:gd name="T25" fmla="*/ 2147483647 h 152"/>
                  <a:gd name="T26" fmla="*/ 0 w 71"/>
                  <a:gd name="T27" fmla="*/ 2147483647 h 152"/>
                  <a:gd name="T28" fmla="*/ 2147483647 w 71"/>
                  <a:gd name="T29" fmla="*/ 2147483647 h 152"/>
                  <a:gd name="T30" fmla="*/ 2147483647 w 71"/>
                  <a:gd name="T31" fmla="*/ 2147483647 h 152"/>
                  <a:gd name="T32" fmla="*/ 2147483647 w 71"/>
                  <a:gd name="T33" fmla="*/ 2147483647 h 152"/>
                  <a:gd name="T34" fmla="*/ 2147483647 w 71"/>
                  <a:gd name="T35" fmla="*/ 2147483647 h 152"/>
                  <a:gd name="T36" fmla="*/ 2147483647 w 71"/>
                  <a:gd name="T37" fmla="*/ 2147483647 h 152"/>
                  <a:gd name="T38" fmla="*/ 2147483647 w 71"/>
                  <a:gd name="T39" fmla="*/ 2147483647 h 152"/>
                  <a:gd name="T40" fmla="*/ 2147483647 w 71"/>
                  <a:gd name="T41" fmla="*/ 2147483647 h 152"/>
                  <a:gd name="T42" fmla="*/ 2147483647 w 71"/>
                  <a:gd name="T43" fmla="*/ 2147483647 h 152"/>
                  <a:gd name="T44" fmla="*/ 2147483647 w 71"/>
                  <a:gd name="T45" fmla="*/ 2147483647 h 152"/>
                  <a:gd name="T46" fmla="*/ 2147483647 w 71"/>
                  <a:gd name="T47" fmla="*/ 2147483647 h 152"/>
                  <a:gd name="T48" fmla="*/ 2147483647 w 71"/>
                  <a:gd name="T49" fmla="*/ 2147483647 h 152"/>
                  <a:gd name="T50" fmla="*/ 2147483647 w 71"/>
                  <a:gd name="T51" fmla="*/ 2147483647 h 152"/>
                  <a:gd name="T52" fmla="*/ 2147483647 w 71"/>
                  <a:gd name="T53" fmla="*/ 2147483647 h 152"/>
                  <a:gd name="T54" fmla="*/ 2147483647 w 71"/>
                  <a:gd name="T55" fmla="*/ 2147483647 h 152"/>
                  <a:gd name="T56" fmla="*/ 2147483647 w 71"/>
                  <a:gd name="T57" fmla="*/ 2147483647 h 152"/>
                  <a:gd name="T58" fmla="*/ 2147483647 w 71"/>
                  <a:gd name="T59" fmla="*/ 2147483647 h 152"/>
                  <a:gd name="T60" fmla="*/ 2147483647 w 71"/>
                  <a:gd name="T61" fmla="*/ 2147483647 h 152"/>
                  <a:gd name="T62" fmla="*/ 2147483647 w 71"/>
                  <a:gd name="T63" fmla="*/ 2147483647 h 152"/>
                  <a:gd name="T64" fmla="*/ 2147483647 w 71"/>
                  <a:gd name="T65" fmla="*/ 2147483647 h 152"/>
                  <a:gd name="T66" fmla="*/ 2147483647 w 71"/>
                  <a:gd name="T67" fmla="*/ 2147483647 h 152"/>
                  <a:gd name="T68" fmla="*/ 2147483647 w 71"/>
                  <a:gd name="T69" fmla="*/ 2147483647 h 152"/>
                  <a:gd name="T70" fmla="*/ 2147483647 w 71"/>
                  <a:gd name="T71" fmla="*/ 2147483647 h 152"/>
                  <a:gd name="T72" fmla="*/ 2147483647 w 71"/>
                  <a:gd name="T73" fmla="*/ 2147483647 h 152"/>
                  <a:gd name="T74" fmla="*/ 2147483647 w 71"/>
                  <a:gd name="T75" fmla="*/ 2147483647 h 15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71"/>
                  <a:gd name="T115" fmla="*/ 0 h 152"/>
                  <a:gd name="T116" fmla="*/ 71 w 71"/>
                  <a:gd name="T117" fmla="*/ 152 h 15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71" h="152">
                    <a:moveTo>
                      <a:pt x="69" y="93"/>
                    </a:moveTo>
                    <a:cubicBezTo>
                      <a:pt x="68" y="83"/>
                      <a:pt x="64" y="81"/>
                      <a:pt x="64" y="81"/>
                    </a:cubicBezTo>
                    <a:cubicBezTo>
                      <a:pt x="64" y="81"/>
                      <a:pt x="57" y="72"/>
                      <a:pt x="55" y="70"/>
                    </a:cubicBezTo>
                    <a:cubicBezTo>
                      <a:pt x="53" y="69"/>
                      <a:pt x="49" y="67"/>
                      <a:pt x="44" y="60"/>
                    </a:cubicBezTo>
                    <a:cubicBezTo>
                      <a:pt x="40" y="54"/>
                      <a:pt x="44" y="55"/>
                      <a:pt x="42" y="54"/>
                    </a:cubicBezTo>
                    <a:cubicBezTo>
                      <a:pt x="41" y="54"/>
                      <a:pt x="38" y="54"/>
                      <a:pt x="35" y="47"/>
                    </a:cubicBezTo>
                    <a:cubicBezTo>
                      <a:pt x="33" y="40"/>
                      <a:pt x="36" y="42"/>
                      <a:pt x="37" y="40"/>
                    </a:cubicBezTo>
                    <a:cubicBezTo>
                      <a:pt x="37" y="38"/>
                      <a:pt x="40" y="35"/>
                      <a:pt x="42" y="35"/>
                    </a:cubicBezTo>
                    <a:cubicBezTo>
                      <a:pt x="43" y="34"/>
                      <a:pt x="46" y="34"/>
                      <a:pt x="45" y="33"/>
                    </a:cubicBezTo>
                    <a:cubicBezTo>
                      <a:pt x="44" y="31"/>
                      <a:pt x="45" y="27"/>
                      <a:pt x="45" y="27"/>
                    </a:cubicBezTo>
                    <a:cubicBezTo>
                      <a:pt x="45" y="27"/>
                      <a:pt x="53" y="23"/>
                      <a:pt x="54" y="22"/>
                    </a:cubicBezTo>
                    <a:cubicBezTo>
                      <a:pt x="54" y="21"/>
                      <a:pt x="57" y="19"/>
                      <a:pt x="57" y="19"/>
                    </a:cubicBezTo>
                    <a:cubicBezTo>
                      <a:pt x="57" y="19"/>
                      <a:pt x="55" y="18"/>
                      <a:pt x="54" y="17"/>
                    </a:cubicBezTo>
                    <a:cubicBezTo>
                      <a:pt x="53" y="17"/>
                      <a:pt x="51" y="19"/>
                      <a:pt x="48" y="17"/>
                    </a:cubicBezTo>
                    <a:cubicBezTo>
                      <a:pt x="45" y="15"/>
                      <a:pt x="45" y="15"/>
                      <a:pt x="45" y="12"/>
                    </a:cubicBezTo>
                    <a:cubicBezTo>
                      <a:pt x="45" y="9"/>
                      <a:pt x="45" y="8"/>
                      <a:pt x="46" y="7"/>
                    </a:cubicBezTo>
                    <a:cubicBezTo>
                      <a:pt x="47" y="6"/>
                      <a:pt x="45" y="5"/>
                      <a:pt x="43" y="5"/>
                    </a:cubicBezTo>
                    <a:cubicBezTo>
                      <a:pt x="41" y="5"/>
                      <a:pt x="38" y="4"/>
                      <a:pt x="36" y="3"/>
                    </a:cubicBezTo>
                    <a:cubicBezTo>
                      <a:pt x="34" y="2"/>
                      <a:pt x="33" y="0"/>
                      <a:pt x="33" y="0"/>
                    </a:cubicBezTo>
                    <a:cubicBezTo>
                      <a:pt x="33" y="0"/>
                      <a:pt x="31" y="1"/>
                      <a:pt x="29" y="1"/>
                    </a:cubicBezTo>
                    <a:cubicBezTo>
                      <a:pt x="28" y="1"/>
                      <a:pt x="27" y="5"/>
                      <a:pt x="27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5"/>
                      <a:pt x="20" y="7"/>
                      <a:pt x="19" y="8"/>
                    </a:cubicBezTo>
                    <a:cubicBezTo>
                      <a:pt x="18" y="9"/>
                      <a:pt x="17" y="7"/>
                      <a:pt x="15" y="7"/>
                    </a:cubicBezTo>
                    <a:cubicBezTo>
                      <a:pt x="13" y="7"/>
                      <a:pt x="14" y="7"/>
                      <a:pt x="13" y="6"/>
                    </a:cubicBezTo>
                    <a:cubicBezTo>
                      <a:pt x="12" y="4"/>
                      <a:pt x="11" y="7"/>
                      <a:pt x="10" y="9"/>
                    </a:cubicBezTo>
                    <a:cubicBezTo>
                      <a:pt x="8" y="10"/>
                      <a:pt x="5" y="7"/>
                      <a:pt x="4" y="6"/>
                    </a:cubicBezTo>
                    <a:cubicBezTo>
                      <a:pt x="3" y="6"/>
                      <a:pt x="0" y="9"/>
                      <a:pt x="0" y="9"/>
                    </a:cubicBezTo>
                    <a:cubicBezTo>
                      <a:pt x="0" y="9"/>
                      <a:pt x="5" y="15"/>
                      <a:pt x="5" y="16"/>
                    </a:cubicBezTo>
                    <a:cubicBezTo>
                      <a:pt x="5" y="18"/>
                      <a:pt x="7" y="16"/>
                      <a:pt x="8" y="17"/>
                    </a:cubicBezTo>
                    <a:cubicBezTo>
                      <a:pt x="10" y="19"/>
                      <a:pt x="8" y="23"/>
                      <a:pt x="8" y="23"/>
                    </a:cubicBezTo>
                    <a:cubicBezTo>
                      <a:pt x="8" y="23"/>
                      <a:pt x="12" y="26"/>
                      <a:pt x="13" y="27"/>
                    </a:cubicBezTo>
                    <a:cubicBezTo>
                      <a:pt x="14" y="28"/>
                      <a:pt x="16" y="27"/>
                      <a:pt x="18" y="26"/>
                    </a:cubicBezTo>
                    <a:cubicBezTo>
                      <a:pt x="20" y="24"/>
                      <a:pt x="22" y="26"/>
                      <a:pt x="25" y="28"/>
                    </a:cubicBezTo>
                    <a:cubicBezTo>
                      <a:pt x="27" y="30"/>
                      <a:pt x="23" y="30"/>
                      <a:pt x="23" y="30"/>
                    </a:cubicBezTo>
                    <a:cubicBezTo>
                      <a:pt x="23" y="30"/>
                      <a:pt x="25" y="32"/>
                      <a:pt x="27" y="33"/>
                    </a:cubicBezTo>
                    <a:cubicBezTo>
                      <a:pt x="29" y="33"/>
                      <a:pt x="28" y="36"/>
                      <a:pt x="27" y="37"/>
                    </a:cubicBezTo>
                    <a:cubicBezTo>
                      <a:pt x="26" y="38"/>
                      <a:pt x="24" y="39"/>
                      <a:pt x="23" y="38"/>
                    </a:cubicBezTo>
                    <a:cubicBezTo>
                      <a:pt x="21" y="38"/>
                      <a:pt x="19" y="40"/>
                      <a:pt x="19" y="40"/>
                    </a:cubicBezTo>
                    <a:cubicBezTo>
                      <a:pt x="17" y="42"/>
                      <a:pt x="17" y="42"/>
                      <a:pt x="17" y="42"/>
                    </a:cubicBezTo>
                    <a:cubicBezTo>
                      <a:pt x="17" y="42"/>
                      <a:pt x="23" y="45"/>
                      <a:pt x="27" y="48"/>
                    </a:cubicBezTo>
                    <a:cubicBezTo>
                      <a:pt x="30" y="51"/>
                      <a:pt x="30" y="51"/>
                      <a:pt x="31" y="52"/>
                    </a:cubicBezTo>
                    <a:cubicBezTo>
                      <a:pt x="32" y="53"/>
                      <a:pt x="34" y="55"/>
                      <a:pt x="36" y="58"/>
                    </a:cubicBezTo>
                    <a:cubicBezTo>
                      <a:pt x="38" y="61"/>
                      <a:pt x="41" y="64"/>
                      <a:pt x="43" y="66"/>
                    </a:cubicBezTo>
                    <a:cubicBezTo>
                      <a:pt x="44" y="68"/>
                      <a:pt x="45" y="71"/>
                      <a:pt x="45" y="71"/>
                    </a:cubicBezTo>
                    <a:cubicBezTo>
                      <a:pt x="45" y="71"/>
                      <a:pt x="45" y="70"/>
                      <a:pt x="49" y="72"/>
                    </a:cubicBezTo>
                    <a:cubicBezTo>
                      <a:pt x="53" y="75"/>
                      <a:pt x="53" y="76"/>
                      <a:pt x="53" y="77"/>
                    </a:cubicBezTo>
                    <a:cubicBezTo>
                      <a:pt x="53" y="78"/>
                      <a:pt x="51" y="78"/>
                      <a:pt x="52" y="80"/>
                    </a:cubicBezTo>
                    <a:cubicBezTo>
                      <a:pt x="52" y="82"/>
                      <a:pt x="55" y="84"/>
                      <a:pt x="55" y="85"/>
                    </a:cubicBezTo>
                    <a:cubicBezTo>
                      <a:pt x="55" y="86"/>
                      <a:pt x="54" y="88"/>
                      <a:pt x="53" y="90"/>
                    </a:cubicBezTo>
                    <a:cubicBezTo>
                      <a:pt x="52" y="91"/>
                      <a:pt x="51" y="91"/>
                      <a:pt x="51" y="92"/>
                    </a:cubicBezTo>
                    <a:cubicBezTo>
                      <a:pt x="51" y="93"/>
                      <a:pt x="52" y="97"/>
                      <a:pt x="53" y="98"/>
                    </a:cubicBezTo>
                    <a:cubicBezTo>
                      <a:pt x="54" y="101"/>
                      <a:pt x="55" y="103"/>
                      <a:pt x="54" y="105"/>
                    </a:cubicBezTo>
                    <a:cubicBezTo>
                      <a:pt x="52" y="106"/>
                      <a:pt x="55" y="109"/>
                      <a:pt x="55" y="111"/>
                    </a:cubicBezTo>
                    <a:cubicBezTo>
                      <a:pt x="54" y="113"/>
                      <a:pt x="53" y="114"/>
                      <a:pt x="51" y="114"/>
                    </a:cubicBezTo>
                    <a:cubicBezTo>
                      <a:pt x="49" y="113"/>
                      <a:pt x="45" y="116"/>
                      <a:pt x="45" y="116"/>
                    </a:cubicBezTo>
                    <a:cubicBezTo>
                      <a:pt x="43" y="119"/>
                      <a:pt x="43" y="119"/>
                      <a:pt x="43" y="119"/>
                    </a:cubicBezTo>
                    <a:cubicBezTo>
                      <a:pt x="43" y="119"/>
                      <a:pt x="41" y="119"/>
                      <a:pt x="39" y="118"/>
                    </a:cubicBezTo>
                    <a:cubicBezTo>
                      <a:pt x="36" y="118"/>
                      <a:pt x="37" y="122"/>
                      <a:pt x="37" y="123"/>
                    </a:cubicBezTo>
                    <a:cubicBezTo>
                      <a:pt x="38" y="124"/>
                      <a:pt x="41" y="128"/>
                      <a:pt x="40" y="128"/>
                    </a:cubicBezTo>
                    <a:cubicBezTo>
                      <a:pt x="39" y="129"/>
                      <a:pt x="36" y="127"/>
                      <a:pt x="36" y="127"/>
                    </a:cubicBezTo>
                    <a:cubicBezTo>
                      <a:pt x="30" y="127"/>
                      <a:pt x="30" y="127"/>
                      <a:pt x="30" y="127"/>
                    </a:cubicBezTo>
                    <a:cubicBezTo>
                      <a:pt x="30" y="127"/>
                      <a:pt x="30" y="130"/>
                      <a:pt x="28" y="131"/>
                    </a:cubicBezTo>
                    <a:cubicBezTo>
                      <a:pt x="26" y="132"/>
                      <a:pt x="24" y="134"/>
                      <a:pt x="24" y="134"/>
                    </a:cubicBezTo>
                    <a:cubicBezTo>
                      <a:pt x="29" y="138"/>
                      <a:pt x="29" y="138"/>
                      <a:pt x="29" y="138"/>
                    </a:cubicBezTo>
                    <a:cubicBezTo>
                      <a:pt x="29" y="138"/>
                      <a:pt x="27" y="141"/>
                      <a:pt x="27" y="144"/>
                    </a:cubicBezTo>
                    <a:cubicBezTo>
                      <a:pt x="26" y="146"/>
                      <a:pt x="26" y="151"/>
                      <a:pt x="27" y="151"/>
                    </a:cubicBezTo>
                    <a:cubicBezTo>
                      <a:pt x="28" y="152"/>
                      <a:pt x="33" y="149"/>
                      <a:pt x="33" y="147"/>
                    </a:cubicBezTo>
                    <a:cubicBezTo>
                      <a:pt x="34" y="144"/>
                      <a:pt x="38" y="144"/>
                      <a:pt x="41" y="143"/>
                    </a:cubicBezTo>
                    <a:cubicBezTo>
                      <a:pt x="44" y="142"/>
                      <a:pt x="44" y="140"/>
                      <a:pt x="45" y="138"/>
                    </a:cubicBezTo>
                    <a:cubicBezTo>
                      <a:pt x="46" y="135"/>
                      <a:pt x="46" y="133"/>
                      <a:pt x="48" y="133"/>
                    </a:cubicBezTo>
                    <a:cubicBezTo>
                      <a:pt x="50" y="134"/>
                      <a:pt x="56" y="131"/>
                      <a:pt x="57" y="130"/>
                    </a:cubicBezTo>
                    <a:cubicBezTo>
                      <a:pt x="59" y="129"/>
                      <a:pt x="65" y="127"/>
                      <a:pt x="66" y="126"/>
                    </a:cubicBezTo>
                    <a:cubicBezTo>
                      <a:pt x="67" y="124"/>
                      <a:pt x="69" y="120"/>
                      <a:pt x="69" y="119"/>
                    </a:cubicBezTo>
                    <a:cubicBezTo>
                      <a:pt x="69" y="117"/>
                      <a:pt x="71" y="112"/>
                      <a:pt x="71" y="112"/>
                    </a:cubicBezTo>
                    <a:cubicBezTo>
                      <a:pt x="71" y="104"/>
                      <a:pt x="71" y="104"/>
                      <a:pt x="71" y="104"/>
                    </a:cubicBezTo>
                    <a:cubicBezTo>
                      <a:pt x="71" y="104"/>
                      <a:pt x="71" y="104"/>
                      <a:pt x="69" y="9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19" name="Freeform 94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5162740" y="5522914"/>
                <a:ext cx="209618" cy="168275"/>
              </a:xfrm>
              <a:custGeom>
                <a:avLst/>
                <a:gdLst>
                  <a:gd name="T0" fmla="*/ 2147483647 w 53"/>
                  <a:gd name="T1" fmla="*/ 2147483647 h 43"/>
                  <a:gd name="T2" fmla="*/ 2147483647 w 53"/>
                  <a:gd name="T3" fmla="*/ 2147483647 h 43"/>
                  <a:gd name="T4" fmla="*/ 2147483647 w 53"/>
                  <a:gd name="T5" fmla="*/ 2147483647 h 43"/>
                  <a:gd name="T6" fmla="*/ 2147483647 w 53"/>
                  <a:gd name="T7" fmla="*/ 2147483647 h 43"/>
                  <a:gd name="T8" fmla="*/ 2147483647 w 53"/>
                  <a:gd name="T9" fmla="*/ 2147483647 h 43"/>
                  <a:gd name="T10" fmla="*/ 2147483647 w 53"/>
                  <a:gd name="T11" fmla="*/ 2147483647 h 43"/>
                  <a:gd name="T12" fmla="*/ 2147483647 w 53"/>
                  <a:gd name="T13" fmla="*/ 2147483647 h 43"/>
                  <a:gd name="T14" fmla="*/ 2147483647 w 53"/>
                  <a:gd name="T15" fmla="*/ 2147483647 h 43"/>
                  <a:gd name="T16" fmla="*/ 2147483647 w 53"/>
                  <a:gd name="T17" fmla="*/ 2147483647 h 43"/>
                  <a:gd name="T18" fmla="*/ 2147483647 w 53"/>
                  <a:gd name="T19" fmla="*/ 2147483647 h 43"/>
                  <a:gd name="T20" fmla="*/ 2147483647 w 53"/>
                  <a:gd name="T21" fmla="*/ 2147483647 h 43"/>
                  <a:gd name="T22" fmla="*/ 2147483647 w 53"/>
                  <a:gd name="T23" fmla="*/ 2147483647 h 43"/>
                  <a:gd name="T24" fmla="*/ 2147483647 w 53"/>
                  <a:gd name="T25" fmla="*/ 2147483647 h 43"/>
                  <a:gd name="T26" fmla="*/ 2147483647 w 53"/>
                  <a:gd name="T27" fmla="*/ 2147483647 h 43"/>
                  <a:gd name="T28" fmla="*/ 2147483647 w 53"/>
                  <a:gd name="T29" fmla="*/ 2147483647 h 43"/>
                  <a:gd name="T30" fmla="*/ 2147483647 w 53"/>
                  <a:gd name="T31" fmla="*/ 2147483647 h 43"/>
                  <a:gd name="T32" fmla="*/ 2147483647 w 53"/>
                  <a:gd name="T33" fmla="*/ 2147483647 h 43"/>
                  <a:gd name="T34" fmla="*/ 2147483647 w 53"/>
                  <a:gd name="T35" fmla="*/ 2147483647 h 43"/>
                  <a:gd name="T36" fmla="*/ 2147483647 w 53"/>
                  <a:gd name="T37" fmla="*/ 2147483647 h 43"/>
                  <a:gd name="T38" fmla="*/ 2147483647 w 53"/>
                  <a:gd name="T39" fmla="*/ 2147483647 h 43"/>
                  <a:gd name="T40" fmla="*/ 2147483647 w 53"/>
                  <a:gd name="T41" fmla="*/ 2147483647 h 43"/>
                  <a:gd name="T42" fmla="*/ 2147483647 w 53"/>
                  <a:gd name="T43" fmla="*/ 2147483647 h 43"/>
                  <a:gd name="T44" fmla="*/ 2147483647 w 53"/>
                  <a:gd name="T45" fmla="*/ 2147483647 h 43"/>
                  <a:gd name="T46" fmla="*/ 2147483647 w 53"/>
                  <a:gd name="T47" fmla="*/ 2147483647 h 43"/>
                  <a:gd name="T48" fmla="*/ 2147483647 w 53"/>
                  <a:gd name="T49" fmla="*/ 2147483647 h 43"/>
                  <a:gd name="T50" fmla="*/ 2147483647 w 53"/>
                  <a:gd name="T51" fmla="*/ 2147483647 h 43"/>
                  <a:gd name="T52" fmla="*/ 2147483647 w 53"/>
                  <a:gd name="T53" fmla="*/ 2147483647 h 43"/>
                  <a:gd name="T54" fmla="*/ 2147483647 w 53"/>
                  <a:gd name="T55" fmla="*/ 2147483647 h 43"/>
                  <a:gd name="T56" fmla="*/ 2147483647 w 53"/>
                  <a:gd name="T57" fmla="*/ 2147483647 h 43"/>
                  <a:gd name="T58" fmla="*/ 2147483647 w 53"/>
                  <a:gd name="T59" fmla="*/ 2147483647 h 43"/>
                  <a:gd name="T60" fmla="*/ 2147483647 w 53"/>
                  <a:gd name="T61" fmla="*/ 2147483647 h 43"/>
                  <a:gd name="T62" fmla="*/ 2147483647 w 53"/>
                  <a:gd name="T63" fmla="*/ 2147483647 h 43"/>
                  <a:gd name="T64" fmla="*/ 2147483647 w 53"/>
                  <a:gd name="T65" fmla="*/ 2147483647 h 4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3"/>
                  <a:gd name="T100" fmla="*/ 0 h 43"/>
                  <a:gd name="T101" fmla="*/ 53 w 53"/>
                  <a:gd name="T102" fmla="*/ 43 h 4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3" h="43">
                    <a:moveTo>
                      <a:pt x="52" y="14"/>
                    </a:moveTo>
                    <a:cubicBezTo>
                      <a:pt x="53" y="12"/>
                      <a:pt x="52" y="10"/>
                      <a:pt x="51" y="7"/>
                    </a:cubicBezTo>
                    <a:cubicBezTo>
                      <a:pt x="50" y="6"/>
                      <a:pt x="49" y="2"/>
                      <a:pt x="49" y="1"/>
                    </a:cubicBezTo>
                    <a:cubicBezTo>
                      <a:pt x="48" y="2"/>
                      <a:pt x="47" y="3"/>
                      <a:pt x="45" y="2"/>
                    </a:cubicBezTo>
                    <a:cubicBezTo>
                      <a:pt x="41" y="0"/>
                      <a:pt x="41" y="0"/>
                      <a:pt x="39" y="1"/>
                    </a:cubicBezTo>
                    <a:cubicBezTo>
                      <a:pt x="37" y="2"/>
                      <a:pt x="38" y="4"/>
                      <a:pt x="38" y="6"/>
                    </a:cubicBezTo>
                    <a:cubicBezTo>
                      <a:pt x="38" y="8"/>
                      <a:pt x="33" y="5"/>
                      <a:pt x="32" y="5"/>
                    </a:cubicBezTo>
                    <a:cubicBezTo>
                      <a:pt x="30" y="5"/>
                      <a:pt x="29" y="4"/>
                      <a:pt x="27" y="3"/>
                    </a:cubicBezTo>
                    <a:cubicBezTo>
                      <a:pt x="27" y="3"/>
                      <a:pt x="27" y="2"/>
                      <a:pt x="27" y="2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2"/>
                      <a:pt x="25" y="2"/>
                      <a:pt x="20" y="2"/>
                    </a:cubicBezTo>
                    <a:cubicBezTo>
                      <a:pt x="14" y="2"/>
                      <a:pt x="12" y="2"/>
                      <a:pt x="9" y="2"/>
                    </a:cubicBezTo>
                    <a:cubicBezTo>
                      <a:pt x="5" y="1"/>
                      <a:pt x="4" y="8"/>
                      <a:pt x="2" y="9"/>
                    </a:cubicBezTo>
                    <a:cubicBezTo>
                      <a:pt x="0" y="11"/>
                      <a:pt x="3" y="14"/>
                      <a:pt x="2" y="16"/>
                    </a:cubicBezTo>
                    <a:cubicBezTo>
                      <a:pt x="2" y="18"/>
                      <a:pt x="4" y="23"/>
                      <a:pt x="4" y="23"/>
                    </a:cubicBezTo>
                    <a:cubicBezTo>
                      <a:pt x="4" y="23"/>
                      <a:pt x="5" y="26"/>
                      <a:pt x="6" y="27"/>
                    </a:cubicBezTo>
                    <a:cubicBezTo>
                      <a:pt x="7" y="28"/>
                      <a:pt x="7" y="34"/>
                      <a:pt x="8" y="36"/>
                    </a:cubicBezTo>
                    <a:cubicBezTo>
                      <a:pt x="9" y="39"/>
                      <a:pt x="10" y="36"/>
                      <a:pt x="12" y="34"/>
                    </a:cubicBezTo>
                    <a:cubicBezTo>
                      <a:pt x="14" y="33"/>
                      <a:pt x="12" y="38"/>
                      <a:pt x="12" y="40"/>
                    </a:cubicBezTo>
                    <a:cubicBezTo>
                      <a:pt x="11" y="41"/>
                      <a:pt x="14" y="43"/>
                      <a:pt x="16" y="41"/>
                    </a:cubicBezTo>
                    <a:cubicBezTo>
                      <a:pt x="18" y="38"/>
                      <a:pt x="19" y="41"/>
                      <a:pt x="20" y="41"/>
                    </a:cubicBezTo>
                    <a:cubicBezTo>
                      <a:pt x="20" y="41"/>
                      <a:pt x="22" y="42"/>
                      <a:pt x="23" y="42"/>
                    </a:cubicBezTo>
                    <a:cubicBezTo>
                      <a:pt x="24" y="41"/>
                      <a:pt x="25" y="41"/>
                      <a:pt x="26" y="40"/>
                    </a:cubicBezTo>
                    <a:cubicBezTo>
                      <a:pt x="28" y="39"/>
                      <a:pt x="28" y="36"/>
                      <a:pt x="28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7" y="38"/>
                      <a:pt x="38" y="37"/>
                    </a:cubicBezTo>
                    <a:cubicBezTo>
                      <a:pt x="39" y="37"/>
                      <a:pt x="36" y="33"/>
                      <a:pt x="35" y="32"/>
                    </a:cubicBezTo>
                    <a:cubicBezTo>
                      <a:pt x="35" y="31"/>
                      <a:pt x="34" y="27"/>
                      <a:pt x="37" y="27"/>
                    </a:cubicBezTo>
                    <a:cubicBezTo>
                      <a:pt x="39" y="28"/>
                      <a:pt x="41" y="28"/>
                      <a:pt x="41" y="28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3" y="25"/>
                      <a:pt x="47" y="22"/>
                      <a:pt x="49" y="23"/>
                    </a:cubicBezTo>
                    <a:cubicBezTo>
                      <a:pt x="51" y="23"/>
                      <a:pt x="52" y="22"/>
                      <a:pt x="53" y="20"/>
                    </a:cubicBezTo>
                    <a:cubicBezTo>
                      <a:pt x="53" y="18"/>
                      <a:pt x="50" y="15"/>
                      <a:pt x="52" y="1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0" name="Freeform 95"/>
              <p:cNvSpPr>
                <a:spLocks noEditPoints="1"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608646" y="5026025"/>
                <a:ext cx="177369" cy="241300"/>
              </a:xfrm>
              <a:custGeom>
                <a:avLst/>
                <a:gdLst>
                  <a:gd name="T0" fmla="*/ 2147483647 w 46"/>
                  <a:gd name="T1" fmla="*/ 2147483647 h 61"/>
                  <a:gd name="T2" fmla="*/ 2147483647 w 46"/>
                  <a:gd name="T3" fmla="*/ 2147483647 h 61"/>
                  <a:gd name="T4" fmla="*/ 2147483647 w 46"/>
                  <a:gd name="T5" fmla="*/ 2147483647 h 61"/>
                  <a:gd name="T6" fmla="*/ 2147483647 w 46"/>
                  <a:gd name="T7" fmla="*/ 2147483647 h 61"/>
                  <a:gd name="T8" fmla="*/ 2147483647 w 46"/>
                  <a:gd name="T9" fmla="*/ 2147483647 h 61"/>
                  <a:gd name="T10" fmla="*/ 2147483647 w 46"/>
                  <a:gd name="T11" fmla="*/ 2147483647 h 61"/>
                  <a:gd name="T12" fmla="*/ 2147483647 w 46"/>
                  <a:gd name="T13" fmla="*/ 2147483647 h 61"/>
                  <a:gd name="T14" fmla="*/ 2147483647 w 46"/>
                  <a:gd name="T15" fmla="*/ 2147483647 h 61"/>
                  <a:gd name="T16" fmla="*/ 2147483647 w 46"/>
                  <a:gd name="T17" fmla="*/ 2147483647 h 61"/>
                  <a:gd name="T18" fmla="*/ 2147483647 w 46"/>
                  <a:gd name="T19" fmla="*/ 2147483647 h 61"/>
                  <a:gd name="T20" fmla="*/ 2147483647 w 46"/>
                  <a:gd name="T21" fmla="*/ 2147483647 h 61"/>
                  <a:gd name="T22" fmla="*/ 2147483647 w 46"/>
                  <a:gd name="T23" fmla="*/ 2147483647 h 61"/>
                  <a:gd name="T24" fmla="*/ 2147483647 w 46"/>
                  <a:gd name="T25" fmla="*/ 2147483647 h 61"/>
                  <a:gd name="T26" fmla="*/ 2147483647 w 46"/>
                  <a:gd name="T27" fmla="*/ 2147483647 h 61"/>
                  <a:gd name="T28" fmla="*/ 2147483647 w 46"/>
                  <a:gd name="T29" fmla="*/ 2147483647 h 61"/>
                  <a:gd name="T30" fmla="*/ 2147483647 w 46"/>
                  <a:gd name="T31" fmla="*/ 2147483647 h 61"/>
                  <a:gd name="T32" fmla="*/ 2147483647 w 46"/>
                  <a:gd name="T33" fmla="*/ 2147483647 h 61"/>
                  <a:gd name="T34" fmla="*/ 2147483647 w 46"/>
                  <a:gd name="T35" fmla="*/ 2147483647 h 61"/>
                  <a:gd name="T36" fmla="*/ 2147483647 w 46"/>
                  <a:gd name="T37" fmla="*/ 2147483647 h 61"/>
                  <a:gd name="T38" fmla="*/ 2147483647 w 46"/>
                  <a:gd name="T39" fmla="*/ 2147483647 h 61"/>
                  <a:gd name="T40" fmla="*/ 2147483647 w 46"/>
                  <a:gd name="T41" fmla="*/ 2147483647 h 61"/>
                  <a:gd name="T42" fmla="*/ 2147483647 w 46"/>
                  <a:gd name="T43" fmla="*/ 2147483647 h 61"/>
                  <a:gd name="T44" fmla="*/ 2147483647 w 46"/>
                  <a:gd name="T45" fmla="*/ 2147483647 h 61"/>
                  <a:gd name="T46" fmla="*/ 2147483647 w 46"/>
                  <a:gd name="T47" fmla="*/ 2147483647 h 61"/>
                  <a:gd name="T48" fmla="*/ 2147483647 w 46"/>
                  <a:gd name="T49" fmla="*/ 2147483647 h 61"/>
                  <a:gd name="T50" fmla="*/ 2147483647 w 46"/>
                  <a:gd name="T51" fmla="*/ 2147483647 h 61"/>
                  <a:gd name="T52" fmla="*/ 2147483647 w 46"/>
                  <a:gd name="T53" fmla="*/ 2147483647 h 61"/>
                  <a:gd name="T54" fmla="*/ 2147483647 w 46"/>
                  <a:gd name="T55" fmla="*/ 2147483647 h 61"/>
                  <a:gd name="T56" fmla="*/ 2147483647 w 46"/>
                  <a:gd name="T57" fmla="*/ 2147483647 h 61"/>
                  <a:gd name="T58" fmla="*/ 2147483647 w 46"/>
                  <a:gd name="T59" fmla="*/ 2147483647 h 61"/>
                  <a:gd name="T60" fmla="*/ 2147483647 w 46"/>
                  <a:gd name="T61" fmla="*/ 2147483647 h 61"/>
                  <a:gd name="T62" fmla="*/ 2147483647 w 46"/>
                  <a:gd name="T63" fmla="*/ 2147483647 h 61"/>
                  <a:gd name="T64" fmla="*/ 2147483647 w 46"/>
                  <a:gd name="T65" fmla="*/ 2147483647 h 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6"/>
                  <a:gd name="T100" fmla="*/ 0 h 61"/>
                  <a:gd name="T101" fmla="*/ 46 w 46"/>
                  <a:gd name="T102" fmla="*/ 61 h 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6" h="61">
                    <a:moveTo>
                      <a:pt x="44" y="39"/>
                    </a:moveTo>
                    <a:cubicBezTo>
                      <a:pt x="44" y="36"/>
                      <a:pt x="43" y="34"/>
                      <a:pt x="43" y="32"/>
                    </a:cubicBezTo>
                    <a:cubicBezTo>
                      <a:pt x="42" y="29"/>
                      <a:pt x="41" y="31"/>
                      <a:pt x="40" y="31"/>
                    </a:cubicBezTo>
                    <a:cubicBezTo>
                      <a:pt x="38" y="32"/>
                      <a:pt x="38" y="34"/>
                      <a:pt x="38" y="36"/>
                    </a:cubicBezTo>
                    <a:cubicBezTo>
                      <a:pt x="38" y="38"/>
                      <a:pt x="36" y="39"/>
                      <a:pt x="35" y="38"/>
                    </a:cubicBezTo>
                    <a:cubicBezTo>
                      <a:pt x="34" y="36"/>
                      <a:pt x="33" y="33"/>
                      <a:pt x="33" y="32"/>
                    </a:cubicBezTo>
                    <a:cubicBezTo>
                      <a:pt x="33" y="30"/>
                      <a:pt x="33" y="27"/>
                      <a:pt x="34" y="26"/>
                    </a:cubicBezTo>
                    <a:cubicBezTo>
                      <a:pt x="35" y="25"/>
                      <a:pt x="40" y="24"/>
                      <a:pt x="41" y="23"/>
                    </a:cubicBezTo>
                    <a:cubicBezTo>
                      <a:pt x="42" y="22"/>
                      <a:pt x="43" y="19"/>
                      <a:pt x="44" y="18"/>
                    </a:cubicBezTo>
                    <a:cubicBezTo>
                      <a:pt x="45" y="17"/>
                      <a:pt x="44" y="16"/>
                      <a:pt x="41" y="16"/>
                    </a:cubicBezTo>
                    <a:cubicBezTo>
                      <a:pt x="38" y="15"/>
                      <a:pt x="34" y="15"/>
                      <a:pt x="32" y="16"/>
                    </a:cubicBezTo>
                    <a:cubicBezTo>
                      <a:pt x="30" y="17"/>
                      <a:pt x="26" y="16"/>
                      <a:pt x="24" y="16"/>
                    </a:cubicBezTo>
                    <a:cubicBezTo>
                      <a:pt x="22" y="16"/>
                      <a:pt x="20" y="14"/>
                      <a:pt x="20" y="12"/>
                    </a:cubicBezTo>
                    <a:cubicBezTo>
                      <a:pt x="20" y="10"/>
                      <a:pt x="18" y="10"/>
                      <a:pt x="18" y="10"/>
                    </a:cubicBezTo>
                    <a:cubicBezTo>
                      <a:pt x="18" y="10"/>
                      <a:pt x="18" y="15"/>
                      <a:pt x="17" y="16"/>
                    </a:cubicBezTo>
                    <a:cubicBezTo>
                      <a:pt x="16" y="18"/>
                      <a:pt x="17" y="19"/>
                      <a:pt x="18" y="21"/>
                    </a:cubicBezTo>
                    <a:cubicBezTo>
                      <a:pt x="20" y="23"/>
                      <a:pt x="19" y="27"/>
                      <a:pt x="19" y="29"/>
                    </a:cubicBezTo>
                    <a:cubicBezTo>
                      <a:pt x="19" y="31"/>
                      <a:pt x="22" y="32"/>
                      <a:pt x="23" y="32"/>
                    </a:cubicBezTo>
                    <a:cubicBezTo>
                      <a:pt x="24" y="32"/>
                      <a:pt x="26" y="30"/>
                      <a:pt x="26" y="30"/>
                    </a:cubicBezTo>
                    <a:cubicBezTo>
                      <a:pt x="26" y="30"/>
                      <a:pt x="25" y="33"/>
                      <a:pt x="25" y="34"/>
                    </a:cubicBezTo>
                    <a:cubicBezTo>
                      <a:pt x="25" y="35"/>
                      <a:pt x="27" y="39"/>
                      <a:pt x="28" y="40"/>
                    </a:cubicBezTo>
                    <a:cubicBezTo>
                      <a:pt x="29" y="42"/>
                      <a:pt x="32" y="41"/>
                      <a:pt x="32" y="41"/>
                    </a:cubicBezTo>
                    <a:cubicBezTo>
                      <a:pt x="32" y="41"/>
                      <a:pt x="34" y="42"/>
                      <a:pt x="36" y="43"/>
                    </a:cubicBezTo>
                    <a:cubicBezTo>
                      <a:pt x="38" y="43"/>
                      <a:pt x="38" y="47"/>
                      <a:pt x="38" y="49"/>
                    </a:cubicBezTo>
                    <a:cubicBezTo>
                      <a:pt x="38" y="51"/>
                      <a:pt x="40" y="55"/>
                      <a:pt x="40" y="57"/>
                    </a:cubicBezTo>
                    <a:cubicBezTo>
                      <a:pt x="40" y="59"/>
                      <a:pt x="42" y="60"/>
                      <a:pt x="44" y="61"/>
                    </a:cubicBezTo>
                    <a:cubicBezTo>
                      <a:pt x="43" y="59"/>
                      <a:pt x="42" y="56"/>
                      <a:pt x="43" y="56"/>
                    </a:cubicBezTo>
                    <a:cubicBezTo>
                      <a:pt x="45" y="56"/>
                      <a:pt x="46" y="56"/>
                      <a:pt x="46" y="56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46" y="48"/>
                      <a:pt x="45" y="42"/>
                      <a:pt x="44" y="39"/>
                    </a:cubicBezTo>
                    <a:close/>
                    <a:moveTo>
                      <a:pt x="16" y="26"/>
                    </a:moveTo>
                    <a:cubicBezTo>
                      <a:pt x="17" y="27"/>
                      <a:pt x="18" y="24"/>
                      <a:pt x="17" y="23"/>
                    </a:cubicBezTo>
                    <a:cubicBezTo>
                      <a:pt x="17" y="22"/>
                      <a:pt x="15" y="19"/>
                      <a:pt x="15" y="17"/>
                    </a:cubicBezTo>
                    <a:cubicBezTo>
                      <a:pt x="15" y="16"/>
                      <a:pt x="16" y="15"/>
                      <a:pt x="16" y="12"/>
                    </a:cubicBezTo>
                    <a:cubicBezTo>
                      <a:pt x="16" y="10"/>
                      <a:pt x="18" y="9"/>
                      <a:pt x="18" y="7"/>
                    </a:cubicBezTo>
                    <a:cubicBezTo>
                      <a:pt x="19" y="5"/>
                      <a:pt x="17" y="2"/>
                      <a:pt x="16" y="3"/>
                    </a:cubicBezTo>
                    <a:cubicBezTo>
                      <a:pt x="15" y="5"/>
                      <a:pt x="14" y="6"/>
                      <a:pt x="13" y="5"/>
                    </a:cubicBezTo>
                    <a:cubicBezTo>
                      <a:pt x="13" y="3"/>
                      <a:pt x="11" y="3"/>
                      <a:pt x="10" y="3"/>
                    </a:cubicBezTo>
                    <a:cubicBezTo>
                      <a:pt x="9" y="3"/>
                      <a:pt x="5" y="0"/>
                      <a:pt x="5" y="0"/>
                    </a:cubicBezTo>
                    <a:cubicBezTo>
                      <a:pt x="5" y="0"/>
                      <a:pt x="3" y="2"/>
                      <a:pt x="4" y="3"/>
                    </a:cubicBezTo>
                    <a:cubicBezTo>
                      <a:pt x="5" y="3"/>
                      <a:pt x="2" y="6"/>
                      <a:pt x="2" y="6"/>
                    </a:cubicBezTo>
                    <a:cubicBezTo>
                      <a:pt x="2" y="6"/>
                      <a:pt x="3" y="9"/>
                      <a:pt x="5" y="10"/>
                    </a:cubicBezTo>
                    <a:cubicBezTo>
                      <a:pt x="7" y="11"/>
                      <a:pt x="10" y="12"/>
                      <a:pt x="10" y="13"/>
                    </a:cubicBezTo>
                    <a:cubicBezTo>
                      <a:pt x="10" y="15"/>
                      <a:pt x="7" y="15"/>
                      <a:pt x="5" y="15"/>
                    </a:cubicBezTo>
                    <a:cubicBezTo>
                      <a:pt x="4" y="16"/>
                      <a:pt x="5" y="18"/>
                      <a:pt x="3" y="18"/>
                    </a:cubicBezTo>
                    <a:cubicBezTo>
                      <a:pt x="1" y="19"/>
                      <a:pt x="0" y="20"/>
                      <a:pt x="1" y="21"/>
                    </a:cubicBezTo>
                    <a:cubicBezTo>
                      <a:pt x="2" y="23"/>
                      <a:pt x="8" y="24"/>
                      <a:pt x="8" y="24"/>
                    </a:cubicBezTo>
                    <a:cubicBezTo>
                      <a:pt x="8" y="24"/>
                      <a:pt x="15" y="26"/>
                      <a:pt x="16" y="26"/>
                    </a:cubicBezTo>
                    <a:close/>
                    <a:moveTo>
                      <a:pt x="27" y="42"/>
                    </a:moveTo>
                    <a:cubicBezTo>
                      <a:pt x="25" y="41"/>
                      <a:pt x="24" y="39"/>
                      <a:pt x="24" y="37"/>
                    </a:cubicBezTo>
                    <a:cubicBezTo>
                      <a:pt x="24" y="36"/>
                      <a:pt x="23" y="33"/>
                      <a:pt x="23" y="33"/>
                    </a:cubicBezTo>
                    <a:cubicBezTo>
                      <a:pt x="23" y="33"/>
                      <a:pt x="18" y="30"/>
                      <a:pt x="17" y="29"/>
                    </a:cubicBezTo>
                    <a:cubicBezTo>
                      <a:pt x="16" y="28"/>
                      <a:pt x="14" y="27"/>
                      <a:pt x="13" y="27"/>
                    </a:cubicBezTo>
                    <a:cubicBezTo>
                      <a:pt x="11" y="26"/>
                      <a:pt x="9" y="27"/>
                      <a:pt x="9" y="27"/>
                    </a:cubicBezTo>
                    <a:cubicBezTo>
                      <a:pt x="9" y="27"/>
                      <a:pt x="8" y="29"/>
                      <a:pt x="6" y="30"/>
                    </a:cubicBezTo>
                    <a:cubicBezTo>
                      <a:pt x="5" y="31"/>
                      <a:pt x="8" y="32"/>
                      <a:pt x="7" y="34"/>
                    </a:cubicBezTo>
                    <a:cubicBezTo>
                      <a:pt x="6" y="35"/>
                      <a:pt x="11" y="36"/>
                      <a:pt x="10" y="36"/>
                    </a:cubicBezTo>
                    <a:cubicBezTo>
                      <a:pt x="9" y="37"/>
                      <a:pt x="10" y="39"/>
                      <a:pt x="10" y="42"/>
                    </a:cubicBezTo>
                    <a:cubicBezTo>
                      <a:pt x="10" y="44"/>
                      <a:pt x="11" y="50"/>
                      <a:pt x="11" y="51"/>
                    </a:cubicBezTo>
                    <a:cubicBezTo>
                      <a:pt x="12" y="52"/>
                      <a:pt x="15" y="51"/>
                      <a:pt x="16" y="51"/>
                    </a:cubicBezTo>
                    <a:cubicBezTo>
                      <a:pt x="18" y="51"/>
                      <a:pt x="19" y="48"/>
                      <a:pt x="19" y="47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8" y="50"/>
                      <a:pt x="22" y="49"/>
                      <a:pt x="24" y="49"/>
                    </a:cubicBezTo>
                    <a:cubicBezTo>
                      <a:pt x="26" y="49"/>
                      <a:pt x="26" y="44"/>
                      <a:pt x="26" y="44"/>
                    </a:cubicBezTo>
                    <a:cubicBezTo>
                      <a:pt x="26" y="44"/>
                      <a:pt x="27" y="46"/>
                      <a:pt x="26" y="48"/>
                    </a:cubicBezTo>
                    <a:cubicBezTo>
                      <a:pt x="26" y="50"/>
                      <a:pt x="29" y="49"/>
                      <a:pt x="29" y="46"/>
                    </a:cubicBezTo>
                    <a:cubicBezTo>
                      <a:pt x="30" y="44"/>
                      <a:pt x="28" y="42"/>
                      <a:pt x="27" y="4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1" name="Freeform 96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639430" y="4949826"/>
                <a:ext cx="128995" cy="74613"/>
              </a:xfrm>
              <a:custGeom>
                <a:avLst/>
                <a:gdLst>
                  <a:gd name="T0" fmla="*/ 2147483647 w 33"/>
                  <a:gd name="T1" fmla="*/ 2147483647 h 19"/>
                  <a:gd name="T2" fmla="*/ 2147483647 w 33"/>
                  <a:gd name="T3" fmla="*/ 2147483647 h 19"/>
                  <a:gd name="T4" fmla="*/ 2147483647 w 33"/>
                  <a:gd name="T5" fmla="*/ 2147483647 h 19"/>
                  <a:gd name="T6" fmla="*/ 2147483647 w 33"/>
                  <a:gd name="T7" fmla="*/ 2147483647 h 19"/>
                  <a:gd name="T8" fmla="*/ 2147483647 w 33"/>
                  <a:gd name="T9" fmla="*/ 2147483647 h 19"/>
                  <a:gd name="T10" fmla="*/ 2147483647 w 33"/>
                  <a:gd name="T11" fmla="*/ 2147483647 h 19"/>
                  <a:gd name="T12" fmla="*/ 2147483647 w 33"/>
                  <a:gd name="T13" fmla="*/ 2147483647 h 19"/>
                  <a:gd name="T14" fmla="*/ 2147483647 w 33"/>
                  <a:gd name="T15" fmla="*/ 2147483647 h 19"/>
                  <a:gd name="T16" fmla="*/ 2147483647 w 33"/>
                  <a:gd name="T17" fmla="*/ 2147483647 h 19"/>
                  <a:gd name="T18" fmla="*/ 2147483647 w 33"/>
                  <a:gd name="T19" fmla="*/ 2147483647 h 19"/>
                  <a:gd name="T20" fmla="*/ 2147483647 w 33"/>
                  <a:gd name="T21" fmla="*/ 2147483647 h 19"/>
                  <a:gd name="T22" fmla="*/ 2147483647 w 33"/>
                  <a:gd name="T23" fmla="*/ 2147483647 h 19"/>
                  <a:gd name="T24" fmla="*/ 2147483647 w 33"/>
                  <a:gd name="T25" fmla="*/ 2147483647 h 19"/>
                  <a:gd name="T26" fmla="*/ 2147483647 w 33"/>
                  <a:gd name="T27" fmla="*/ 2147483647 h 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3"/>
                  <a:gd name="T43" fmla="*/ 0 h 19"/>
                  <a:gd name="T44" fmla="*/ 33 w 33"/>
                  <a:gd name="T45" fmla="*/ 19 h 1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3" h="19">
                    <a:moveTo>
                      <a:pt x="7" y="17"/>
                    </a:moveTo>
                    <a:cubicBezTo>
                      <a:pt x="7" y="16"/>
                      <a:pt x="1" y="16"/>
                      <a:pt x="1" y="14"/>
                    </a:cubicBezTo>
                    <a:cubicBezTo>
                      <a:pt x="0" y="12"/>
                      <a:pt x="2" y="9"/>
                      <a:pt x="4" y="7"/>
                    </a:cubicBezTo>
                    <a:cubicBezTo>
                      <a:pt x="7" y="5"/>
                      <a:pt x="11" y="0"/>
                      <a:pt x="13" y="1"/>
                    </a:cubicBezTo>
                    <a:cubicBezTo>
                      <a:pt x="15" y="1"/>
                      <a:pt x="15" y="3"/>
                      <a:pt x="17" y="3"/>
                    </a:cubicBezTo>
                    <a:cubicBezTo>
                      <a:pt x="19" y="3"/>
                      <a:pt x="22" y="5"/>
                      <a:pt x="23" y="4"/>
                    </a:cubicBezTo>
                    <a:cubicBezTo>
                      <a:pt x="24" y="3"/>
                      <a:pt x="28" y="2"/>
                      <a:pt x="28" y="4"/>
                    </a:cubicBezTo>
                    <a:cubicBezTo>
                      <a:pt x="29" y="6"/>
                      <a:pt x="26" y="9"/>
                      <a:pt x="29" y="10"/>
                    </a:cubicBezTo>
                    <a:cubicBezTo>
                      <a:pt x="32" y="11"/>
                      <a:pt x="31" y="8"/>
                      <a:pt x="32" y="11"/>
                    </a:cubicBezTo>
                    <a:cubicBezTo>
                      <a:pt x="32" y="13"/>
                      <a:pt x="33" y="14"/>
                      <a:pt x="33" y="15"/>
                    </a:cubicBezTo>
                    <a:cubicBezTo>
                      <a:pt x="33" y="17"/>
                      <a:pt x="28" y="17"/>
                      <a:pt x="26" y="17"/>
                    </a:cubicBezTo>
                    <a:cubicBezTo>
                      <a:pt x="25" y="17"/>
                      <a:pt x="18" y="18"/>
                      <a:pt x="18" y="18"/>
                    </a:cubicBezTo>
                    <a:cubicBezTo>
                      <a:pt x="18" y="18"/>
                      <a:pt x="14" y="16"/>
                      <a:pt x="13" y="17"/>
                    </a:cubicBezTo>
                    <a:cubicBezTo>
                      <a:pt x="11" y="19"/>
                      <a:pt x="8" y="19"/>
                      <a:pt x="7" y="1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2" name="Freeform 97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303749" y="4852988"/>
                <a:ext cx="310761" cy="182562"/>
              </a:xfrm>
              <a:custGeom>
                <a:avLst/>
                <a:gdLst>
                  <a:gd name="T0" fmla="*/ 0 w 79"/>
                  <a:gd name="T1" fmla="*/ 2147483647 h 47"/>
                  <a:gd name="T2" fmla="*/ 2147483647 w 79"/>
                  <a:gd name="T3" fmla="*/ 2147483647 h 47"/>
                  <a:gd name="T4" fmla="*/ 2147483647 w 79"/>
                  <a:gd name="T5" fmla="*/ 2147483647 h 47"/>
                  <a:gd name="T6" fmla="*/ 2147483647 w 79"/>
                  <a:gd name="T7" fmla="*/ 2147483647 h 47"/>
                  <a:gd name="T8" fmla="*/ 2147483647 w 79"/>
                  <a:gd name="T9" fmla="*/ 2147483647 h 47"/>
                  <a:gd name="T10" fmla="*/ 2147483647 w 79"/>
                  <a:gd name="T11" fmla="*/ 2147483647 h 47"/>
                  <a:gd name="T12" fmla="*/ 2147483647 w 79"/>
                  <a:gd name="T13" fmla="*/ 2147483647 h 47"/>
                  <a:gd name="T14" fmla="*/ 2147483647 w 79"/>
                  <a:gd name="T15" fmla="*/ 2147483647 h 47"/>
                  <a:gd name="T16" fmla="*/ 2147483647 w 79"/>
                  <a:gd name="T17" fmla="*/ 2147483647 h 47"/>
                  <a:gd name="T18" fmla="*/ 2147483647 w 79"/>
                  <a:gd name="T19" fmla="*/ 2147483647 h 47"/>
                  <a:gd name="T20" fmla="*/ 2147483647 w 79"/>
                  <a:gd name="T21" fmla="*/ 2147483647 h 47"/>
                  <a:gd name="T22" fmla="*/ 2147483647 w 79"/>
                  <a:gd name="T23" fmla="*/ 2147483647 h 47"/>
                  <a:gd name="T24" fmla="*/ 2147483647 w 79"/>
                  <a:gd name="T25" fmla="*/ 2147483647 h 47"/>
                  <a:gd name="T26" fmla="*/ 2147483647 w 79"/>
                  <a:gd name="T27" fmla="*/ 2147483647 h 47"/>
                  <a:gd name="T28" fmla="*/ 2147483647 w 79"/>
                  <a:gd name="T29" fmla="*/ 2147483647 h 47"/>
                  <a:gd name="T30" fmla="*/ 2147483647 w 79"/>
                  <a:gd name="T31" fmla="*/ 2147483647 h 47"/>
                  <a:gd name="T32" fmla="*/ 2147483647 w 79"/>
                  <a:gd name="T33" fmla="*/ 2147483647 h 47"/>
                  <a:gd name="T34" fmla="*/ 2147483647 w 79"/>
                  <a:gd name="T35" fmla="*/ 2147483647 h 47"/>
                  <a:gd name="T36" fmla="*/ 2147483647 w 79"/>
                  <a:gd name="T37" fmla="*/ 2147483647 h 47"/>
                  <a:gd name="T38" fmla="*/ 2147483647 w 79"/>
                  <a:gd name="T39" fmla="*/ 2147483647 h 47"/>
                  <a:gd name="T40" fmla="*/ 2147483647 w 79"/>
                  <a:gd name="T41" fmla="*/ 2147483647 h 47"/>
                  <a:gd name="T42" fmla="*/ 2147483647 w 79"/>
                  <a:gd name="T43" fmla="*/ 2147483647 h 47"/>
                  <a:gd name="T44" fmla="*/ 2147483647 w 79"/>
                  <a:gd name="T45" fmla="*/ 2147483647 h 47"/>
                  <a:gd name="T46" fmla="*/ 2147483647 w 79"/>
                  <a:gd name="T47" fmla="*/ 2147483647 h 47"/>
                  <a:gd name="T48" fmla="*/ 2147483647 w 79"/>
                  <a:gd name="T49" fmla="*/ 2147483647 h 47"/>
                  <a:gd name="T50" fmla="*/ 2147483647 w 79"/>
                  <a:gd name="T51" fmla="*/ 2147483647 h 47"/>
                  <a:gd name="T52" fmla="*/ 2147483647 w 79"/>
                  <a:gd name="T53" fmla="*/ 2147483647 h 47"/>
                  <a:gd name="T54" fmla="*/ 2147483647 w 79"/>
                  <a:gd name="T55" fmla="*/ 2147483647 h 47"/>
                  <a:gd name="T56" fmla="*/ 2147483647 w 79"/>
                  <a:gd name="T57" fmla="*/ 2147483647 h 47"/>
                  <a:gd name="T58" fmla="*/ 2147483647 w 79"/>
                  <a:gd name="T59" fmla="*/ 2147483647 h 47"/>
                  <a:gd name="T60" fmla="*/ 2147483647 w 79"/>
                  <a:gd name="T61" fmla="*/ 2147483647 h 47"/>
                  <a:gd name="T62" fmla="*/ 2147483647 w 79"/>
                  <a:gd name="T63" fmla="*/ 2147483647 h 47"/>
                  <a:gd name="T64" fmla="*/ 0 w 79"/>
                  <a:gd name="T65" fmla="*/ 2147483647 h 4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9"/>
                  <a:gd name="T100" fmla="*/ 0 h 47"/>
                  <a:gd name="T101" fmla="*/ 79 w 79"/>
                  <a:gd name="T102" fmla="*/ 47 h 4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9" h="47">
                    <a:moveTo>
                      <a:pt x="0" y="18"/>
                    </a:moveTo>
                    <a:cubicBezTo>
                      <a:pt x="0" y="18"/>
                      <a:pt x="3" y="17"/>
                      <a:pt x="2" y="14"/>
                    </a:cubicBezTo>
                    <a:cubicBezTo>
                      <a:pt x="2" y="10"/>
                      <a:pt x="4" y="9"/>
                      <a:pt x="6" y="7"/>
                    </a:cubicBezTo>
                    <a:cubicBezTo>
                      <a:pt x="8" y="5"/>
                      <a:pt x="8" y="3"/>
                      <a:pt x="9" y="5"/>
                    </a:cubicBezTo>
                    <a:cubicBezTo>
                      <a:pt x="10" y="7"/>
                      <a:pt x="11" y="7"/>
                      <a:pt x="12" y="4"/>
                    </a:cubicBezTo>
                    <a:cubicBezTo>
                      <a:pt x="13" y="1"/>
                      <a:pt x="17" y="0"/>
                      <a:pt x="19" y="2"/>
                    </a:cubicBezTo>
                    <a:cubicBezTo>
                      <a:pt x="21" y="3"/>
                      <a:pt x="19" y="5"/>
                      <a:pt x="22" y="6"/>
                    </a:cubicBezTo>
                    <a:cubicBezTo>
                      <a:pt x="25" y="8"/>
                      <a:pt x="30" y="10"/>
                      <a:pt x="31" y="13"/>
                    </a:cubicBezTo>
                    <a:cubicBezTo>
                      <a:pt x="33" y="15"/>
                      <a:pt x="33" y="17"/>
                      <a:pt x="35" y="16"/>
                    </a:cubicBezTo>
                    <a:cubicBezTo>
                      <a:pt x="37" y="15"/>
                      <a:pt x="40" y="14"/>
                      <a:pt x="40" y="16"/>
                    </a:cubicBezTo>
                    <a:cubicBezTo>
                      <a:pt x="40" y="18"/>
                      <a:pt x="41" y="18"/>
                      <a:pt x="45" y="21"/>
                    </a:cubicBezTo>
                    <a:cubicBezTo>
                      <a:pt x="48" y="24"/>
                      <a:pt x="50" y="17"/>
                      <a:pt x="50" y="22"/>
                    </a:cubicBezTo>
                    <a:cubicBezTo>
                      <a:pt x="49" y="28"/>
                      <a:pt x="52" y="26"/>
                      <a:pt x="53" y="26"/>
                    </a:cubicBezTo>
                    <a:cubicBezTo>
                      <a:pt x="54" y="26"/>
                      <a:pt x="59" y="30"/>
                      <a:pt x="59" y="30"/>
                    </a:cubicBezTo>
                    <a:cubicBezTo>
                      <a:pt x="59" y="30"/>
                      <a:pt x="62" y="30"/>
                      <a:pt x="64" y="30"/>
                    </a:cubicBezTo>
                    <a:cubicBezTo>
                      <a:pt x="65" y="29"/>
                      <a:pt x="63" y="29"/>
                      <a:pt x="67" y="30"/>
                    </a:cubicBezTo>
                    <a:cubicBezTo>
                      <a:pt x="71" y="31"/>
                      <a:pt x="73" y="31"/>
                      <a:pt x="75" y="31"/>
                    </a:cubicBezTo>
                    <a:cubicBezTo>
                      <a:pt x="77" y="31"/>
                      <a:pt x="79" y="30"/>
                      <a:pt x="79" y="32"/>
                    </a:cubicBezTo>
                    <a:cubicBezTo>
                      <a:pt x="79" y="33"/>
                      <a:pt x="78" y="37"/>
                      <a:pt x="78" y="38"/>
                    </a:cubicBezTo>
                    <a:cubicBezTo>
                      <a:pt x="78" y="39"/>
                      <a:pt x="79" y="42"/>
                      <a:pt x="79" y="43"/>
                    </a:cubicBezTo>
                    <a:cubicBezTo>
                      <a:pt x="78" y="45"/>
                      <a:pt x="79" y="46"/>
                      <a:pt x="77" y="46"/>
                    </a:cubicBezTo>
                    <a:cubicBezTo>
                      <a:pt x="76" y="47"/>
                      <a:pt x="74" y="46"/>
                      <a:pt x="73" y="47"/>
                    </a:cubicBezTo>
                    <a:cubicBezTo>
                      <a:pt x="71" y="47"/>
                      <a:pt x="68" y="44"/>
                      <a:pt x="66" y="45"/>
                    </a:cubicBezTo>
                    <a:cubicBezTo>
                      <a:pt x="65" y="46"/>
                      <a:pt x="59" y="44"/>
                      <a:pt x="58" y="44"/>
                    </a:cubicBezTo>
                    <a:cubicBezTo>
                      <a:pt x="57" y="44"/>
                      <a:pt x="54" y="42"/>
                      <a:pt x="53" y="43"/>
                    </a:cubicBezTo>
                    <a:cubicBezTo>
                      <a:pt x="52" y="43"/>
                      <a:pt x="47" y="40"/>
                      <a:pt x="46" y="40"/>
                    </a:cubicBezTo>
                    <a:cubicBezTo>
                      <a:pt x="45" y="39"/>
                      <a:pt x="42" y="33"/>
                      <a:pt x="39" y="35"/>
                    </a:cubicBezTo>
                    <a:cubicBezTo>
                      <a:pt x="36" y="37"/>
                      <a:pt x="36" y="36"/>
                      <a:pt x="36" y="36"/>
                    </a:cubicBezTo>
                    <a:cubicBezTo>
                      <a:pt x="36" y="36"/>
                      <a:pt x="30" y="35"/>
                      <a:pt x="28" y="35"/>
                    </a:cubicBezTo>
                    <a:cubicBezTo>
                      <a:pt x="26" y="34"/>
                      <a:pt x="23" y="32"/>
                      <a:pt x="22" y="32"/>
                    </a:cubicBezTo>
                    <a:cubicBezTo>
                      <a:pt x="21" y="32"/>
                      <a:pt x="15" y="30"/>
                      <a:pt x="13" y="27"/>
                    </a:cubicBezTo>
                    <a:cubicBezTo>
                      <a:pt x="10" y="25"/>
                      <a:pt x="5" y="22"/>
                      <a:pt x="4" y="21"/>
                    </a:cubicBezTo>
                    <a:cubicBezTo>
                      <a:pt x="3" y="21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3" name="Freeform 98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4784549" y="5554664"/>
                <a:ext cx="23454" cy="90487"/>
              </a:xfrm>
              <a:custGeom>
                <a:avLst/>
                <a:gdLst>
                  <a:gd name="T0" fmla="*/ 2147483647 w 6"/>
                  <a:gd name="T1" fmla="*/ 2147483647 h 22"/>
                  <a:gd name="T2" fmla="*/ 2147483647 w 6"/>
                  <a:gd name="T3" fmla="*/ 2147483647 h 22"/>
                  <a:gd name="T4" fmla="*/ 0 w 6"/>
                  <a:gd name="T5" fmla="*/ 2147483647 h 22"/>
                  <a:gd name="T6" fmla="*/ 0 w 6"/>
                  <a:gd name="T7" fmla="*/ 2147483647 h 22"/>
                  <a:gd name="T8" fmla="*/ 2147483647 w 6"/>
                  <a:gd name="T9" fmla="*/ 2147483647 h 22"/>
                  <a:gd name="T10" fmla="*/ 2147483647 w 6"/>
                  <a:gd name="T11" fmla="*/ 2147483647 h 22"/>
                  <a:gd name="T12" fmla="*/ 2147483647 w 6"/>
                  <a:gd name="T13" fmla="*/ 2147483647 h 22"/>
                  <a:gd name="T14" fmla="*/ 2147483647 w 6"/>
                  <a:gd name="T15" fmla="*/ 2147483647 h 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22"/>
                  <a:gd name="T26" fmla="*/ 6 w 6"/>
                  <a:gd name="T27" fmla="*/ 22 h 2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22">
                    <a:moveTo>
                      <a:pt x="3" y="1"/>
                    </a:moveTo>
                    <a:cubicBezTo>
                      <a:pt x="2" y="4"/>
                      <a:pt x="3" y="8"/>
                      <a:pt x="2" y="11"/>
                    </a:cubicBezTo>
                    <a:cubicBezTo>
                      <a:pt x="1" y="13"/>
                      <a:pt x="1" y="15"/>
                      <a:pt x="0" y="16"/>
                    </a:cubicBezTo>
                    <a:cubicBezTo>
                      <a:pt x="0" y="18"/>
                      <a:pt x="0" y="22"/>
                      <a:pt x="0" y="22"/>
                    </a:cubicBezTo>
                    <a:cubicBezTo>
                      <a:pt x="0" y="22"/>
                      <a:pt x="2" y="21"/>
                      <a:pt x="3" y="18"/>
                    </a:cubicBezTo>
                    <a:cubicBezTo>
                      <a:pt x="5" y="16"/>
                      <a:pt x="5" y="14"/>
                      <a:pt x="5" y="11"/>
                    </a:cubicBezTo>
                    <a:cubicBezTo>
                      <a:pt x="5" y="8"/>
                      <a:pt x="5" y="5"/>
                      <a:pt x="5" y="4"/>
                    </a:cubicBezTo>
                    <a:cubicBezTo>
                      <a:pt x="6" y="2"/>
                      <a:pt x="4" y="0"/>
                      <a:pt x="3" y="1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4" name="Freeform 99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4771357" y="5659439"/>
                <a:ext cx="14659" cy="22225"/>
              </a:xfrm>
              <a:custGeom>
                <a:avLst/>
                <a:gdLst>
                  <a:gd name="T0" fmla="*/ 2147483647 w 4"/>
                  <a:gd name="T1" fmla="*/ 2147483647 h 6"/>
                  <a:gd name="T2" fmla="*/ 2147483647 w 4"/>
                  <a:gd name="T3" fmla="*/ 2147483647 h 6"/>
                  <a:gd name="T4" fmla="*/ 2147483647 w 4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6"/>
                  <a:gd name="T11" fmla="*/ 4 w 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6">
                    <a:moveTo>
                      <a:pt x="1" y="4"/>
                    </a:moveTo>
                    <a:cubicBezTo>
                      <a:pt x="0" y="6"/>
                      <a:pt x="3" y="6"/>
                      <a:pt x="3" y="4"/>
                    </a:cubicBezTo>
                    <a:cubicBezTo>
                      <a:pt x="4" y="2"/>
                      <a:pt x="3" y="0"/>
                      <a:pt x="1" y="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5" name="Freeform 100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4805071" y="5764213"/>
                <a:ext cx="17590" cy="23812"/>
              </a:xfrm>
              <a:custGeom>
                <a:avLst/>
                <a:gdLst>
                  <a:gd name="T0" fmla="*/ 0 w 5"/>
                  <a:gd name="T1" fmla="*/ 0 h 6"/>
                  <a:gd name="T2" fmla="*/ 2147483647 w 5"/>
                  <a:gd name="T3" fmla="*/ 2147483647 h 6"/>
                  <a:gd name="T4" fmla="*/ 2147483647 w 5"/>
                  <a:gd name="T5" fmla="*/ 2147483647 h 6"/>
                  <a:gd name="T6" fmla="*/ 0 w 5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6"/>
                  <a:gd name="T14" fmla="*/ 5 w 5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6">
                    <a:moveTo>
                      <a:pt x="0" y="0"/>
                    </a:moveTo>
                    <a:cubicBezTo>
                      <a:pt x="0" y="3"/>
                      <a:pt x="1" y="6"/>
                      <a:pt x="2" y="5"/>
                    </a:cubicBezTo>
                    <a:cubicBezTo>
                      <a:pt x="3" y="5"/>
                      <a:pt x="5" y="4"/>
                      <a:pt x="5" y="2"/>
                    </a:cubicBezTo>
                    <a:cubicBezTo>
                      <a:pt x="4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72E873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6" name="Freeform 101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4287625" y="5705476"/>
                <a:ext cx="83553" cy="155575"/>
              </a:xfrm>
              <a:custGeom>
                <a:avLst/>
                <a:gdLst>
                  <a:gd name="T0" fmla="*/ 2147483647 w 21"/>
                  <a:gd name="T1" fmla="*/ 2147483647 h 40"/>
                  <a:gd name="T2" fmla="*/ 2147483647 w 21"/>
                  <a:gd name="T3" fmla="*/ 2147483647 h 40"/>
                  <a:gd name="T4" fmla="*/ 2147483647 w 21"/>
                  <a:gd name="T5" fmla="*/ 2147483647 h 40"/>
                  <a:gd name="T6" fmla="*/ 0 w 21"/>
                  <a:gd name="T7" fmla="*/ 2147483647 h 40"/>
                  <a:gd name="T8" fmla="*/ 2147483647 w 21"/>
                  <a:gd name="T9" fmla="*/ 2147483647 h 40"/>
                  <a:gd name="T10" fmla="*/ 2147483647 w 21"/>
                  <a:gd name="T11" fmla="*/ 2147483647 h 40"/>
                  <a:gd name="T12" fmla="*/ 2147483647 w 21"/>
                  <a:gd name="T13" fmla="*/ 2147483647 h 40"/>
                  <a:gd name="T14" fmla="*/ 2147483647 w 21"/>
                  <a:gd name="T15" fmla="*/ 2147483647 h 40"/>
                  <a:gd name="T16" fmla="*/ 2147483647 w 21"/>
                  <a:gd name="T17" fmla="*/ 2147483647 h 40"/>
                  <a:gd name="T18" fmla="*/ 2147483647 w 21"/>
                  <a:gd name="T19" fmla="*/ 2147483647 h 40"/>
                  <a:gd name="T20" fmla="*/ 2147483647 w 21"/>
                  <a:gd name="T21" fmla="*/ 2147483647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1"/>
                  <a:gd name="T34" fmla="*/ 0 h 40"/>
                  <a:gd name="T35" fmla="*/ 21 w 21"/>
                  <a:gd name="T36" fmla="*/ 40 h 4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1" h="40">
                    <a:moveTo>
                      <a:pt x="3" y="2"/>
                    </a:moveTo>
                    <a:cubicBezTo>
                      <a:pt x="3" y="2"/>
                      <a:pt x="7" y="2"/>
                      <a:pt x="5" y="5"/>
                    </a:cubicBezTo>
                    <a:cubicBezTo>
                      <a:pt x="3" y="7"/>
                      <a:pt x="2" y="8"/>
                      <a:pt x="1" y="13"/>
                    </a:cubicBezTo>
                    <a:cubicBezTo>
                      <a:pt x="0" y="18"/>
                      <a:pt x="0" y="21"/>
                      <a:pt x="0" y="23"/>
                    </a:cubicBezTo>
                    <a:cubicBezTo>
                      <a:pt x="1" y="26"/>
                      <a:pt x="0" y="34"/>
                      <a:pt x="2" y="36"/>
                    </a:cubicBezTo>
                    <a:cubicBezTo>
                      <a:pt x="5" y="38"/>
                      <a:pt x="7" y="40"/>
                      <a:pt x="10" y="38"/>
                    </a:cubicBezTo>
                    <a:cubicBezTo>
                      <a:pt x="12" y="37"/>
                      <a:pt x="17" y="38"/>
                      <a:pt x="19" y="35"/>
                    </a:cubicBezTo>
                    <a:cubicBezTo>
                      <a:pt x="21" y="31"/>
                      <a:pt x="21" y="23"/>
                      <a:pt x="20" y="22"/>
                    </a:cubicBezTo>
                    <a:cubicBezTo>
                      <a:pt x="20" y="20"/>
                      <a:pt x="16" y="15"/>
                      <a:pt x="15" y="13"/>
                    </a:cubicBezTo>
                    <a:cubicBezTo>
                      <a:pt x="14" y="10"/>
                      <a:pt x="10" y="6"/>
                      <a:pt x="10" y="5"/>
                    </a:cubicBezTo>
                    <a:cubicBezTo>
                      <a:pt x="9" y="3"/>
                      <a:pt x="4" y="0"/>
                      <a:pt x="3" y="2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7" name="Freeform 102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3839073" y="4624389"/>
                <a:ext cx="1136037" cy="1150937"/>
              </a:xfrm>
              <a:custGeom>
                <a:avLst/>
                <a:gdLst>
                  <a:gd name="T0" fmla="*/ 2147483647 w 287"/>
                  <a:gd name="T1" fmla="*/ 2147483647 h 294"/>
                  <a:gd name="T2" fmla="*/ 2147483647 w 287"/>
                  <a:gd name="T3" fmla="*/ 2147483647 h 294"/>
                  <a:gd name="T4" fmla="*/ 2147483647 w 287"/>
                  <a:gd name="T5" fmla="*/ 2147483647 h 294"/>
                  <a:gd name="T6" fmla="*/ 2147483647 w 287"/>
                  <a:gd name="T7" fmla="*/ 2147483647 h 294"/>
                  <a:gd name="T8" fmla="*/ 2147483647 w 287"/>
                  <a:gd name="T9" fmla="*/ 2147483647 h 294"/>
                  <a:gd name="T10" fmla="*/ 2147483647 w 287"/>
                  <a:gd name="T11" fmla="*/ 2147483647 h 294"/>
                  <a:gd name="T12" fmla="*/ 2147483647 w 287"/>
                  <a:gd name="T13" fmla="*/ 2147483647 h 294"/>
                  <a:gd name="T14" fmla="*/ 2147483647 w 287"/>
                  <a:gd name="T15" fmla="*/ 2147483647 h 294"/>
                  <a:gd name="T16" fmla="*/ 2147483647 w 287"/>
                  <a:gd name="T17" fmla="*/ 2147483647 h 294"/>
                  <a:gd name="T18" fmla="*/ 2147483647 w 287"/>
                  <a:gd name="T19" fmla="*/ 2147483647 h 294"/>
                  <a:gd name="T20" fmla="*/ 2147483647 w 287"/>
                  <a:gd name="T21" fmla="*/ 2147483647 h 294"/>
                  <a:gd name="T22" fmla="*/ 2147483647 w 287"/>
                  <a:gd name="T23" fmla="*/ 2147483647 h 294"/>
                  <a:gd name="T24" fmla="*/ 2147483647 w 287"/>
                  <a:gd name="T25" fmla="*/ 2147483647 h 294"/>
                  <a:gd name="T26" fmla="*/ 2147483647 w 287"/>
                  <a:gd name="T27" fmla="*/ 2147483647 h 294"/>
                  <a:gd name="T28" fmla="*/ 2147483647 w 287"/>
                  <a:gd name="T29" fmla="*/ 2147483647 h 294"/>
                  <a:gd name="T30" fmla="*/ 2147483647 w 287"/>
                  <a:gd name="T31" fmla="*/ 2147483647 h 294"/>
                  <a:gd name="T32" fmla="*/ 2147483647 w 287"/>
                  <a:gd name="T33" fmla="*/ 2147483647 h 294"/>
                  <a:gd name="T34" fmla="*/ 2147483647 w 287"/>
                  <a:gd name="T35" fmla="*/ 2147483647 h 294"/>
                  <a:gd name="T36" fmla="*/ 2147483647 w 287"/>
                  <a:gd name="T37" fmla="*/ 2147483647 h 294"/>
                  <a:gd name="T38" fmla="*/ 2147483647 w 287"/>
                  <a:gd name="T39" fmla="*/ 2147483647 h 294"/>
                  <a:gd name="T40" fmla="*/ 2147483647 w 287"/>
                  <a:gd name="T41" fmla="*/ 2147483647 h 294"/>
                  <a:gd name="T42" fmla="*/ 2147483647 w 287"/>
                  <a:gd name="T43" fmla="*/ 2147483647 h 294"/>
                  <a:gd name="T44" fmla="*/ 2147483647 w 287"/>
                  <a:gd name="T45" fmla="*/ 2147483647 h 294"/>
                  <a:gd name="T46" fmla="*/ 2147483647 w 287"/>
                  <a:gd name="T47" fmla="*/ 2147483647 h 294"/>
                  <a:gd name="T48" fmla="*/ 2147483647 w 287"/>
                  <a:gd name="T49" fmla="*/ 2147483647 h 294"/>
                  <a:gd name="T50" fmla="*/ 2147483647 w 287"/>
                  <a:gd name="T51" fmla="*/ 2147483647 h 294"/>
                  <a:gd name="T52" fmla="*/ 2147483647 w 287"/>
                  <a:gd name="T53" fmla="*/ 2147483647 h 294"/>
                  <a:gd name="T54" fmla="*/ 2147483647 w 287"/>
                  <a:gd name="T55" fmla="*/ 2147483647 h 294"/>
                  <a:gd name="T56" fmla="*/ 2147483647 w 287"/>
                  <a:gd name="T57" fmla="*/ 2147483647 h 294"/>
                  <a:gd name="T58" fmla="*/ 2147483647 w 287"/>
                  <a:gd name="T59" fmla="*/ 2147483647 h 294"/>
                  <a:gd name="T60" fmla="*/ 2147483647 w 287"/>
                  <a:gd name="T61" fmla="*/ 2147483647 h 294"/>
                  <a:gd name="T62" fmla="*/ 2147483647 w 287"/>
                  <a:gd name="T63" fmla="*/ 2147483647 h 294"/>
                  <a:gd name="T64" fmla="*/ 2147483647 w 287"/>
                  <a:gd name="T65" fmla="*/ 2147483647 h 294"/>
                  <a:gd name="T66" fmla="*/ 2147483647 w 287"/>
                  <a:gd name="T67" fmla="*/ 2147483647 h 294"/>
                  <a:gd name="T68" fmla="*/ 2147483647 w 287"/>
                  <a:gd name="T69" fmla="*/ 2147483647 h 294"/>
                  <a:gd name="T70" fmla="*/ 2147483647 w 287"/>
                  <a:gd name="T71" fmla="*/ 2147483647 h 294"/>
                  <a:gd name="T72" fmla="*/ 2147483647 w 287"/>
                  <a:gd name="T73" fmla="*/ 2147483647 h 294"/>
                  <a:gd name="T74" fmla="*/ 2147483647 w 287"/>
                  <a:gd name="T75" fmla="*/ 2147483647 h 294"/>
                  <a:gd name="T76" fmla="*/ 2147483647 w 287"/>
                  <a:gd name="T77" fmla="*/ 2147483647 h 294"/>
                  <a:gd name="T78" fmla="*/ 2147483647 w 287"/>
                  <a:gd name="T79" fmla="*/ 2147483647 h 294"/>
                  <a:gd name="T80" fmla="*/ 2147483647 w 287"/>
                  <a:gd name="T81" fmla="*/ 2147483647 h 294"/>
                  <a:gd name="T82" fmla="*/ 2147483647 w 287"/>
                  <a:gd name="T83" fmla="*/ 2147483647 h 294"/>
                  <a:gd name="T84" fmla="*/ 2147483647 w 287"/>
                  <a:gd name="T85" fmla="*/ 2147483647 h 294"/>
                  <a:gd name="T86" fmla="*/ 2147483647 w 287"/>
                  <a:gd name="T87" fmla="*/ 2147483647 h 294"/>
                  <a:gd name="T88" fmla="*/ 2147483647 w 287"/>
                  <a:gd name="T89" fmla="*/ 2147483647 h 294"/>
                  <a:gd name="T90" fmla="*/ 2147483647 w 287"/>
                  <a:gd name="T91" fmla="*/ 2147483647 h 294"/>
                  <a:gd name="T92" fmla="*/ 2147483647 w 287"/>
                  <a:gd name="T93" fmla="*/ 2147483647 h 294"/>
                  <a:gd name="T94" fmla="*/ 2147483647 w 287"/>
                  <a:gd name="T95" fmla="*/ 2147483647 h 294"/>
                  <a:gd name="T96" fmla="*/ 2147483647 w 287"/>
                  <a:gd name="T97" fmla="*/ 2147483647 h 294"/>
                  <a:gd name="T98" fmla="*/ 2147483647 w 287"/>
                  <a:gd name="T99" fmla="*/ 2147483647 h 294"/>
                  <a:gd name="T100" fmla="*/ 2147483647 w 287"/>
                  <a:gd name="T101" fmla="*/ 2147483647 h 2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87"/>
                  <a:gd name="T154" fmla="*/ 0 h 294"/>
                  <a:gd name="T155" fmla="*/ 287 w 287"/>
                  <a:gd name="T156" fmla="*/ 294 h 2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87" h="294">
                    <a:moveTo>
                      <a:pt x="283" y="90"/>
                    </a:moveTo>
                    <a:cubicBezTo>
                      <a:pt x="285" y="88"/>
                      <a:pt x="286" y="87"/>
                      <a:pt x="287" y="84"/>
                    </a:cubicBezTo>
                    <a:cubicBezTo>
                      <a:pt x="287" y="84"/>
                      <a:pt x="283" y="82"/>
                      <a:pt x="280" y="82"/>
                    </a:cubicBezTo>
                    <a:cubicBezTo>
                      <a:pt x="277" y="83"/>
                      <a:pt x="275" y="81"/>
                      <a:pt x="277" y="80"/>
                    </a:cubicBezTo>
                    <a:cubicBezTo>
                      <a:pt x="279" y="79"/>
                      <a:pt x="281" y="74"/>
                      <a:pt x="278" y="75"/>
                    </a:cubicBezTo>
                    <a:cubicBezTo>
                      <a:pt x="275" y="76"/>
                      <a:pt x="273" y="75"/>
                      <a:pt x="275" y="74"/>
                    </a:cubicBezTo>
                    <a:cubicBezTo>
                      <a:pt x="277" y="73"/>
                      <a:pt x="276" y="71"/>
                      <a:pt x="273" y="72"/>
                    </a:cubicBezTo>
                    <a:cubicBezTo>
                      <a:pt x="271" y="73"/>
                      <a:pt x="267" y="75"/>
                      <a:pt x="265" y="75"/>
                    </a:cubicBezTo>
                    <a:cubicBezTo>
                      <a:pt x="263" y="75"/>
                      <a:pt x="260" y="72"/>
                      <a:pt x="258" y="74"/>
                    </a:cubicBezTo>
                    <a:cubicBezTo>
                      <a:pt x="255" y="76"/>
                      <a:pt x="255" y="77"/>
                      <a:pt x="250" y="79"/>
                    </a:cubicBezTo>
                    <a:cubicBezTo>
                      <a:pt x="245" y="81"/>
                      <a:pt x="246" y="80"/>
                      <a:pt x="245" y="82"/>
                    </a:cubicBezTo>
                    <a:cubicBezTo>
                      <a:pt x="244" y="85"/>
                      <a:pt x="245" y="86"/>
                      <a:pt x="240" y="87"/>
                    </a:cubicBezTo>
                    <a:cubicBezTo>
                      <a:pt x="235" y="88"/>
                      <a:pt x="233" y="89"/>
                      <a:pt x="231" y="89"/>
                    </a:cubicBezTo>
                    <a:cubicBezTo>
                      <a:pt x="231" y="90"/>
                      <a:pt x="231" y="90"/>
                      <a:pt x="230" y="90"/>
                    </a:cubicBezTo>
                    <a:cubicBezTo>
                      <a:pt x="229" y="91"/>
                      <a:pt x="229" y="93"/>
                      <a:pt x="231" y="93"/>
                    </a:cubicBezTo>
                    <a:cubicBezTo>
                      <a:pt x="234" y="94"/>
                      <a:pt x="233" y="91"/>
                      <a:pt x="234" y="94"/>
                    </a:cubicBezTo>
                    <a:cubicBezTo>
                      <a:pt x="234" y="96"/>
                      <a:pt x="235" y="97"/>
                      <a:pt x="235" y="98"/>
                    </a:cubicBezTo>
                    <a:cubicBezTo>
                      <a:pt x="235" y="100"/>
                      <a:pt x="230" y="100"/>
                      <a:pt x="228" y="100"/>
                    </a:cubicBezTo>
                    <a:cubicBezTo>
                      <a:pt x="227" y="100"/>
                      <a:pt x="220" y="101"/>
                      <a:pt x="220" y="101"/>
                    </a:cubicBezTo>
                    <a:cubicBezTo>
                      <a:pt x="220" y="101"/>
                      <a:pt x="216" y="99"/>
                      <a:pt x="215" y="100"/>
                    </a:cubicBezTo>
                    <a:cubicBezTo>
                      <a:pt x="213" y="102"/>
                      <a:pt x="210" y="102"/>
                      <a:pt x="209" y="100"/>
                    </a:cubicBezTo>
                    <a:cubicBezTo>
                      <a:pt x="209" y="99"/>
                      <a:pt x="203" y="99"/>
                      <a:pt x="203" y="97"/>
                    </a:cubicBezTo>
                    <a:cubicBezTo>
                      <a:pt x="202" y="96"/>
                      <a:pt x="203" y="95"/>
                      <a:pt x="204" y="93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2" y="88"/>
                      <a:pt x="202" y="88"/>
                      <a:pt x="202" y="88"/>
                    </a:cubicBezTo>
                    <a:cubicBezTo>
                      <a:pt x="202" y="88"/>
                      <a:pt x="199" y="85"/>
                      <a:pt x="197" y="87"/>
                    </a:cubicBezTo>
                    <a:cubicBezTo>
                      <a:pt x="197" y="88"/>
                      <a:pt x="196" y="88"/>
                      <a:pt x="195" y="89"/>
                    </a:cubicBezTo>
                    <a:cubicBezTo>
                      <a:pt x="196" y="89"/>
                      <a:pt x="196" y="89"/>
                      <a:pt x="196" y="90"/>
                    </a:cubicBezTo>
                    <a:cubicBezTo>
                      <a:pt x="196" y="91"/>
                      <a:pt x="195" y="95"/>
                      <a:pt x="195" y="96"/>
                    </a:cubicBezTo>
                    <a:cubicBezTo>
                      <a:pt x="195" y="97"/>
                      <a:pt x="196" y="100"/>
                      <a:pt x="196" y="101"/>
                    </a:cubicBezTo>
                    <a:cubicBezTo>
                      <a:pt x="195" y="103"/>
                      <a:pt x="196" y="104"/>
                      <a:pt x="194" y="104"/>
                    </a:cubicBezTo>
                    <a:cubicBezTo>
                      <a:pt x="193" y="105"/>
                      <a:pt x="191" y="104"/>
                      <a:pt x="190" y="105"/>
                    </a:cubicBezTo>
                    <a:cubicBezTo>
                      <a:pt x="188" y="105"/>
                      <a:pt x="185" y="102"/>
                      <a:pt x="183" y="103"/>
                    </a:cubicBezTo>
                    <a:cubicBezTo>
                      <a:pt x="182" y="104"/>
                      <a:pt x="176" y="102"/>
                      <a:pt x="175" y="102"/>
                    </a:cubicBezTo>
                    <a:cubicBezTo>
                      <a:pt x="174" y="102"/>
                      <a:pt x="171" y="100"/>
                      <a:pt x="170" y="101"/>
                    </a:cubicBezTo>
                    <a:cubicBezTo>
                      <a:pt x="169" y="101"/>
                      <a:pt x="164" y="98"/>
                      <a:pt x="163" y="98"/>
                    </a:cubicBezTo>
                    <a:cubicBezTo>
                      <a:pt x="162" y="97"/>
                      <a:pt x="159" y="91"/>
                      <a:pt x="156" y="93"/>
                    </a:cubicBezTo>
                    <a:cubicBezTo>
                      <a:pt x="153" y="95"/>
                      <a:pt x="153" y="94"/>
                      <a:pt x="153" y="94"/>
                    </a:cubicBezTo>
                    <a:cubicBezTo>
                      <a:pt x="153" y="94"/>
                      <a:pt x="147" y="93"/>
                      <a:pt x="145" y="93"/>
                    </a:cubicBezTo>
                    <a:cubicBezTo>
                      <a:pt x="143" y="92"/>
                      <a:pt x="140" y="90"/>
                      <a:pt x="139" y="90"/>
                    </a:cubicBezTo>
                    <a:cubicBezTo>
                      <a:pt x="138" y="90"/>
                      <a:pt x="132" y="88"/>
                      <a:pt x="130" y="85"/>
                    </a:cubicBezTo>
                    <a:cubicBezTo>
                      <a:pt x="127" y="83"/>
                      <a:pt x="122" y="80"/>
                      <a:pt x="121" y="79"/>
                    </a:cubicBezTo>
                    <a:cubicBezTo>
                      <a:pt x="120" y="79"/>
                      <a:pt x="117" y="76"/>
                      <a:pt x="117" y="76"/>
                    </a:cubicBezTo>
                    <a:cubicBezTo>
                      <a:pt x="117" y="76"/>
                      <a:pt x="120" y="75"/>
                      <a:pt x="119" y="72"/>
                    </a:cubicBezTo>
                    <a:cubicBezTo>
                      <a:pt x="119" y="68"/>
                      <a:pt x="121" y="67"/>
                      <a:pt x="123" y="65"/>
                    </a:cubicBezTo>
                    <a:cubicBezTo>
                      <a:pt x="124" y="64"/>
                      <a:pt x="124" y="63"/>
                      <a:pt x="125" y="63"/>
                    </a:cubicBezTo>
                    <a:cubicBezTo>
                      <a:pt x="125" y="62"/>
                      <a:pt x="125" y="62"/>
                      <a:pt x="125" y="62"/>
                    </a:cubicBezTo>
                    <a:cubicBezTo>
                      <a:pt x="118" y="58"/>
                      <a:pt x="118" y="58"/>
                      <a:pt x="118" y="58"/>
                    </a:cubicBezTo>
                    <a:cubicBezTo>
                      <a:pt x="118" y="58"/>
                      <a:pt x="114" y="53"/>
                      <a:pt x="112" y="52"/>
                    </a:cubicBezTo>
                    <a:cubicBezTo>
                      <a:pt x="110" y="51"/>
                      <a:pt x="108" y="47"/>
                      <a:pt x="107" y="48"/>
                    </a:cubicBezTo>
                    <a:cubicBezTo>
                      <a:pt x="105" y="50"/>
                      <a:pt x="104" y="48"/>
                      <a:pt x="104" y="46"/>
                    </a:cubicBezTo>
                    <a:cubicBezTo>
                      <a:pt x="104" y="44"/>
                      <a:pt x="103" y="42"/>
                      <a:pt x="102" y="39"/>
                    </a:cubicBezTo>
                    <a:cubicBezTo>
                      <a:pt x="101" y="37"/>
                      <a:pt x="99" y="34"/>
                      <a:pt x="100" y="34"/>
                    </a:cubicBezTo>
                    <a:cubicBezTo>
                      <a:pt x="101" y="34"/>
                      <a:pt x="104" y="34"/>
                      <a:pt x="104" y="35"/>
                    </a:cubicBezTo>
                    <a:cubicBezTo>
                      <a:pt x="104" y="36"/>
                      <a:pt x="106" y="37"/>
                      <a:pt x="107" y="36"/>
                    </a:cubicBezTo>
                    <a:cubicBezTo>
                      <a:pt x="109" y="35"/>
                      <a:pt x="110" y="35"/>
                      <a:pt x="110" y="33"/>
                    </a:cubicBezTo>
                    <a:cubicBezTo>
                      <a:pt x="110" y="32"/>
                      <a:pt x="107" y="28"/>
                      <a:pt x="106" y="26"/>
                    </a:cubicBezTo>
                    <a:cubicBezTo>
                      <a:pt x="105" y="25"/>
                      <a:pt x="102" y="21"/>
                      <a:pt x="103" y="19"/>
                    </a:cubicBezTo>
                    <a:cubicBezTo>
                      <a:pt x="104" y="17"/>
                      <a:pt x="107" y="15"/>
                      <a:pt x="105" y="14"/>
                    </a:cubicBezTo>
                    <a:cubicBezTo>
                      <a:pt x="104" y="13"/>
                      <a:pt x="102" y="12"/>
                      <a:pt x="100" y="11"/>
                    </a:cubicBezTo>
                    <a:cubicBezTo>
                      <a:pt x="99" y="10"/>
                      <a:pt x="96" y="4"/>
                      <a:pt x="96" y="4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8" y="5"/>
                      <a:pt x="85" y="7"/>
                      <a:pt x="83" y="8"/>
                    </a:cubicBezTo>
                    <a:cubicBezTo>
                      <a:pt x="81" y="9"/>
                      <a:pt x="74" y="13"/>
                      <a:pt x="72" y="12"/>
                    </a:cubicBezTo>
                    <a:cubicBezTo>
                      <a:pt x="70" y="12"/>
                      <a:pt x="68" y="10"/>
                      <a:pt x="65" y="9"/>
                    </a:cubicBezTo>
                    <a:cubicBezTo>
                      <a:pt x="63" y="8"/>
                      <a:pt x="60" y="10"/>
                      <a:pt x="57" y="11"/>
                    </a:cubicBezTo>
                    <a:cubicBezTo>
                      <a:pt x="54" y="11"/>
                      <a:pt x="56" y="15"/>
                      <a:pt x="56" y="15"/>
                    </a:cubicBezTo>
                    <a:cubicBezTo>
                      <a:pt x="56" y="15"/>
                      <a:pt x="57" y="21"/>
                      <a:pt x="57" y="23"/>
                    </a:cubicBezTo>
                    <a:cubicBezTo>
                      <a:pt x="57" y="25"/>
                      <a:pt x="59" y="26"/>
                      <a:pt x="60" y="29"/>
                    </a:cubicBezTo>
                    <a:cubicBezTo>
                      <a:pt x="60" y="32"/>
                      <a:pt x="62" y="32"/>
                      <a:pt x="64" y="34"/>
                    </a:cubicBezTo>
                    <a:cubicBezTo>
                      <a:pt x="65" y="37"/>
                      <a:pt x="70" y="38"/>
                      <a:pt x="71" y="40"/>
                    </a:cubicBezTo>
                    <a:cubicBezTo>
                      <a:pt x="72" y="42"/>
                      <a:pt x="70" y="44"/>
                      <a:pt x="68" y="43"/>
                    </a:cubicBezTo>
                    <a:cubicBezTo>
                      <a:pt x="65" y="43"/>
                      <a:pt x="63" y="44"/>
                      <a:pt x="63" y="46"/>
                    </a:cubicBezTo>
                    <a:cubicBezTo>
                      <a:pt x="63" y="48"/>
                      <a:pt x="62" y="53"/>
                      <a:pt x="59" y="56"/>
                    </a:cubicBezTo>
                    <a:cubicBezTo>
                      <a:pt x="56" y="58"/>
                      <a:pt x="57" y="61"/>
                      <a:pt x="56" y="63"/>
                    </a:cubicBezTo>
                    <a:cubicBezTo>
                      <a:pt x="55" y="64"/>
                      <a:pt x="52" y="65"/>
                      <a:pt x="52" y="66"/>
                    </a:cubicBezTo>
                    <a:cubicBezTo>
                      <a:pt x="51" y="68"/>
                      <a:pt x="48" y="74"/>
                      <a:pt x="47" y="74"/>
                    </a:cubicBezTo>
                    <a:cubicBezTo>
                      <a:pt x="45" y="75"/>
                      <a:pt x="41" y="79"/>
                      <a:pt x="40" y="81"/>
                    </a:cubicBezTo>
                    <a:cubicBezTo>
                      <a:pt x="39" y="84"/>
                      <a:pt x="36" y="89"/>
                      <a:pt x="35" y="88"/>
                    </a:cubicBezTo>
                    <a:cubicBezTo>
                      <a:pt x="34" y="87"/>
                      <a:pt x="26" y="90"/>
                      <a:pt x="26" y="90"/>
                    </a:cubicBezTo>
                    <a:cubicBezTo>
                      <a:pt x="26" y="90"/>
                      <a:pt x="24" y="88"/>
                      <a:pt x="23" y="87"/>
                    </a:cubicBezTo>
                    <a:cubicBezTo>
                      <a:pt x="22" y="86"/>
                      <a:pt x="19" y="90"/>
                      <a:pt x="19" y="90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5" y="94"/>
                      <a:pt x="13" y="100"/>
                      <a:pt x="15" y="102"/>
                    </a:cubicBezTo>
                    <a:cubicBezTo>
                      <a:pt x="16" y="105"/>
                      <a:pt x="19" y="104"/>
                      <a:pt x="19" y="104"/>
                    </a:cubicBezTo>
                    <a:cubicBezTo>
                      <a:pt x="19" y="104"/>
                      <a:pt x="19" y="108"/>
                      <a:pt x="19" y="110"/>
                    </a:cubicBezTo>
                    <a:cubicBezTo>
                      <a:pt x="20" y="113"/>
                      <a:pt x="23" y="112"/>
                      <a:pt x="23" y="112"/>
                    </a:cubicBezTo>
                    <a:cubicBezTo>
                      <a:pt x="23" y="112"/>
                      <a:pt x="26" y="118"/>
                      <a:pt x="26" y="120"/>
                    </a:cubicBezTo>
                    <a:cubicBezTo>
                      <a:pt x="27" y="122"/>
                      <a:pt x="28" y="124"/>
                      <a:pt x="28" y="126"/>
                    </a:cubicBezTo>
                    <a:cubicBezTo>
                      <a:pt x="28" y="129"/>
                      <a:pt x="24" y="126"/>
                      <a:pt x="24" y="126"/>
                    </a:cubicBezTo>
                    <a:cubicBezTo>
                      <a:pt x="24" y="126"/>
                      <a:pt x="19" y="128"/>
                      <a:pt x="18" y="129"/>
                    </a:cubicBezTo>
                    <a:cubicBezTo>
                      <a:pt x="17" y="129"/>
                      <a:pt x="14" y="128"/>
                      <a:pt x="14" y="128"/>
                    </a:cubicBezTo>
                    <a:cubicBezTo>
                      <a:pt x="6" y="127"/>
                      <a:pt x="6" y="127"/>
                      <a:pt x="6" y="127"/>
                    </a:cubicBezTo>
                    <a:cubicBezTo>
                      <a:pt x="5" y="131"/>
                      <a:pt x="5" y="131"/>
                      <a:pt x="5" y="131"/>
                    </a:cubicBezTo>
                    <a:cubicBezTo>
                      <a:pt x="1" y="132"/>
                      <a:pt x="1" y="132"/>
                      <a:pt x="1" y="132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34"/>
                      <a:pt x="0" y="134"/>
                      <a:pt x="0" y="134"/>
                    </a:cubicBezTo>
                    <a:cubicBezTo>
                      <a:pt x="1" y="134"/>
                      <a:pt x="4" y="137"/>
                      <a:pt x="6" y="140"/>
                    </a:cubicBezTo>
                    <a:cubicBezTo>
                      <a:pt x="8" y="142"/>
                      <a:pt x="14" y="145"/>
                      <a:pt x="15" y="144"/>
                    </a:cubicBezTo>
                    <a:cubicBezTo>
                      <a:pt x="16" y="143"/>
                      <a:pt x="21" y="141"/>
                      <a:pt x="21" y="141"/>
                    </a:cubicBezTo>
                    <a:cubicBezTo>
                      <a:pt x="21" y="141"/>
                      <a:pt x="27" y="138"/>
                      <a:pt x="28" y="136"/>
                    </a:cubicBezTo>
                    <a:cubicBezTo>
                      <a:pt x="29" y="135"/>
                      <a:pt x="33" y="136"/>
                      <a:pt x="33" y="136"/>
                    </a:cubicBezTo>
                    <a:cubicBezTo>
                      <a:pt x="33" y="138"/>
                      <a:pt x="33" y="138"/>
                      <a:pt x="33" y="138"/>
                    </a:cubicBezTo>
                    <a:cubicBezTo>
                      <a:pt x="33" y="138"/>
                      <a:pt x="23" y="140"/>
                      <a:pt x="21" y="143"/>
                    </a:cubicBezTo>
                    <a:cubicBezTo>
                      <a:pt x="18" y="147"/>
                      <a:pt x="12" y="146"/>
                      <a:pt x="12" y="146"/>
                    </a:cubicBezTo>
                    <a:cubicBezTo>
                      <a:pt x="6" y="146"/>
                      <a:pt x="6" y="146"/>
                      <a:pt x="6" y="146"/>
                    </a:cubicBezTo>
                    <a:cubicBezTo>
                      <a:pt x="11" y="154"/>
                      <a:pt x="11" y="154"/>
                      <a:pt x="11" y="154"/>
                    </a:cubicBezTo>
                    <a:cubicBezTo>
                      <a:pt x="11" y="154"/>
                      <a:pt x="17" y="159"/>
                      <a:pt x="19" y="162"/>
                    </a:cubicBezTo>
                    <a:cubicBezTo>
                      <a:pt x="21" y="165"/>
                      <a:pt x="29" y="166"/>
                      <a:pt x="31" y="165"/>
                    </a:cubicBezTo>
                    <a:cubicBezTo>
                      <a:pt x="33" y="164"/>
                      <a:pt x="40" y="158"/>
                      <a:pt x="40" y="158"/>
                    </a:cubicBezTo>
                    <a:cubicBezTo>
                      <a:pt x="40" y="158"/>
                      <a:pt x="40" y="149"/>
                      <a:pt x="42" y="149"/>
                    </a:cubicBezTo>
                    <a:cubicBezTo>
                      <a:pt x="43" y="149"/>
                      <a:pt x="42" y="153"/>
                      <a:pt x="43" y="155"/>
                    </a:cubicBezTo>
                    <a:cubicBezTo>
                      <a:pt x="44" y="157"/>
                      <a:pt x="43" y="161"/>
                      <a:pt x="44" y="163"/>
                    </a:cubicBezTo>
                    <a:cubicBezTo>
                      <a:pt x="45" y="165"/>
                      <a:pt x="45" y="168"/>
                      <a:pt x="44" y="170"/>
                    </a:cubicBezTo>
                    <a:cubicBezTo>
                      <a:pt x="43" y="172"/>
                      <a:pt x="45" y="179"/>
                      <a:pt x="45" y="181"/>
                    </a:cubicBezTo>
                    <a:cubicBezTo>
                      <a:pt x="45" y="183"/>
                      <a:pt x="50" y="203"/>
                      <a:pt x="50" y="205"/>
                    </a:cubicBezTo>
                    <a:cubicBezTo>
                      <a:pt x="51" y="208"/>
                      <a:pt x="52" y="212"/>
                      <a:pt x="53" y="216"/>
                    </a:cubicBezTo>
                    <a:cubicBezTo>
                      <a:pt x="54" y="220"/>
                      <a:pt x="58" y="227"/>
                      <a:pt x="60" y="231"/>
                    </a:cubicBezTo>
                    <a:cubicBezTo>
                      <a:pt x="62" y="235"/>
                      <a:pt x="64" y="246"/>
                      <a:pt x="66" y="251"/>
                    </a:cubicBezTo>
                    <a:cubicBezTo>
                      <a:pt x="68" y="256"/>
                      <a:pt x="73" y="257"/>
                      <a:pt x="74" y="261"/>
                    </a:cubicBezTo>
                    <a:cubicBezTo>
                      <a:pt x="76" y="266"/>
                      <a:pt x="77" y="271"/>
                      <a:pt x="78" y="274"/>
                    </a:cubicBezTo>
                    <a:cubicBezTo>
                      <a:pt x="79" y="276"/>
                      <a:pt x="80" y="284"/>
                      <a:pt x="81" y="285"/>
                    </a:cubicBezTo>
                    <a:cubicBezTo>
                      <a:pt x="82" y="286"/>
                      <a:pt x="87" y="294"/>
                      <a:pt x="90" y="294"/>
                    </a:cubicBezTo>
                    <a:cubicBezTo>
                      <a:pt x="93" y="294"/>
                      <a:pt x="98" y="290"/>
                      <a:pt x="98" y="290"/>
                    </a:cubicBezTo>
                    <a:cubicBezTo>
                      <a:pt x="98" y="290"/>
                      <a:pt x="99" y="284"/>
                      <a:pt x="101" y="284"/>
                    </a:cubicBezTo>
                    <a:cubicBezTo>
                      <a:pt x="102" y="284"/>
                      <a:pt x="107" y="282"/>
                      <a:pt x="107" y="282"/>
                    </a:cubicBezTo>
                    <a:cubicBezTo>
                      <a:pt x="107" y="282"/>
                      <a:pt x="106" y="277"/>
                      <a:pt x="108" y="275"/>
                    </a:cubicBezTo>
                    <a:cubicBezTo>
                      <a:pt x="110" y="274"/>
                      <a:pt x="110" y="271"/>
                      <a:pt x="112" y="272"/>
                    </a:cubicBezTo>
                    <a:cubicBezTo>
                      <a:pt x="114" y="273"/>
                      <a:pt x="115" y="271"/>
                      <a:pt x="115" y="269"/>
                    </a:cubicBezTo>
                    <a:cubicBezTo>
                      <a:pt x="114" y="267"/>
                      <a:pt x="114" y="261"/>
                      <a:pt x="114" y="258"/>
                    </a:cubicBezTo>
                    <a:cubicBezTo>
                      <a:pt x="115" y="256"/>
                      <a:pt x="117" y="252"/>
                      <a:pt x="118" y="250"/>
                    </a:cubicBezTo>
                    <a:cubicBezTo>
                      <a:pt x="119" y="248"/>
                      <a:pt x="119" y="240"/>
                      <a:pt x="119" y="239"/>
                    </a:cubicBezTo>
                    <a:cubicBezTo>
                      <a:pt x="119" y="238"/>
                      <a:pt x="118" y="230"/>
                      <a:pt x="118" y="228"/>
                    </a:cubicBezTo>
                    <a:cubicBezTo>
                      <a:pt x="118" y="226"/>
                      <a:pt x="118" y="218"/>
                      <a:pt x="119" y="217"/>
                    </a:cubicBezTo>
                    <a:cubicBezTo>
                      <a:pt x="121" y="216"/>
                      <a:pt x="122" y="216"/>
                      <a:pt x="124" y="217"/>
                    </a:cubicBezTo>
                    <a:cubicBezTo>
                      <a:pt x="126" y="217"/>
                      <a:pt x="127" y="215"/>
                      <a:pt x="128" y="212"/>
                    </a:cubicBezTo>
                    <a:cubicBezTo>
                      <a:pt x="130" y="210"/>
                      <a:pt x="134" y="211"/>
                      <a:pt x="136" y="210"/>
                    </a:cubicBezTo>
                    <a:cubicBezTo>
                      <a:pt x="137" y="209"/>
                      <a:pt x="139" y="209"/>
                      <a:pt x="139" y="206"/>
                    </a:cubicBezTo>
                    <a:cubicBezTo>
                      <a:pt x="140" y="204"/>
                      <a:pt x="141" y="201"/>
                      <a:pt x="143" y="201"/>
                    </a:cubicBezTo>
                    <a:cubicBezTo>
                      <a:pt x="145" y="200"/>
                      <a:pt x="148" y="198"/>
                      <a:pt x="151" y="195"/>
                    </a:cubicBezTo>
                    <a:cubicBezTo>
                      <a:pt x="155" y="191"/>
                      <a:pt x="157" y="189"/>
                      <a:pt x="160" y="187"/>
                    </a:cubicBezTo>
                    <a:cubicBezTo>
                      <a:pt x="162" y="185"/>
                      <a:pt x="165" y="179"/>
                      <a:pt x="167" y="177"/>
                    </a:cubicBezTo>
                    <a:cubicBezTo>
                      <a:pt x="169" y="176"/>
                      <a:pt x="169" y="175"/>
                      <a:pt x="171" y="175"/>
                    </a:cubicBezTo>
                    <a:cubicBezTo>
                      <a:pt x="173" y="175"/>
                      <a:pt x="176" y="175"/>
                      <a:pt x="179" y="173"/>
                    </a:cubicBezTo>
                    <a:cubicBezTo>
                      <a:pt x="182" y="171"/>
                      <a:pt x="185" y="167"/>
                      <a:pt x="185" y="165"/>
                    </a:cubicBezTo>
                    <a:cubicBezTo>
                      <a:pt x="185" y="163"/>
                      <a:pt x="183" y="159"/>
                      <a:pt x="185" y="158"/>
                    </a:cubicBezTo>
                    <a:cubicBezTo>
                      <a:pt x="187" y="157"/>
                      <a:pt x="192" y="156"/>
                      <a:pt x="195" y="154"/>
                    </a:cubicBezTo>
                    <a:cubicBezTo>
                      <a:pt x="198" y="152"/>
                      <a:pt x="195" y="155"/>
                      <a:pt x="197" y="156"/>
                    </a:cubicBezTo>
                    <a:cubicBezTo>
                      <a:pt x="199" y="157"/>
                      <a:pt x="200" y="158"/>
                      <a:pt x="201" y="156"/>
                    </a:cubicBezTo>
                    <a:cubicBezTo>
                      <a:pt x="202" y="154"/>
                      <a:pt x="204" y="156"/>
                      <a:pt x="204" y="156"/>
                    </a:cubicBezTo>
                    <a:cubicBezTo>
                      <a:pt x="205" y="154"/>
                      <a:pt x="205" y="154"/>
                      <a:pt x="205" y="154"/>
                    </a:cubicBezTo>
                    <a:cubicBezTo>
                      <a:pt x="205" y="153"/>
                      <a:pt x="204" y="147"/>
                      <a:pt x="204" y="145"/>
                    </a:cubicBezTo>
                    <a:cubicBezTo>
                      <a:pt x="204" y="142"/>
                      <a:pt x="203" y="140"/>
                      <a:pt x="204" y="139"/>
                    </a:cubicBezTo>
                    <a:cubicBezTo>
                      <a:pt x="205" y="139"/>
                      <a:pt x="200" y="138"/>
                      <a:pt x="201" y="137"/>
                    </a:cubicBezTo>
                    <a:cubicBezTo>
                      <a:pt x="202" y="135"/>
                      <a:pt x="199" y="134"/>
                      <a:pt x="200" y="133"/>
                    </a:cubicBezTo>
                    <a:cubicBezTo>
                      <a:pt x="202" y="132"/>
                      <a:pt x="203" y="130"/>
                      <a:pt x="203" y="130"/>
                    </a:cubicBezTo>
                    <a:cubicBezTo>
                      <a:pt x="203" y="130"/>
                      <a:pt x="205" y="129"/>
                      <a:pt x="206" y="130"/>
                    </a:cubicBezTo>
                    <a:cubicBezTo>
                      <a:pt x="206" y="129"/>
                      <a:pt x="206" y="129"/>
                      <a:pt x="206" y="128"/>
                    </a:cubicBezTo>
                    <a:cubicBezTo>
                      <a:pt x="204" y="128"/>
                      <a:pt x="202" y="127"/>
                      <a:pt x="202" y="127"/>
                    </a:cubicBezTo>
                    <a:cubicBezTo>
                      <a:pt x="202" y="127"/>
                      <a:pt x="196" y="126"/>
                      <a:pt x="195" y="124"/>
                    </a:cubicBezTo>
                    <a:cubicBezTo>
                      <a:pt x="194" y="123"/>
                      <a:pt x="195" y="122"/>
                      <a:pt x="197" y="121"/>
                    </a:cubicBezTo>
                    <a:cubicBezTo>
                      <a:pt x="199" y="121"/>
                      <a:pt x="198" y="119"/>
                      <a:pt x="199" y="118"/>
                    </a:cubicBezTo>
                    <a:cubicBezTo>
                      <a:pt x="201" y="118"/>
                      <a:pt x="204" y="118"/>
                      <a:pt x="204" y="116"/>
                    </a:cubicBezTo>
                    <a:cubicBezTo>
                      <a:pt x="204" y="115"/>
                      <a:pt x="201" y="114"/>
                      <a:pt x="199" y="113"/>
                    </a:cubicBezTo>
                    <a:cubicBezTo>
                      <a:pt x="197" y="112"/>
                      <a:pt x="196" y="109"/>
                      <a:pt x="196" y="109"/>
                    </a:cubicBezTo>
                    <a:cubicBezTo>
                      <a:pt x="196" y="109"/>
                      <a:pt x="199" y="106"/>
                      <a:pt x="198" y="106"/>
                    </a:cubicBezTo>
                    <a:cubicBezTo>
                      <a:pt x="197" y="105"/>
                      <a:pt x="199" y="103"/>
                      <a:pt x="199" y="103"/>
                    </a:cubicBezTo>
                    <a:cubicBezTo>
                      <a:pt x="199" y="103"/>
                      <a:pt x="203" y="106"/>
                      <a:pt x="204" y="106"/>
                    </a:cubicBezTo>
                    <a:cubicBezTo>
                      <a:pt x="205" y="106"/>
                      <a:pt x="207" y="106"/>
                      <a:pt x="207" y="108"/>
                    </a:cubicBezTo>
                    <a:cubicBezTo>
                      <a:pt x="208" y="109"/>
                      <a:pt x="209" y="108"/>
                      <a:pt x="210" y="106"/>
                    </a:cubicBezTo>
                    <a:cubicBezTo>
                      <a:pt x="211" y="105"/>
                      <a:pt x="213" y="108"/>
                      <a:pt x="212" y="110"/>
                    </a:cubicBezTo>
                    <a:cubicBezTo>
                      <a:pt x="212" y="111"/>
                      <a:pt x="212" y="112"/>
                      <a:pt x="211" y="112"/>
                    </a:cubicBezTo>
                    <a:cubicBezTo>
                      <a:pt x="212" y="113"/>
                      <a:pt x="212" y="113"/>
                      <a:pt x="212" y="113"/>
                    </a:cubicBezTo>
                    <a:cubicBezTo>
                      <a:pt x="212" y="113"/>
                      <a:pt x="212" y="113"/>
                      <a:pt x="212" y="113"/>
                    </a:cubicBezTo>
                    <a:cubicBezTo>
                      <a:pt x="212" y="113"/>
                      <a:pt x="214" y="113"/>
                      <a:pt x="214" y="115"/>
                    </a:cubicBezTo>
                    <a:cubicBezTo>
                      <a:pt x="214" y="117"/>
                      <a:pt x="216" y="119"/>
                      <a:pt x="218" y="119"/>
                    </a:cubicBezTo>
                    <a:cubicBezTo>
                      <a:pt x="220" y="119"/>
                      <a:pt x="224" y="120"/>
                      <a:pt x="226" y="119"/>
                    </a:cubicBezTo>
                    <a:cubicBezTo>
                      <a:pt x="228" y="118"/>
                      <a:pt x="232" y="118"/>
                      <a:pt x="235" y="119"/>
                    </a:cubicBezTo>
                    <a:cubicBezTo>
                      <a:pt x="238" y="119"/>
                      <a:pt x="239" y="120"/>
                      <a:pt x="238" y="121"/>
                    </a:cubicBezTo>
                    <a:cubicBezTo>
                      <a:pt x="237" y="122"/>
                      <a:pt x="236" y="125"/>
                      <a:pt x="235" y="126"/>
                    </a:cubicBezTo>
                    <a:cubicBezTo>
                      <a:pt x="234" y="127"/>
                      <a:pt x="229" y="128"/>
                      <a:pt x="228" y="129"/>
                    </a:cubicBezTo>
                    <a:cubicBezTo>
                      <a:pt x="227" y="130"/>
                      <a:pt x="227" y="133"/>
                      <a:pt x="227" y="135"/>
                    </a:cubicBezTo>
                    <a:cubicBezTo>
                      <a:pt x="227" y="136"/>
                      <a:pt x="228" y="139"/>
                      <a:pt x="229" y="141"/>
                    </a:cubicBezTo>
                    <a:cubicBezTo>
                      <a:pt x="230" y="142"/>
                      <a:pt x="232" y="141"/>
                      <a:pt x="232" y="139"/>
                    </a:cubicBezTo>
                    <a:cubicBezTo>
                      <a:pt x="232" y="137"/>
                      <a:pt x="232" y="135"/>
                      <a:pt x="234" y="134"/>
                    </a:cubicBezTo>
                    <a:cubicBezTo>
                      <a:pt x="235" y="134"/>
                      <a:pt x="236" y="132"/>
                      <a:pt x="237" y="135"/>
                    </a:cubicBezTo>
                    <a:cubicBezTo>
                      <a:pt x="237" y="137"/>
                      <a:pt x="238" y="139"/>
                      <a:pt x="238" y="142"/>
                    </a:cubicBezTo>
                    <a:cubicBezTo>
                      <a:pt x="239" y="145"/>
                      <a:pt x="240" y="151"/>
                      <a:pt x="240" y="151"/>
                    </a:cubicBezTo>
                    <a:cubicBezTo>
                      <a:pt x="240" y="151"/>
                      <a:pt x="242" y="152"/>
                      <a:pt x="243" y="151"/>
                    </a:cubicBezTo>
                    <a:cubicBezTo>
                      <a:pt x="245" y="150"/>
                      <a:pt x="245" y="147"/>
                      <a:pt x="245" y="146"/>
                    </a:cubicBezTo>
                    <a:cubicBezTo>
                      <a:pt x="245" y="145"/>
                      <a:pt x="245" y="141"/>
                      <a:pt x="245" y="141"/>
                    </a:cubicBezTo>
                    <a:cubicBezTo>
                      <a:pt x="245" y="141"/>
                      <a:pt x="248" y="143"/>
                      <a:pt x="248" y="139"/>
                    </a:cubicBezTo>
                    <a:cubicBezTo>
                      <a:pt x="249" y="135"/>
                      <a:pt x="245" y="131"/>
                      <a:pt x="247" y="130"/>
                    </a:cubicBezTo>
                    <a:cubicBezTo>
                      <a:pt x="250" y="130"/>
                      <a:pt x="254" y="132"/>
                      <a:pt x="254" y="132"/>
                    </a:cubicBezTo>
                    <a:cubicBezTo>
                      <a:pt x="259" y="124"/>
                      <a:pt x="259" y="124"/>
                      <a:pt x="259" y="124"/>
                    </a:cubicBezTo>
                    <a:cubicBezTo>
                      <a:pt x="259" y="124"/>
                      <a:pt x="261" y="119"/>
                      <a:pt x="260" y="118"/>
                    </a:cubicBezTo>
                    <a:cubicBezTo>
                      <a:pt x="259" y="118"/>
                      <a:pt x="260" y="115"/>
                      <a:pt x="262" y="113"/>
                    </a:cubicBezTo>
                    <a:cubicBezTo>
                      <a:pt x="264" y="111"/>
                      <a:pt x="264" y="108"/>
                      <a:pt x="264" y="104"/>
                    </a:cubicBezTo>
                    <a:cubicBezTo>
                      <a:pt x="265" y="101"/>
                      <a:pt x="267" y="101"/>
                      <a:pt x="269" y="100"/>
                    </a:cubicBezTo>
                    <a:cubicBezTo>
                      <a:pt x="270" y="99"/>
                      <a:pt x="276" y="95"/>
                      <a:pt x="277" y="94"/>
                    </a:cubicBezTo>
                    <a:cubicBezTo>
                      <a:pt x="279" y="94"/>
                      <a:pt x="283" y="96"/>
                      <a:pt x="284" y="96"/>
                    </a:cubicBezTo>
                    <a:cubicBezTo>
                      <a:pt x="285" y="97"/>
                      <a:pt x="281" y="92"/>
                      <a:pt x="283" y="90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8" name="Freeform 103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2754382" y="4225925"/>
                <a:ext cx="260922" cy="128588"/>
              </a:xfrm>
              <a:custGeom>
                <a:avLst/>
                <a:gdLst>
                  <a:gd name="T0" fmla="*/ 2147483647 w 66"/>
                  <a:gd name="T1" fmla="*/ 2147483647 h 33"/>
                  <a:gd name="T2" fmla="*/ 2147483647 w 66"/>
                  <a:gd name="T3" fmla="*/ 2147483647 h 33"/>
                  <a:gd name="T4" fmla="*/ 2147483647 w 66"/>
                  <a:gd name="T5" fmla="*/ 2147483647 h 33"/>
                  <a:gd name="T6" fmla="*/ 2147483647 w 66"/>
                  <a:gd name="T7" fmla="*/ 2147483647 h 33"/>
                  <a:gd name="T8" fmla="*/ 2147483647 w 66"/>
                  <a:gd name="T9" fmla="*/ 2147483647 h 33"/>
                  <a:gd name="T10" fmla="*/ 2147483647 w 66"/>
                  <a:gd name="T11" fmla="*/ 2147483647 h 33"/>
                  <a:gd name="T12" fmla="*/ 2147483647 w 66"/>
                  <a:gd name="T13" fmla="*/ 2147483647 h 33"/>
                  <a:gd name="T14" fmla="*/ 2147483647 w 66"/>
                  <a:gd name="T15" fmla="*/ 2147483647 h 33"/>
                  <a:gd name="T16" fmla="*/ 2147483647 w 66"/>
                  <a:gd name="T17" fmla="*/ 2147483647 h 33"/>
                  <a:gd name="T18" fmla="*/ 2147483647 w 66"/>
                  <a:gd name="T19" fmla="*/ 2147483647 h 33"/>
                  <a:gd name="T20" fmla="*/ 2147483647 w 66"/>
                  <a:gd name="T21" fmla="*/ 2147483647 h 33"/>
                  <a:gd name="T22" fmla="*/ 2147483647 w 66"/>
                  <a:gd name="T23" fmla="*/ 2147483647 h 33"/>
                  <a:gd name="T24" fmla="*/ 2147483647 w 66"/>
                  <a:gd name="T25" fmla="*/ 0 h 33"/>
                  <a:gd name="T26" fmla="*/ 0 w 66"/>
                  <a:gd name="T27" fmla="*/ 2147483647 h 33"/>
                  <a:gd name="T28" fmla="*/ 2147483647 w 66"/>
                  <a:gd name="T29" fmla="*/ 2147483647 h 33"/>
                  <a:gd name="T30" fmla="*/ 2147483647 w 66"/>
                  <a:gd name="T31" fmla="*/ 2147483647 h 33"/>
                  <a:gd name="T32" fmla="*/ 2147483647 w 66"/>
                  <a:gd name="T33" fmla="*/ 2147483647 h 33"/>
                  <a:gd name="T34" fmla="*/ 2147483647 w 66"/>
                  <a:gd name="T35" fmla="*/ 2147483647 h 33"/>
                  <a:gd name="T36" fmla="*/ 2147483647 w 66"/>
                  <a:gd name="T37" fmla="*/ 2147483647 h 33"/>
                  <a:gd name="T38" fmla="*/ 2147483647 w 66"/>
                  <a:gd name="T39" fmla="*/ 2147483647 h 33"/>
                  <a:gd name="T40" fmla="*/ 2147483647 w 66"/>
                  <a:gd name="T41" fmla="*/ 2147483647 h 33"/>
                  <a:gd name="T42" fmla="*/ 2147483647 w 66"/>
                  <a:gd name="T43" fmla="*/ 2147483647 h 33"/>
                  <a:gd name="T44" fmla="*/ 2147483647 w 66"/>
                  <a:gd name="T45" fmla="*/ 2147483647 h 33"/>
                  <a:gd name="T46" fmla="*/ 2147483647 w 66"/>
                  <a:gd name="T47" fmla="*/ 2147483647 h 33"/>
                  <a:gd name="T48" fmla="*/ 2147483647 w 66"/>
                  <a:gd name="T49" fmla="*/ 2147483647 h 33"/>
                  <a:gd name="T50" fmla="*/ 2147483647 w 66"/>
                  <a:gd name="T51" fmla="*/ 2147483647 h 33"/>
                  <a:gd name="T52" fmla="*/ 2147483647 w 66"/>
                  <a:gd name="T53" fmla="*/ 2147483647 h 33"/>
                  <a:gd name="T54" fmla="*/ 2147483647 w 66"/>
                  <a:gd name="T55" fmla="*/ 2147483647 h 33"/>
                  <a:gd name="T56" fmla="*/ 2147483647 w 66"/>
                  <a:gd name="T57" fmla="*/ 2147483647 h 33"/>
                  <a:gd name="T58" fmla="*/ 2147483647 w 66"/>
                  <a:gd name="T59" fmla="*/ 2147483647 h 33"/>
                  <a:gd name="T60" fmla="*/ 2147483647 w 66"/>
                  <a:gd name="T61" fmla="*/ 2147483647 h 33"/>
                  <a:gd name="T62" fmla="*/ 2147483647 w 66"/>
                  <a:gd name="T63" fmla="*/ 2147483647 h 33"/>
                  <a:gd name="T64" fmla="*/ 2147483647 w 66"/>
                  <a:gd name="T65" fmla="*/ 2147483647 h 33"/>
                  <a:gd name="T66" fmla="*/ 2147483647 w 66"/>
                  <a:gd name="T67" fmla="*/ 2147483647 h 33"/>
                  <a:gd name="T68" fmla="*/ 2147483647 w 66"/>
                  <a:gd name="T69" fmla="*/ 2147483647 h 33"/>
                  <a:gd name="T70" fmla="*/ 2147483647 w 66"/>
                  <a:gd name="T71" fmla="*/ 2147483647 h 3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66"/>
                  <a:gd name="T109" fmla="*/ 0 h 33"/>
                  <a:gd name="T110" fmla="*/ 66 w 66"/>
                  <a:gd name="T111" fmla="*/ 33 h 3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66" h="33">
                    <a:moveTo>
                      <a:pt x="65" y="28"/>
                    </a:moveTo>
                    <a:cubicBezTo>
                      <a:pt x="64" y="27"/>
                      <a:pt x="59" y="25"/>
                      <a:pt x="61" y="24"/>
                    </a:cubicBezTo>
                    <a:cubicBezTo>
                      <a:pt x="61" y="24"/>
                      <a:pt x="62" y="23"/>
                      <a:pt x="63" y="22"/>
                    </a:cubicBezTo>
                    <a:cubicBezTo>
                      <a:pt x="61" y="21"/>
                      <a:pt x="58" y="20"/>
                      <a:pt x="58" y="20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55" y="14"/>
                      <a:pt x="51" y="13"/>
                      <a:pt x="50" y="12"/>
                    </a:cubicBezTo>
                    <a:cubicBezTo>
                      <a:pt x="49" y="11"/>
                      <a:pt x="46" y="9"/>
                      <a:pt x="46" y="11"/>
                    </a:cubicBezTo>
                    <a:cubicBezTo>
                      <a:pt x="45" y="12"/>
                      <a:pt x="40" y="11"/>
                      <a:pt x="38" y="12"/>
                    </a:cubicBezTo>
                    <a:cubicBezTo>
                      <a:pt x="37" y="13"/>
                      <a:pt x="34" y="11"/>
                      <a:pt x="33" y="9"/>
                    </a:cubicBezTo>
                    <a:cubicBezTo>
                      <a:pt x="32" y="8"/>
                      <a:pt x="27" y="6"/>
                      <a:pt x="25" y="5"/>
                    </a:cubicBezTo>
                    <a:cubicBezTo>
                      <a:pt x="23" y="4"/>
                      <a:pt x="15" y="4"/>
                      <a:pt x="13" y="3"/>
                    </a:cubicBezTo>
                    <a:cubicBezTo>
                      <a:pt x="12" y="2"/>
                      <a:pt x="6" y="0"/>
                      <a:pt x="4" y="0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0" y="2"/>
                      <a:pt x="2" y="5"/>
                      <a:pt x="4" y="5"/>
                    </a:cubicBezTo>
                    <a:cubicBezTo>
                      <a:pt x="5" y="6"/>
                      <a:pt x="9" y="7"/>
                      <a:pt x="9" y="8"/>
                    </a:cubicBezTo>
                    <a:cubicBezTo>
                      <a:pt x="10" y="10"/>
                      <a:pt x="13" y="9"/>
                      <a:pt x="14" y="10"/>
                    </a:cubicBezTo>
                    <a:cubicBezTo>
                      <a:pt x="15" y="11"/>
                      <a:pt x="16" y="20"/>
                      <a:pt x="16" y="20"/>
                    </a:cubicBezTo>
                    <a:cubicBezTo>
                      <a:pt x="16" y="20"/>
                      <a:pt x="16" y="25"/>
                      <a:pt x="15" y="26"/>
                    </a:cubicBezTo>
                    <a:cubicBezTo>
                      <a:pt x="14" y="26"/>
                      <a:pt x="14" y="26"/>
                      <a:pt x="14" y="27"/>
                    </a:cubicBezTo>
                    <a:cubicBezTo>
                      <a:pt x="16" y="26"/>
                      <a:pt x="17" y="26"/>
                      <a:pt x="18" y="27"/>
                    </a:cubicBezTo>
                    <a:cubicBezTo>
                      <a:pt x="18" y="28"/>
                      <a:pt x="23" y="26"/>
                      <a:pt x="23" y="26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8"/>
                      <a:pt x="26" y="24"/>
                      <a:pt x="26" y="25"/>
                    </a:cubicBezTo>
                    <a:cubicBezTo>
                      <a:pt x="27" y="26"/>
                      <a:pt x="29" y="28"/>
                      <a:pt x="30" y="29"/>
                    </a:cubicBezTo>
                    <a:cubicBezTo>
                      <a:pt x="30" y="30"/>
                      <a:pt x="31" y="31"/>
                      <a:pt x="32" y="32"/>
                    </a:cubicBezTo>
                    <a:cubicBezTo>
                      <a:pt x="32" y="32"/>
                      <a:pt x="31" y="31"/>
                      <a:pt x="31" y="31"/>
                    </a:cubicBezTo>
                    <a:cubicBezTo>
                      <a:pt x="33" y="32"/>
                      <a:pt x="35" y="32"/>
                      <a:pt x="36" y="32"/>
                    </a:cubicBezTo>
                    <a:cubicBezTo>
                      <a:pt x="38" y="31"/>
                      <a:pt x="42" y="30"/>
                      <a:pt x="44" y="31"/>
                    </a:cubicBezTo>
                    <a:cubicBezTo>
                      <a:pt x="45" y="31"/>
                      <a:pt x="48" y="30"/>
                      <a:pt x="49" y="30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49" y="29"/>
                      <a:pt x="49" y="29"/>
                      <a:pt x="49" y="29"/>
                    </a:cubicBezTo>
                    <a:cubicBezTo>
                      <a:pt x="49" y="29"/>
                      <a:pt x="54" y="26"/>
                      <a:pt x="55" y="28"/>
                    </a:cubicBezTo>
                    <a:cubicBezTo>
                      <a:pt x="56" y="30"/>
                      <a:pt x="59" y="31"/>
                      <a:pt x="59" y="31"/>
                    </a:cubicBezTo>
                    <a:cubicBezTo>
                      <a:pt x="64" y="33"/>
                      <a:pt x="64" y="33"/>
                      <a:pt x="64" y="33"/>
                    </a:cubicBezTo>
                    <a:cubicBezTo>
                      <a:pt x="64" y="33"/>
                      <a:pt x="66" y="29"/>
                      <a:pt x="65" y="28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29" name="Freeform 104"/>
              <p:cNvSpPr>
                <a:spLocks noEditPoints="1"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2054016" y="3711576"/>
                <a:ext cx="703610" cy="466725"/>
              </a:xfrm>
              <a:custGeom>
                <a:avLst/>
                <a:gdLst>
                  <a:gd name="T0" fmla="*/ 2147483647 w 178"/>
                  <a:gd name="T1" fmla="*/ 2147483647 h 120"/>
                  <a:gd name="T2" fmla="*/ 2147483647 w 178"/>
                  <a:gd name="T3" fmla="*/ 2147483647 h 120"/>
                  <a:gd name="T4" fmla="*/ 2147483647 w 178"/>
                  <a:gd name="T5" fmla="*/ 2147483647 h 120"/>
                  <a:gd name="T6" fmla="*/ 2147483647 w 178"/>
                  <a:gd name="T7" fmla="*/ 2147483647 h 120"/>
                  <a:gd name="T8" fmla="*/ 2147483647 w 178"/>
                  <a:gd name="T9" fmla="*/ 2147483647 h 120"/>
                  <a:gd name="T10" fmla="*/ 2147483647 w 178"/>
                  <a:gd name="T11" fmla="*/ 2147483647 h 120"/>
                  <a:gd name="T12" fmla="*/ 2147483647 w 178"/>
                  <a:gd name="T13" fmla="*/ 2147483647 h 120"/>
                  <a:gd name="T14" fmla="*/ 2147483647 w 178"/>
                  <a:gd name="T15" fmla="*/ 2147483647 h 120"/>
                  <a:gd name="T16" fmla="*/ 2147483647 w 178"/>
                  <a:gd name="T17" fmla="*/ 2147483647 h 120"/>
                  <a:gd name="T18" fmla="*/ 2147483647 w 178"/>
                  <a:gd name="T19" fmla="*/ 2147483647 h 120"/>
                  <a:gd name="T20" fmla="*/ 2147483647 w 178"/>
                  <a:gd name="T21" fmla="*/ 2147483647 h 120"/>
                  <a:gd name="T22" fmla="*/ 2147483647 w 178"/>
                  <a:gd name="T23" fmla="*/ 2147483647 h 120"/>
                  <a:gd name="T24" fmla="*/ 2147483647 w 178"/>
                  <a:gd name="T25" fmla="*/ 2147483647 h 120"/>
                  <a:gd name="T26" fmla="*/ 2147483647 w 178"/>
                  <a:gd name="T27" fmla="*/ 2147483647 h 120"/>
                  <a:gd name="T28" fmla="*/ 2147483647 w 178"/>
                  <a:gd name="T29" fmla="*/ 2147483647 h 120"/>
                  <a:gd name="T30" fmla="*/ 2147483647 w 178"/>
                  <a:gd name="T31" fmla="*/ 2147483647 h 120"/>
                  <a:gd name="T32" fmla="*/ 2147483647 w 178"/>
                  <a:gd name="T33" fmla="*/ 2147483647 h 120"/>
                  <a:gd name="T34" fmla="*/ 2147483647 w 178"/>
                  <a:gd name="T35" fmla="*/ 2147483647 h 120"/>
                  <a:gd name="T36" fmla="*/ 2147483647 w 178"/>
                  <a:gd name="T37" fmla="*/ 2147483647 h 120"/>
                  <a:gd name="T38" fmla="*/ 2147483647 w 178"/>
                  <a:gd name="T39" fmla="*/ 2147483647 h 120"/>
                  <a:gd name="T40" fmla="*/ 2147483647 w 178"/>
                  <a:gd name="T41" fmla="*/ 2147483647 h 120"/>
                  <a:gd name="T42" fmla="*/ 2147483647 w 178"/>
                  <a:gd name="T43" fmla="*/ 2147483647 h 120"/>
                  <a:gd name="T44" fmla="*/ 2147483647 w 178"/>
                  <a:gd name="T45" fmla="*/ 2147483647 h 120"/>
                  <a:gd name="T46" fmla="*/ 0 w 178"/>
                  <a:gd name="T47" fmla="*/ 2147483647 h 120"/>
                  <a:gd name="T48" fmla="*/ 2147483647 w 178"/>
                  <a:gd name="T49" fmla="*/ 2147483647 h 120"/>
                  <a:gd name="T50" fmla="*/ 2147483647 w 178"/>
                  <a:gd name="T51" fmla="*/ 2147483647 h 120"/>
                  <a:gd name="T52" fmla="*/ 2147483647 w 178"/>
                  <a:gd name="T53" fmla="*/ 2147483647 h 120"/>
                  <a:gd name="T54" fmla="*/ 2147483647 w 178"/>
                  <a:gd name="T55" fmla="*/ 2147483647 h 120"/>
                  <a:gd name="T56" fmla="*/ 2147483647 w 178"/>
                  <a:gd name="T57" fmla="*/ 2147483647 h 120"/>
                  <a:gd name="T58" fmla="*/ 2147483647 w 178"/>
                  <a:gd name="T59" fmla="*/ 2147483647 h 120"/>
                  <a:gd name="T60" fmla="*/ 2147483647 w 178"/>
                  <a:gd name="T61" fmla="*/ 2147483647 h 120"/>
                  <a:gd name="T62" fmla="*/ 2147483647 w 178"/>
                  <a:gd name="T63" fmla="*/ 2147483647 h 120"/>
                  <a:gd name="T64" fmla="*/ 2147483647 w 178"/>
                  <a:gd name="T65" fmla="*/ 2147483647 h 120"/>
                  <a:gd name="T66" fmla="*/ 2147483647 w 178"/>
                  <a:gd name="T67" fmla="*/ 2147483647 h 120"/>
                  <a:gd name="T68" fmla="*/ 2147483647 w 178"/>
                  <a:gd name="T69" fmla="*/ 2147483647 h 120"/>
                  <a:gd name="T70" fmla="*/ 2147483647 w 178"/>
                  <a:gd name="T71" fmla="*/ 2147483647 h 120"/>
                  <a:gd name="T72" fmla="*/ 2147483647 w 178"/>
                  <a:gd name="T73" fmla="*/ 2147483647 h 120"/>
                  <a:gd name="T74" fmla="*/ 2147483647 w 178"/>
                  <a:gd name="T75" fmla="*/ 2147483647 h 120"/>
                  <a:gd name="T76" fmla="*/ 2147483647 w 178"/>
                  <a:gd name="T77" fmla="*/ 2147483647 h 120"/>
                  <a:gd name="T78" fmla="*/ 2147483647 w 178"/>
                  <a:gd name="T79" fmla="*/ 2147483647 h 120"/>
                  <a:gd name="T80" fmla="*/ 2147483647 w 178"/>
                  <a:gd name="T81" fmla="*/ 2147483647 h 120"/>
                  <a:gd name="T82" fmla="*/ 2147483647 w 178"/>
                  <a:gd name="T83" fmla="*/ 2147483647 h 120"/>
                  <a:gd name="T84" fmla="*/ 2147483647 w 178"/>
                  <a:gd name="T85" fmla="*/ 2147483647 h 120"/>
                  <a:gd name="T86" fmla="*/ 2147483647 w 178"/>
                  <a:gd name="T87" fmla="*/ 2147483647 h 120"/>
                  <a:gd name="T88" fmla="*/ 2147483647 w 178"/>
                  <a:gd name="T89" fmla="*/ 2147483647 h 120"/>
                  <a:gd name="T90" fmla="*/ 2147483647 w 178"/>
                  <a:gd name="T91" fmla="*/ 2147483647 h 120"/>
                  <a:gd name="T92" fmla="*/ 2147483647 w 178"/>
                  <a:gd name="T93" fmla="*/ 2147483647 h 120"/>
                  <a:gd name="T94" fmla="*/ 2147483647 w 178"/>
                  <a:gd name="T95" fmla="*/ 2147483647 h 120"/>
                  <a:gd name="T96" fmla="*/ 2147483647 w 178"/>
                  <a:gd name="T97" fmla="*/ 2147483647 h 120"/>
                  <a:gd name="T98" fmla="*/ 2147483647 w 178"/>
                  <a:gd name="T99" fmla="*/ 2147483647 h 120"/>
                  <a:gd name="T100" fmla="*/ 2147483647 w 178"/>
                  <a:gd name="T101" fmla="*/ 2147483647 h 120"/>
                  <a:gd name="T102" fmla="*/ 2147483647 w 178"/>
                  <a:gd name="T103" fmla="*/ 2147483647 h 120"/>
                  <a:gd name="T104" fmla="*/ 2147483647 w 178"/>
                  <a:gd name="T105" fmla="*/ 2147483647 h 120"/>
                  <a:gd name="T106" fmla="*/ 2147483647 w 178"/>
                  <a:gd name="T107" fmla="*/ 2147483647 h 120"/>
                  <a:gd name="T108" fmla="*/ 2147483647 w 178"/>
                  <a:gd name="T109" fmla="*/ 2147483647 h 120"/>
                  <a:gd name="T110" fmla="*/ 2147483647 w 178"/>
                  <a:gd name="T111" fmla="*/ 2147483647 h 12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78"/>
                  <a:gd name="T169" fmla="*/ 0 h 120"/>
                  <a:gd name="T170" fmla="*/ 178 w 178"/>
                  <a:gd name="T171" fmla="*/ 120 h 12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78" h="120">
                    <a:moveTo>
                      <a:pt x="177" y="45"/>
                    </a:moveTo>
                    <a:cubicBezTo>
                      <a:pt x="174" y="45"/>
                      <a:pt x="174" y="45"/>
                      <a:pt x="174" y="45"/>
                    </a:cubicBezTo>
                    <a:cubicBezTo>
                      <a:pt x="169" y="42"/>
                      <a:pt x="169" y="42"/>
                      <a:pt x="169" y="42"/>
                    </a:cubicBezTo>
                    <a:cubicBezTo>
                      <a:pt x="169" y="42"/>
                      <a:pt x="170" y="39"/>
                      <a:pt x="168" y="41"/>
                    </a:cubicBezTo>
                    <a:cubicBezTo>
                      <a:pt x="166" y="42"/>
                      <a:pt x="163" y="40"/>
                      <a:pt x="163" y="40"/>
                    </a:cubicBezTo>
                    <a:cubicBezTo>
                      <a:pt x="159" y="38"/>
                      <a:pt x="159" y="38"/>
                      <a:pt x="159" y="38"/>
                    </a:cubicBezTo>
                    <a:cubicBezTo>
                      <a:pt x="155" y="39"/>
                      <a:pt x="155" y="39"/>
                      <a:pt x="155" y="39"/>
                    </a:cubicBezTo>
                    <a:cubicBezTo>
                      <a:pt x="155" y="39"/>
                      <a:pt x="152" y="35"/>
                      <a:pt x="152" y="34"/>
                    </a:cubicBezTo>
                    <a:cubicBezTo>
                      <a:pt x="151" y="32"/>
                      <a:pt x="148" y="33"/>
                      <a:pt x="148" y="33"/>
                    </a:cubicBezTo>
                    <a:cubicBezTo>
                      <a:pt x="143" y="35"/>
                      <a:pt x="143" y="35"/>
                      <a:pt x="143" y="35"/>
                    </a:cubicBezTo>
                    <a:cubicBezTo>
                      <a:pt x="143" y="35"/>
                      <a:pt x="139" y="31"/>
                      <a:pt x="137" y="32"/>
                    </a:cubicBezTo>
                    <a:cubicBezTo>
                      <a:pt x="135" y="33"/>
                      <a:pt x="132" y="32"/>
                      <a:pt x="132" y="32"/>
                    </a:cubicBezTo>
                    <a:cubicBezTo>
                      <a:pt x="132" y="32"/>
                      <a:pt x="131" y="28"/>
                      <a:pt x="131" y="26"/>
                    </a:cubicBezTo>
                    <a:cubicBezTo>
                      <a:pt x="131" y="25"/>
                      <a:pt x="128" y="21"/>
                      <a:pt x="128" y="21"/>
                    </a:cubicBezTo>
                    <a:cubicBezTo>
                      <a:pt x="122" y="19"/>
                      <a:pt x="122" y="19"/>
                      <a:pt x="122" y="19"/>
                    </a:cubicBezTo>
                    <a:cubicBezTo>
                      <a:pt x="122" y="19"/>
                      <a:pt x="120" y="16"/>
                      <a:pt x="120" y="15"/>
                    </a:cubicBezTo>
                    <a:cubicBezTo>
                      <a:pt x="119" y="14"/>
                      <a:pt x="121" y="12"/>
                      <a:pt x="121" y="12"/>
                    </a:cubicBezTo>
                    <a:cubicBezTo>
                      <a:pt x="121" y="12"/>
                      <a:pt x="117" y="3"/>
                      <a:pt x="115" y="2"/>
                    </a:cubicBezTo>
                    <a:cubicBezTo>
                      <a:pt x="113" y="2"/>
                      <a:pt x="108" y="3"/>
                      <a:pt x="107" y="3"/>
                    </a:cubicBezTo>
                    <a:cubicBezTo>
                      <a:pt x="105" y="4"/>
                      <a:pt x="102" y="0"/>
                      <a:pt x="101" y="3"/>
                    </a:cubicBezTo>
                    <a:cubicBezTo>
                      <a:pt x="101" y="6"/>
                      <a:pt x="100" y="7"/>
                      <a:pt x="99" y="7"/>
                    </a:cubicBezTo>
                    <a:cubicBezTo>
                      <a:pt x="99" y="7"/>
                      <a:pt x="98" y="7"/>
                      <a:pt x="98" y="7"/>
                    </a:cubicBezTo>
                    <a:cubicBezTo>
                      <a:pt x="96" y="7"/>
                      <a:pt x="94" y="7"/>
                      <a:pt x="93" y="7"/>
                    </a:cubicBezTo>
                    <a:cubicBezTo>
                      <a:pt x="91" y="6"/>
                      <a:pt x="89" y="8"/>
                      <a:pt x="87" y="8"/>
                    </a:cubicBezTo>
                    <a:cubicBezTo>
                      <a:pt x="86" y="8"/>
                      <a:pt x="85" y="11"/>
                      <a:pt x="84" y="13"/>
                    </a:cubicBezTo>
                    <a:cubicBezTo>
                      <a:pt x="83" y="15"/>
                      <a:pt x="86" y="18"/>
                      <a:pt x="84" y="20"/>
                    </a:cubicBezTo>
                    <a:cubicBezTo>
                      <a:pt x="82" y="22"/>
                      <a:pt x="80" y="17"/>
                      <a:pt x="80" y="17"/>
                    </a:cubicBezTo>
                    <a:cubicBezTo>
                      <a:pt x="80" y="17"/>
                      <a:pt x="76" y="17"/>
                      <a:pt x="75" y="17"/>
                    </a:cubicBezTo>
                    <a:cubicBezTo>
                      <a:pt x="74" y="17"/>
                      <a:pt x="73" y="19"/>
                      <a:pt x="72" y="17"/>
                    </a:cubicBezTo>
                    <a:cubicBezTo>
                      <a:pt x="71" y="15"/>
                      <a:pt x="68" y="16"/>
                      <a:pt x="68" y="16"/>
                    </a:cubicBezTo>
                    <a:cubicBezTo>
                      <a:pt x="64" y="17"/>
                      <a:pt x="64" y="17"/>
                      <a:pt x="64" y="17"/>
                    </a:cubicBezTo>
                    <a:cubicBezTo>
                      <a:pt x="64" y="17"/>
                      <a:pt x="61" y="14"/>
                      <a:pt x="61" y="15"/>
                    </a:cubicBezTo>
                    <a:cubicBezTo>
                      <a:pt x="60" y="15"/>
                      <a:pt x="55" y="16"/>
                      <a:pt x="55" y="16"/>
                    </a:cubicBezTo>
                    <a:cubicBezTo>
                      <a:pt x="55" y="16"/>
                      <a:pt x="53" y="16"/>
                      <a:pt x="52" y="15"/>
                    </a:cubicBezTo>
                    <a:cubicBezTo>
                      <a:pt x="51" y="15"/>
                      <a:pt x="50" y="12"/>
                      <a:pt x="49" y="12"/>
                    </a:cubicBezTo>
                    <a:cubicBezTo>
                      <a:pt x="47" y="13"/>
                      <a:pt x="36" y="10"/>
                      <a:pt x="36" y="10"/>
                    </a:cubicBezTo>
                    <a:cubicBezTo>
                      <a:pt x="36" y="10"/>
                      <a:pt x="27" y="10"/>
                      <a:pt x="25" y="11"/>
                    </a:cubicBezTo>
                    <a:cubicBezTo>
                      <a:pt x="23" y="11"/>
                      <a:pt x="22" y="11"/>
                      <a:pt x="20" y="13"/>
                    </a:cubicBezTo>
                    <a:cubicBezTo>
                      <a:pt x="18" y="16"/>
                      <a:pt x="17" y="14"/>
                      <a:pt x="16" y="14"/>
                    </a:cubicBezTo>
                    <a:cubicBezTo>
                      <a:pt x="15" y="14"/>
                      <a:pt x="16" y="18"/>
                      <a:pt x="16" y="19"/>
                    </a:cubicBezTo>
                    <a:cubicBezTo>
                      <a:pt x="16" y="20"/>
                      <a:pt x="19" y="25"/>
                      <a:pt x="19" y="25"/>
                    </a:cubicBezTo>
                    <a:cubicBezTo>
                      <a:pt x="19" y="25"/>
                      <a:pt x="20" y="28"/>
                      <a:pt x="21" y="30"/>
                    </a:cubicBezTo>
                    <a:cubicBezTo>
                      <a:pt x="21" y="31"/>
                      <a:pt x="19" y="33"/>
                      <a:pt x="17" y="34"/>
                    </a:cubicBezTo>
                    <a:cubicBezTo>
                      <a:pt x="15" y="34"/>
                      <a:pt x="12" y="40"/>
                      <a:pt x="10" y="41"/>
                    </a:cubicBezTo>
                    <a:cubicBezTo>
                      <a:pt x="8" y="43"/>
                      <a:pt x="6" y="47"/>
                      <a:pt x="6" y="47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5"/>
                      <a:pt x="5" y="55"/>
                      <a:pt x="4" y="57"/>
                    </a:cubicBezTo>
                    <a:cubicBezTo>
                      <a:pt x="3" y="59"/>
                      <a:pt x="0" y="61"/>
                      <a:pt x="0" y="63"/>
                    </a:cubicBezTo>
                    <a:cubicBezTo>
                      <a:pt x="0" y="64"/>
                      <a:pt x="5" y="68"/>
                      <a:pt x="6" y="68"/>
                    </a:cubicBezTo>
                    <a:cubicBezTo>
                      <a:pt x="7" y="68"/>
                      <a:pt x="8" y="70"/>
                      <a:pt x="8" y="70"/>
                    </a:cubicBezTo>
                    <a:cubicBezTo>
                      <a:pt x="8" y="70"/>
                      <a:pt x="19" y="70"/>
                      <a:pt x="20" y="70"/>
                    </a:cubicBezTo>
                    <a:cubicBezTo>
                      <a:pt x="21" y="70"/>
                      <a:pt x="26" y="72"/>
                      <a:pt x="27" y="73"/>
                    </a:cubicBezTo>
                    <a:cubicBezTo>
                      <a:pt x="28" y="74"/>
                      <a:pt x="32" y="72"/>
                      <a:pt x="32" y="72"/>
                    </a:cubicBezTo>
                    <a:cubicBezTo>
                      <a:pt x="32" y="72"/>
                      <a:pt x="38" y="70"/>
                      <a:pt x="39" y="70"/>
                    </a:cubicBezTo>
                    <a:cubicBezTo>
                      <a:pt x="40" y="70"/>
                      <a:pt x="43" y="67"/>
                      <a:pt x="46" y="65"/>
                    </a:cubicBezTo>
                    <a:cubicBezTo>
                      <a:pt x="49" y="64"/>
                      <a:pt x="53" y="62"/>
                      <a:pt x="57" y="64"/>
                    </a:cubicBezTo>
                    <a:cubicBezTo>
                      <a:pt x="61" y="65"/>
                      <a:pt x="65" y="68"/>
                      <a:pt x="66" y="69"/>
                    </a:cubicBezTo>
                    <a:cubicBezTo>
                      <a:pt x="67" y="70"/>
                      <a:pt x="70" y="69"/>
                      <a:pt x="70" y="72"/>
                    </a:cubicBezTo>
                    <a:cubicBezTo>
                      <a:pt x="70" y="74"/>
                      <a:pt x="70" y="78"/>
                      <a:pt x="72" y="78"/>
                    </a:cubicBezTo>
                    <a:cubicBezTo>
                      <a:pt x="73" y="79"/>
                      <a:pt x="74" y="81"/>
                      <a:pt x="74" y="84"/>
                    </a:cubicBezTo>
                    <a:cubicBezTo>
                      <a:pt x="74" y="87"/>
                      <a:pt x="77" y="87"/>
                      <a:pt x="77" y="88"/>
                    </a:cubicBezTo>
                    <a:cubicBezTo>
                      <a:pt x="77" y="89"/>
                      <a:pt x="80" y="93"/>
                      <a:pt x="80" y="93"/>
                    </a:cubicBezTo>
                    <a:cubicBezTo>
                      <a:pt x="80" y="93"/>
                      <a:pt x="74" y="92"/>
                      <a:pt x="72" y="92"/>
                    </a:cubicBezTo>
                    <a:cubicBezTo>
                      <a:pt x="71" y="92"/>
                      <a:pt x="68" y="92"/>
                      <a:pt x="68" y="92"/>
                    </a:cubicBezTo>
                    <a:cubicBezTo>
                      <a:pt x="68" y="98"/>
                      <a:pt x="68" y="98"/>
                      <a:pt x="68" y="98"/>
                    </a:cubicBezTo>
                    <a:cubicBezTo>
                      <a:pt x="68" y="98"/>
                      <a:pt x="66" y="101"/>
                      <a:pt x="65" y="101"/>
                    </a:cubicBezTo>
                    <a:cubicBezTo>
                      <a:pt x="64" y="102"/>
                      <a:pt x="63" y="105"/>
                      <a:pt x="63" y="105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2" y="110"/>
                      <a:pt x="63" y="111"/>
                    </a:cubicBezTo>
                    <a:cubicBezTo>
                      <a:pt x="64" y="111"/>
                      <a:pt x="68" y="108"/>
                      <a:pt x="69" y="108"/>
                    </a:cubicBezTo>
                    <a:cubicBezTo>
                      <a:pt x="70" y="107"/>
                      <a:pt x="76" y="110"/>
                      <a:pt x="76" y="110"/>
                    </a:cubicBezTo>
                    <a:cubicBezTo>
                      <a:pt x="76" y="110"/>
                      <a:pt x="75" y="106"/>
                      <a:pt x="75" y="105"/>
                    </a:cubicBezTo>
                    <a:cubicBezTo>
                      <a:pt x="76" y="104"/>
                      <a:pt x="82" y="99"/>
                      <a:pt x="84" y="97"/>
                    </a:cubicBezTo>
                    <a:cubicBezTo>
                      <a:pt x="85" y="95"/>
                      <a:pt x="88" y="91"/>
                      <a:pt x="88" y="91"/>
                    </a:cubicBezTo>
                    <a:cubicBezTo>
                      <a:pt x="88" y="91"/>
                      <a:pt x="93" y="91"/>
                      <a:pt x="94" y="92"/>
                    </a:cubicBezTo>
                    <a:cubicBezTo>
                      <a:pt x="96" y="93"/>
                      <a:pt x="97" y="95"/>
                      <a:pt x="97" y="95"/>
                    </a:cubicBezTo>
                    <a:cubicBezTo>
                      <a:pt x="97" y="95"/>
                      <a:pt x="101" y="99"/>
                      <a:pt x="104" y="97"/>
                    </a:cubicBezTo>
                    <a:cubicBezTo>
                      <a:pt x="107" y="96"/>
                      <a:pt x="112" y="97"/>
                      <a:pt x="112" y="97"/>
                    </a:cubicBezTo>
                    <a:cubicBezTo>
                      <a:pt x="117" y="95"/>
                      <a:pt x="117" y="95"/>
                      <a:pt x="117" y="95"/>
                    </a:cubicBezTo>
                    <a:cubicBezTo>
                      <a:pt x="117" y="95"/>
                      <a:pt x="122" y="97"/>
                      <a:pt x="124" y="97"/>
                    </a:cubicBezTo>
                    <a:cubicBezTo>
                      <a:pt x="125" y="97"/>
                      <a:pt x="132" y="92"/>
                      <a:pt x="133" y="91"/>
                    </a:cubicBezTo>
                    <a:cubicBezTo>
                      <a:pt x="135" y="90"/>
                      <a:pt x="141" y="89"/>
                      <a:pt x="144" y="88"/>
                    </a:cubicBezTo>
                    <a:cubicBezTo>
                      <a:pt x="147" y="86"/>
                      <a:pt x="152" y="85"/>
                      <a:pt x="153" y="84"/>
                    </a:cubicBezTo>
                    <a:cubicBezTo>
                      <a:pt x="155" y="83"/>
                      <a:pt x="158" y="83"/>
                      <a:pt x="158" y="83"/>
                    </a:cubicBezTo>
                    <a:cubicBezTo>
                      <a:pt x="160" y="81"/>
                      <a:pt x="160" y="81"/>
                      <a:pt x="160" y="81"/>
                    </a:cubicBezTo>
                    <a:cubicBezTo>
                      <a:pt x="158" y="82"/>
                      <a:pt x="158" y="82"/>
                      <a:pt x="158" y="82"/>
                    </a:cubicBezTo>
                    <a:cubicBezTo>
                      <a:pt x="159" y="76"/>
                      <a:pt x="159" y="76"/>
                      <a:pt x="159" y="76"/>
                    </a:cubicBezTo>
                    <a:cubicBezTo>
                      <a:pt x="159" y="76"/>
                      <a:pt x="164" y="71"/>
                      <a:pt x="165" y="70"/>
                    </a:cubicBezTo>
                    <a:cubicBezTo>
                      <a:pt x="166" y="70"/>
                      <a:pt x="172" y="72"/>
                      <a:pt x="173" y="71"/>
                    </a:cubicBezTo>
                    <a:cubicBezTo>
                      <a:pt x="174" y="70"/>
                      <a:pt x="173" y="67"/>
                      <a:pt x="175" y="66"/>
                    </a:cubicBezTo>
                    <a:cubicBezTo>
                      <a:pt x="177" y="65"/>
                      <a:pt x="174" y="62"/>
                      <a:pt x="174" y="62"/>
                    </a:cubicBezTo>
                    <a:cubicBezTo>
                      <a:pt x="173" y="57"/>
                      <a:pt x="173" y="57"/>
                      <a:pt x="173" y="57"/>
                    </a:cubicBezTo>
                    <a:cubicBezTo>
                      <a:pt x="174" y="54"/>
                      <a:pt x="174" y="54"/>
                      <a:pt x="174" y="54"/>
                    </a:cubicBezTo>
                    <a:cubicBezTo>
                      <a:pt x="174" y="54"/>
                      <a:pt x="177" y="52"/>
                      <a:pt x="177" y="50"/>
                    </a:cubicBezTo>
                    <a:cubicBezTo>
                      <a:pt x="178" y="48"/>
                      <a:pt x="177" y="45"/>
                      <a:pt x="177" y="45"/>
                    </a:cubicBezTo>
                    <a:close/>
                    <a:moveTo>
                      <a:pt x="139" y="105"/>
                    </a:moveTo>
                    <a:cubicBezTo>
                      <a:pt x="136" y="105"/>
                      <a:pt x="135" y="107"/>
                      <a:pt x="133" y="108"/>
                    </a:cubicBezTo>
                    <a:cubicBezTo>
                      <a:pt x="131" y="108"/>
                      <a:pt x="128" y="108"/>
                      <a:pt x="128" y="105"/>
                    </a:cubicBezTo>
                    <a:cubicBezTo>
                      <a:pt x="128" y="101"/>
                      <a:pt x="125" y="100"/>
                      <a:pt x="124" y="99"/>
                    </a:cubicBezTo>
                    <a:cubicBezTo>
                      <a:pt x="123" y="98"/>
                      <a:pt x="119" y="97"/>
                      <a:pt x="118" y="96"/>
                    </a:cubicBezTo>
                    <a:cubicBezTo>
                      <a:pt x="116" y="95"/>
                      <a:pt x="114" y="98"/>
                      <a:pt x="114" y="98"/>
                    </a:cubicBezTo>
                    <a:cubicBezTo>
                      <a:pt x="114" y="98"/>
                      <a:pt x="112" y="101"/>
                      <a:pt x="111" y="101"/>
                    </a:cubicBezTo>
                    <a:cubicBezTo>
                      <a:pt x="109" y="102"/>
                      <a:pt x="102" y="104"/>
                      <a:pt x="102" y="106"/>
                    </a:cubicBezTo>
                    <a:cubicBezTo>
                      <a:pt x="103" y="108"/>
                      <a:pt x="108" y="107"/>
                      <a:pt x="108" y="108"/>
                    </a:cubicBezTo>
                    <a:cubicBezTo>
                      <a:pt x="109" y="109"/>
                      <a:pt x="111" y="110"/>
                      <a:pt x="113" y="109"/>
                    </a:cubicBezTo>
                    <a:cubicBezTo>
                      <a:pt x="114" y="108"/>
                      <a:pt x="113" y="114"/>
                      <a:pt x="112" y="116"/>
                    </a:cubicBezTo>
                    <a:cubicBezTo>
                      <a:pt x="111" y="118"/>
                      <a:pt x="112" y="120"/>
                      <a:pt x="114" y="120"/>
                    </a:cubicBezTo>
                    <a:cubicBezTo>
                      <a:pt x="116" y="120"/>
                      <a:pt x="120" y="118"/>
                      <a:pt x="121" y="116"/>
                    </a:cubicBezTo>
                    <a:cubicBezTo>
                      <a:pt x="122" y="115"/>
                      <a:pt x="127" y="115"/>
                      <a:pt x="129" y="114"/>
                    </a:cubicBezTo>
                    <a:cubicBezTo>
                      <a:pt x="131" y="113"/>
                      <a:pt x="131" y="111"/>
                      <a:pt x="134" y="111"/>
                    </a:cubicBezTo>
                    <a:cubicBezTo>
                      <a:pt x="137" y="111"/>
                      <a:pt x="138" y="111"/>
                      <a:pt x="141" y="111"/>
                    </a:cubicBezTo>
                    <a:cubicBezTo>
                      <a:pt x="143" y="111"/>
                      <a:pt x="142" y="108"/>
                      <a:pt x="142" y="108"/>
                    </a:cubicBezTo>
                    <a:cubicBezTo>
                      <a:pt x="142" y="108"/>
                      <a:pt x="141" y="105"/>
                      <a:pt x="139" y="105"/>
                    </a:cubicBezTo>
                    <a:close/>
                  </a:path>
                </a:pathLst>
              </a:custGeom>
              <a:solidFill>
                <a:schemeClr val="bg2">
                  <a:lumMod val="20000"/>
                  <a:lumOff val="80000"/>
                </a:schemeClr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30" name="Freeform 105"/>
              <p:cNvSpPr>
                <a:spLocks noEditPoints="1"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1981856" y="3963989"/>
                <a:ext cx="372327" cy="255587"/>
              </a:xfrm>
              <a:custGeom>
                <a:avLst/>
                <a:gdLst>
                  <a:gd name="T0" fmla="*/ 2147483647 w 94"/>
                  <a:gd name="T1" fmla="*/ 2147483647 h 65"/>
                  <a:gd name="T2" fmla="*/ 2147483647 w 94"/>
                  <a:gd name="T3" fmla="*/ 2147483647 h 65"/>
                  <a:gd name="T4" fmla="*/ 2147483647 w 94"/>
                  <a:gd name="T5" fmla="*/ 2147483647 h 65"/>
                  <a:gd name="T6" fmla="*/ 2147483647 w 94"/>
                  <a:gd name="T7" fmla="*/ 2147483647 h 65"/>
                  <a:gd name="T8" fmla="*/ 2147483647 w 94"/>
                  <a:gd name="T9" fmla="*/ 2147483647 h 65"/>
                  <a:gd name="T10" fmla="*/ 2147483647 w 94"/>
                  <a:gd name="T11" fmla="*/ 2147483647 h 65"/>
                  <a:gd name="T12" fmla="*/ 2147483647 w 94"/>
                  <a:gd name="T13" fmla="*/ 2147483647 h 65"/>
                  <a:gd name="T14" fmla="*/ 2147483647 w 94"/>
                  <a:gd name="T15" fmla="*/ 2147483647 h 65"/>
                  <a:gd name="T16" fmla="*/ 2147483647 w 94"/>
                  <a:gd name="T17" fmla="*/ 2147483647 h 65"/>
                  <a:gd name="T18" fmla="*/ 2147483647 w 94"/>
                  <a:gd name="T19" fmla="*/ 2147483647 h 65"/>
                  <a:gd name="T20" fmla="*/ 2147483647 w 94"/>
                  <a:gd name="T21" fmla="*/ 0 h 65"/>
                  <a:gd name="T22" fmla="*/ 2147483647 w 94"/>
                  <a:gd name="T23" fmla="*/ 0 h 65"/>
                  <a:gd name="T24" fmla="*/ 2147483647 w 94"/>
                  <a:gd name="T25" fmla="*/ 2147483647 h 65"/>
                  <a:gd name="T26" fmla="*/ 2147483647 w 94"/>
                  <a:gd name="T27" fmla="*/ 2147483647 h 65"/>
                  <a:gd name="T28" fmla="*/ 2147483647 w 94"/>
                  <a:gd name="T29" fmla="*/ 2147483647 h 65"/>
                  <a:gd name="T30" fmla="*/ 2147483647 w 94"/>
                  <a:gd name="T31" fmla="*/ 2147483647 h 65"/>
                  <a:gd name="T32" fmla="*/ 2147483647 w 94"/>
                  <a:gd name="T33" fmla="*/ 2147483647 h 65"/>
                  <a:gd name="T34" fmla="*/ 2147483647 w 94"/>
                  <a:gd name="T35" fmla="*/ 2147483647 h 65"/>
                  <a:gd name="T36" fmla="*/ 2147483647 w 94"/>
                  <a:gd name="T37" fmla="*/ 2147483647 h 65"/>
                  <a:gd name="T38" fmla="*/ 2147483647 w 94"/>
                  <a:gd name="T39" fmla="*/ 2147483647 h 65"/>
                  <a:gd name="T40" fmla="*/ 2147483647 w 94"/>
                  <a:gd name="T41" fmla="*/ 2147483647 h 65"/>
                  <a:gd name="T42" fmla="*/ 2147483647 w 94"/>
                  <a:gd name="T43" fmla="*/ 2147483647 h 65"/>
                  <a:gd name="T44" fmla="*/ 2147483647 w 94"/>
                  <a:gd name="T45" fmla="*/ 2147483647 h 65"/>
                  <a:gd name="T46" fmla="*/ 0 w 94"/>
                  <a:gd name="T47" fmla="*/ 2147483647 h 65"/>
                  <a:gd name="T48" fmla="*/ 2147483647 w 94"/>
                  <a:gd name="T49" fmla="*/ 2147483647 h 65"/>
                  <a:gd name="T50" fmla="*/ 2147483647 w 94"/>
                  <a:gd name="T51" fmla="*/ 2147483647 h 65"/>
                  <a:gd name="T52" fmla="*/ 2147483647 w 94"/>
                  <a:gd name="T53" fmla="*/ 2147483647 h 65"/>
                  <a:gd name="T54" fmla="*/ 2147483647 w 94"/>
                  <a:gd name="T55" fmla="*/ 2147483647 h 65"/>
                  <a:gd name="T56" fmla="*/ 2147483647 w 94"/>
                  <a:gd name="T57" fmla="*/ 2147483647 h 65"/>
                  <a:gd name="T58" fmla="*/ 2147483647 w 94"/>
                  <a:gd name="T59" fmla="*/ 2147483647 h 65"/>
                  <a:gd name="T60" fmla="*/ 2147483647 w 94"/>
                  <a:gd name="T61" fmla="*/ 2147483647 h 65"/>
                  <a:gd name="T62" fmla="*/ 2147483647 w 94"/>
                  <a:gd name="T63" fmla="*/ 2147483647 h 65"/>
                  <a:gd name="T64" fmla="*/ 2147483647 w 94"/>
                  <a:gd name="T65" fmla="*/ 2147483647 h 65"/>
                  <a:gd name="T66" fmla="*/ 2147483647 w 94"/>
                  <a:gd name="T67" fmla="*/ 2147483647 h 65"/>
                  <a:gd name="T68" fmla="*/ 2147483647 w 94"/>
                  <a:gd name="T69" fmla="*/ 2147483647 h 65"/>
                  <a:gd name="T70" fmla="*/ 2147483647 w 94"/>
                  <a:gd name="T71" fmla="*/ 2147483647 h 65"/>
                  <a:gd name="T72" fmla="*/ 2147483647 w 94"/>
                  <a:gd name="T73" fmla="*/ 2147483647 h 65"/>
                  <a:gd name="T74" fmla="*/ 2147483647 w 94"/>
                  <a:gd name="T75" fmla="*/ 2147483647 h 65"/>
                  <a:gd name="T76" fmla="*/ 2147483647 w 94"/>
                  <a:gd name="T77" fmla="*/ 2147483647 h 65"/>
                  <a:gd name="T78" fmla="*/ 2147483647 w 94"/>
                  <a:gd name="T79" fmla="*/ 2147483647 h 65"/>
                  <a:gd name="T80" fmla="*/ 2147483647 w 94"/>
                  <a:gd name="T81" fmla="*/ 2147483647 h 65"/>
                  <a:gd name="T82" fmla="*/ 2147483647 w 94"/>
                  <a:gd name="T83" fmla="*/ 2147483647 h 65"/>
                  <a:gd name="T84" fmla="*/ 2147483647 w 94"/>
                  <a:gd name="T85" fmla="*/ 2147483647 h 65"/>
                  <a:gd name="T86" fmla="*/ 2147483647 w 94"/>
                  <a:gd name="T87" fmla="*/ 2147483647 h 65"/>
                  <a:gd name="T88" fmla="*/ 2147483647 w 94"/>
                  <a:gd name="T89" fmla="*/ 2147483647 h 65"/>
                  <a:gd name="T90" fmla="*/ 2147483647 w 94"/>
                  <a:gd name="T91" fmla="*/ 2147483647 h 65"/>
                  <a:gd name="T92" fmla="*/ 2147483647 w 94"/>
                  <a:gd name="T93" fmla="*/ 2147483647 h 65"/>
                  <a:gd name="T94" fmla="*/ 2147483647 w 94"/>
                  <a:gd name="T95" fmla="*/ 2147483647 h 65"/>
                  <a:gd name="T96" fmla="*/ 2147483647 w 94"/>
                  <a:gd name="T97" fmla="*/ 2147483647 h 65"/>
                  <a:gd name="T98" fmla="*/ 2147483647 w 94"/>
                  <a:gd name="T99" fmla="*/ 2147483647 h 6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4"/>
                  <a:gd name="T151" fmla="*/ 0 h 65"/>
                  <a:gd name="T152" fmla="*/ 94 w 94"/>
                  <a:gd name="T153" fmla="*/ 65 h 6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4" h="65">
                    <a:moveTo>
                      <a:pt x="85" y="34"/>
                    </a:moveTo>
                    <a:cubicBezTo>
                      <a:pt x="85" y="35"/>
                      <a:pt x="85" y="35"/>
                      <a:pt x="85" y="35"/>
                    </a:cubicBezTo>
                    <a:cubicBezTo>
                      <a:pt x="85" y="35"/>
                      <a:pt x="85" y="35"/>
                      <a:pt x="85" y="34"/>
                    </a:cubicBezTo>
                    <a:close/>
                    <a:moveTo>
                      <a:pt x="87" y="43"/>
                    </a:moveTo>
                    <a:cubicBezTo>
                      <a:pt x="86" y="43"/>
                      <a:pt x="82" y="46"/>
                      <a:pt x="81" y="46"/>
                    </a:cubicBezTo>
                    <a:cubicBezTo>
                      <a:pt x="80" y="45"/>
                      <a:pt x="79" y="40"/>
                      <a:pt x="79" y="40"/>
                    </a:cubicBezTo>
                    <a:cubicBezTo>
                      <a:pt x="79" y="40"/>
                      <a:pt x="77" y="35"/>
                      <a:pt x="77" y="33"/>
                    </a:cubicBezTo>
                    <a:cubicBezTo>
                      <a:pt x="77" y="30"/>
                      <a:pt x="78" y="27"/>
                      <a:pt x="79" y="25"/>
                    </a:cubicBezTo>
                    <a:cubicBezTo>
                      <a:pt x="80" y="23"/>
                      <a:pt x="75" y="16"/>
                      <a:pt x="74" y="14"/>
                    </a:cubicBezTo>
                    <a:cubicBezTo>
                      <a:pt x="72" y="12"/>
                      <a:pt x="69" y="6"/>
                      <a:pt x="68" y="3"/>
                    </a:cubicBezTo>
                    <a:cubicBezTo>
                      <a:pt x="67" y="3"/>
                      <a:pt x="66" y="1"/>
                      <a:pt x="65" y="0"/>
                    </a:cubicBezTo>
                    <a:cubicBezTo>
                      <a:pt x="65" y="0"/>
                      <a:pt x="64" y="0"/>
                      <a:pt x="64" y="0"/>
                    </a:cubicBezTo>
                    <a:cubicBezTo>
                      <a:pt x="61" y="2"/>
                      <a:pt x="58" y="5"/>
                      <a:pt x="57" y="5"/>
                    </a:cubicBezTo>
                    <a:cubicBezTo>
                      <a:pt x="56" y="5"/>
                      <a:pt x="50" y="7"/>
                      <a:pt x="50" y="7"/>
                    </a:cubicBezTo>
                    <a:cubicBezTo>
                      <a:pt x="50" y="7"/>
                      <a:pt x="46" y="9"/>
                      <a:pt x="45" y="8"/>
                    </a:cubicBezTo>
                    <a:cubicBezTo>
                      <a:pt x="44" y="7"/>
                      <a:pt x="39" y="5"/>
                      <a:pt x="38" y="5"/>
                    </a:cubicBezTo>
                    <a:cubicBezTo>
                      <a:pt x="37" y="5"/>
                      <a:pt x="26" y="5"/>
                      <a:pt x="26" y="5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5" y="6"/>
                      <a:pt x="24" y="7"/>
                      <a:pt x="24" y="7"/>
                    </a:cubicBezTo>
                    <a:cubicBezTo>
                      <a:pt x="24" y="7"/>
                      <a:pt x="21" y="9"/>
                      <a:pt x="18" y="11"/>
                    </a:cubicBezTo>
                    <a:cubicBezTo>
                      <a:pt x="14" y="14"/>
                      <a:pt x="14" y="18"/>
                      <a:pt x="13" y="19"/>
                    </a:cubicBezTo>
                    <a:cubicBezTo>
                      <a:pt x="13" y="20"/>
                      <a:pt x="10" y="24"/>
                      <a:pt x="10" y="26"/>
                    </a:cubicBezTo>
                    <a:cubicBezTo>
                      <a:pt x="9" y="28"/>
                      <a:pt x="7" y="29"/>
                      <a:pt x="5" y="29"/>
                    </a:cubicBezTo>
                    <a:cubicBezTo>
                      <a:pt x="4" y="29"/>
                      <a:pt x="0" y="31"/>
                      <a:pt x="0" y="31"/>
                    </a:cubicBezTo>
                    <a:cubicBezTo>
                      <a:pt x="0" y="31"/>
                      <a:pt x="2" y="32"/>
                      <a:pt x="3" y="33"/>
                    </a:cubicBezTo>
                    <a:cubicBezTo>
                      <a:pt x="3" y="34"/>
                      <a:pt x="7" y="41"/>
                      <a:pt x="9" y="42"/>
                    </a:cubicBezTo>
                    <a:cubicBezTo>
                      <a:pt x="11" y="43"/>
                      <a:pt x="13" y="46"/>
                      <a:pt x="11" y="47"/>
                    </a:cubicBezTo>
                    <a:cubicBezTo>
                      <a:pt x="10" y="48"/>
                      <a:pt x="12" y="50"/>
                      <a:pt x="14" y="51"/>
                    </a:cubicBezTo>
                    <a:cubicBezTo>
                      <a:pt x="16" y="51"/>
                      <a:pt x="19" y="53"/>
                      <a:pt x="19" y="53"/>
                    </a:cubicBezTo>
                    <a:cubicBezTo>
                      <a:pt x="19" y="53"/>
                      <a:pt x="21" y="51"/>
                      <a:pt x="23" y="52"/>
                    </a:cubicBezTo>
                    <a:cubicBezTo>
                      <a:pt x="24" y="52"/>
                      <a:pt x="24" y="57"/>
                      <a:pt x="24" y="57"/>
                    </a:cubicBezTo>
                    <a:cubicBezTo>
                      <a:pt x="25" y="58"/>
                      <a:pt x="29" y="60"/>
                      <a:pt x="28" y="60"/>
                    </a:cubicBezTo>
                    <a:cubicBezTo>
                      <a:pt x="27" y="61"/>
                      <a:pt x="27" y="63"/>
                      <a:pt x="27" y="63"/>
                    </a:cubicBezTo>
                    <a:cubicBezTo>
                      <a:pt x="27" y="63"/>
                      <a:pt x="31" y="63"/>
                      <a:pt x="35" y="64"/>
                    </a:cubicBezTo>
                    <a:cubicBezTo>
                      <a:pt x="40" y="65"/>
                      <a:pt x="42" y="64"/>
                      <a:pt x="43" y="64"/>
                    </a:cubicBezTo>
                    <a:cubicBezTo>
                      <a:pt x="44" y="64"/>
                      <a:pt x="51" y="65"/>
                      <a:pt x="52" y="65"/>
                    </a:cubicBezTo>
                    <a:cubicBezTo>
                      <a:pt x="53" y="65"/>
                      <a:pt x="56" y="64"/>
                      <a:pt x="58" y="61"/>
                    </a:cubicBezTo>
                    <a:cubicBezTo>
                      <a:pt x="59" y="59"/>
                      <a:pt x="64" y="58"/>
                      <a:pt x="65" y="58"/>
                    </a:cubicBezTo>
                    <a:cubicBezTo>
                      <a:pt x="66" y="59"/>
                      <a:pt x="71" y="61"/>
                      <a:pt x="73" y="61"/>
                    </a:cubicBezTo>
                    <a:cubicBezTo>
                      <a:pt x="75" y="61"/>
                      <a:pt x="78" y="63"/>
                      <a:pt x="79" y="63"/>
                    </a:cubicBezTo>
                    <a:cubicBezTo>
                      <a:pt x="79" y="64"/>
                      <a:pt x="80" y="64"/>
                      <a:pt x="81" y="64"/>
                    </a:cubicBezTo>
                    <a:cubicBezTo>
                      <a:pt x="84" y="62"/>
                      <a:pt x="83" y="59"/>
                      <a:pt x="83" y="58"/>
                    </a:cubicBezTo>
                    <a:cubicBezTo>
                      <a:pt x="83" y="56"/>
                      <a:pt x="84" y="52"/>
                      <a:pt x="84" y="51"/>
                    </a:cubicBezTo>
                    <a:cubicBezTo>
                      <a:pt x="85" y="49"/>
                      <a:pt x="87" y="50"/>
                      <a:pt x="87" y="50"/>
                    </a:cubicBezTo>
                    <a:cubicBezTo>
                      <a:pt x="87" y="50"/>
                      <a:pt x="90" y="49"/>
                      <a:pt x="91" y="49"/>
                    </a:cubicBezTo>
                    <a:cubicBezTo>
                      <a:pt x="92" y="49"/>
                      <a:pt x="93" y="46"/>
                      <a:pt x="94" y="45"/>
                    </a:cubicBezTo>
                    <a:cubicBezTo>
                      <a:pt x="94" y="45"/>
                      <a:pt x="88" y="42"/>
                      <a:pt x="87" y="43"/>
                    </a:cubicBezTo>
                    <a:close/>
                    <a:moveTo>
                      <a:pt x="94" y="44"/>
                    </a:moveTo>
                    <a:cubicBezTo>
                      <a:pt x="94" y="44"/>
                      <a:pt x="94" y="45"/>
                      <a:pt x="94" y="45"/>
                    </a:cubicBezTo>
                    <a:cubicBezTo>
                      <a:pt x="94" y="45"/>
                      <a:pt x="94" y="44"/>
                      <a:pt x="94" y="44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31" name="Freeform 106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4606068" y="3732213"/>
                <a:ext cx="1244511" cy="595312"/>
              </a:xfrm>
              <a:custGeom>
                <a:avLst/>
                <a:gdLst>
                  <a:gd name="T0" fmla="*/ 2147483647 w 315"/>
                  <a:gd name="T1" fmla="*/ 2147483647 h 152"/>
                  <a:gd name="T2" fmla="*/ 2147483647 w 315"/>
                  <a:gd name="T3" fmla="*/ 2147483647 h 152"/>
                  <a:gd name="T4" fmla="*/ 2147483647 w 315"/>
                  <a:gd name="T5" fmla="*/ 2147483647 h 152"/>
                  <a:gd name="T6" fmla="*/ 2147483647 w 315"/>
                  <a:gd name="T7" fmla="*/ 2147483647 h 152"/>
                  <a:gd name="T8" fmla="*/ 2147483647 w 315"/>
                  <a:gd name="T9" fmla="*/ 2147483647 h 152"/>
                  <a:gd name="T10" fmla="*/ 2147483647 w 315"/>
                  <a:gd name="T11" fmla="*/ 2147483647 h 152"/>
                  <a:gd name="T12" fmla="*/ 2147483647 w 315"/>
                  <a:gd name="T13" fmla="*/ 2147483647 h 152"/>
                  <a:gd name="T14" fmla="*/ 2147483647 w 315"/>
                  <a:gd name="T15" fmla="*/ 2147483647 h 152"/>
                  <a:gd name="T16" fmla="*/ 2147483647 w 315"/>
                  <a:gd name="T17" fmla="*/ 2147483647 h 152"/>
                  <a:gd name="T18" fmla="*/ 2147483647 w 315"/>
                  <a:gd name="T19" fmla="*/ 2147483647 h 152"/>
                  <a:gd name="T20" fmla="*/ 2147483647 w 315"/>
                  <a:gd name="T21" fmla="*/ 2147483647 h 152"/>
                  <a:gd name="T22" fmla="*/ 2147483647 w 315"/>
                  <a:gd name="T23" fmla="*/ 2147483647 h 152"/>
                  <a:gd name="T24" fmla="*/ 2147483647 w 315"/>
                  <a:gd name="T25" fmla="*/ 2147483647 h 152"/>
                  <a:gd name="T26" fmla="*/ 2147483647 w 315"/>
                  <a:gd name="T27" fmla="*/ 2147483647 h 152"/>
                  <a:gd name="T28" fmla="*/ 2147483647 w 315"/>
                  <a:gd name="T29" fmla="*/ 2147483647 h 152"/>
                  <a:gd name="T30" fmla="*/ 2147483647 w 315"/>
                  <a:gd name="T31" fmla="*/ 2147483647 h 152"/>
                  <a:gd name="T32" fmla="*/ 2147483647 w 315"/>
                  <a:gd name="T33" fmla="*/ 2147483647 h 152"/>
                  <a:gd name="T34" fmla="*/ 2147483647 w 315"/>
                  <a:gd name="T35" fmla="*/ 2147483647 h 152"/>
                  <a:gd name="T36" fmla="*/ 2147483647 w 315"/>
                  <a:gd name="T37" fmla="*/ 2147483647 h 152"/>
                  <a:gd name="T38" fmla="*/ 2147483647 w 315"/>
                  <a:gd name="T39" fmla="*/ 2147483647 h 152"/>
                  <a:gd name="T40" fmla="*/ 2147483647 w 315"/>
                  <a:gd name="T41" fmla="*/ 2147483647 h 152"/>
                  <a:gd name="T42" fmla="*/ 2147483647 w 315"/>
                  <a:gd name="T43" fmla="*/ 2147483647 h 152"/>
                  <a:gd name="T44" fmla="*/ 2147483647 w 315"/>
                  <a:gd name="T45" fmla="*/ 2147483647 h 152"/>
                  <a:gd name="T46" fmla="*/ 2147483647 w 315"/>
                  <a:gd name="T47" fmla="*/ 2147483647 h 152"/>
                  <a:gd name="T48" fmla="*/ 2147483647 w 315"/>
                  <a:gd name="T49" fmla="*/ 2147483647 h 152"/>
                  <a:gd name="T50" fmla="*/ 2147483647 w 315"/>
                  <a:gd name="T51" fmla="*/ 2147483647 h 152"/>
                  <a:gd name="T52" fmla="*/ 2147483647 w 315"/>
                  <a:gd name="T53" fmla="*/ 2147483647 h 152"/>
                  <a:gd name="T54" fmla="*/ 0 w 315"/>
                  <a:gd name="T55" fmla="*/ 2147483647 h 152"/>
                  <a:gd name="T56" fmla="*/ 2147483647 w 315"/>
                  <a:gd name="T57" fmla="*/ 2147483647 h 152"/>
                  <a:gd name="T58" fmla="*/ 2147483647 w 315"/>
                  <a:gd name="T59" fmla="*/ 2147483647 h 152"/>
                  <a:gd name="T60" fmla="*/ 2147483647 w 315"/>
                  <a:gd name="T61" fmla="*/ 2147483647 h 152"/>
                  <a:gd name="T62" fmla="*/ 2147483647 w 315"/>
                  <a:gd name="T63" fmla="*/ 2147483647 h 152"/>
                  <a:gd name="T64" fmla="*/ 2147483647 w 315"/>
                  <a:gd name="T65" fmla="*/ 2147483647 h 152"/>
                  <a:gd name="T66" fmla="*/ 2147483647 w 315"/>
                  <a:gd name="T67" fmla="*/ 2147483647 h 152"/>
                  <a:gd name="T68" fmla="*/ 2147483647 w 315"/>
                  <a:gd name="T69" fmla="*/ 2147483647 h 152"/>
                  <a:gd name="T70" fmla="*/ 2147483647 w 315"/>
                  <a:gd name="T71" fmla="*/ 2147483647 h 152"/>
                  <a:gd name="T72" fmla="*/ 2147483647 w 315"/>
                  <a:gd name="T73" fmla="*/ 2147483647 h 152"/>
                  <a:gd name="T74" fmla="*/ 2147483647 w 315"/>
                  <a:gd name="T75" fmla="*/ 2147483647 h 152"/>
                  <a:gd name="T76" fmla="*/ 2147483647 w 315"/>
                  <a:gd name="T77" fmla="*/ 2147483647 h 152"/>
                  <a:gd name="T78" fmla="*/ 2147483647 w 315"/>
                  <a:gd name="T79" fmla="*/ 2147483647 h 152"/>
                  <a:gd name="T80" fmla="*/ 2147483647 w 315"/>
                  <a:gd name="T81" fmla="*/ 2147483647 h 152"/>
                  <a:gd name="T82" fmla="*/ 2147483647 w 315"/>
                  <a:gd name="T83" fmla="*/ 2147483647 h 152"/>
                  <a:gd name="T84" fmla="*/ 2147483647 w 315"/>
                  <a:gd name="T85" fmla="*/ 2147483647 h 152"/>
                  <a:gd name="T86" fmla="*/ 2147483647 w 315"/>
                  <a:gd name="T87" fmla="*/ 2147483647 h 152"/>
                  <a:gd name="T88" fmla="*/ 2147483647 w 315"/>
                  <a:gd name="T89" fmla="*/ 2147483647 h 152"/>
                  <a:gd name="T90" fmla="*/ 2147483647 w 315"/>
                  <a:gd name="T91" fmla="*/ 2147483647 h 152"/>
                  <a:gd name="T92" fmla="*/ 2147483647 w 315"/>
                  <a:gd name="T93" fmla="*/ 2147483647 h 152"/>
                  <a:gd name="T94" fmla="*/ 2147483647 w 315"/>
                  <a:gd name="T95" fmla="*/ 2147483647 h 152"/>
                  <a:gd name="T96" fmla="*/ 2147483647 w 315"/>
                  <a:gd name="T97" fmla="*/ 2147483647 h 152"/>
                  <a:gd name="T98" fmla="*/ 2147483647 w 315"/>
                  <a:gd name="T99" fmla="*/ 2147483647 h 152"/>
                  <a:gd name="T100" fmla="*/ 2147483647 w 315"/>
                  <a:gd name="T101" fmla="*/ 2147483647 h 15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15"/>
                  <a:gd name="T154" fmla="*/ 0 h 152"/>
                  <a:gd name="T155" fmla="*/ 315 w 315"/>
                  <a:gd name="T156" fmla="*/ 152 h 15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15" h="152">
                    <a:moveTo>
                      <a:pt x="306" y="68"/>
                    </a:moveTo>
                    <a:cubicBezTo>
                      <a:pt x="305" y="65"/>
                      <a:pt x="295" y="62"/>
                      <a:pt x="295" y="62"/>
                    </a:cubicBezTo>
                    <a:cubicBezTo>
                      <a:pt x="290" y="68"/>
                      <a:pt x="290" y="68"/>
                      <a:pt x="290" y="68"/>
                    </a:cubicBezTo>
                    <a:cubicBezTo>
                      <a:pt x="290" y="68"/>
                      <a:pt x="284" y="63"/>
                      <a:pt x="282" y="64"/>
                    </a:cubicBezTo>
                    <a:cubicBezTo>
                      <a:pt x="279" y="65"/>
                      <a:pt x="275" y="67"/>
                      <a:pt x="275" y="67"/>
                    </a:cubicBezTo>
                    <a:cubicBezTo>
                      <a:pt x="275" y="67"/>
                      <a:pt x="271" y="63"/>
                      <a:pt x="272" y="62"/>
                    </a:cubicBezTo>
                    <a:cubicBezTo>
                      <a:pt x="273" y="60"/>
                      <a:pt x="274" y="59"/>
                      <a:pt x="275" y="58"/>
                    </a:cubicBezTo>
                    <a:cubicBezTo>
                      <a:pt x="276" y="57"/>
                      <a:pt x="278" y="50"/>
                      <a:pt x="278" y="50"/>
                    </a:cubicBezTo>
                    <a:cubicBezTo>
                      <a:pt x="278" y="50"/>
                      <a:pt x="280" y="42"/>
                      <a:pt x="284" y="36"/>
                    </a:cubicBezTo>
                    <a:cubicBezTo>
                      <a:pt x="283" y="35"/>
                      <a:pt x="282" y="35"/>
                      <a:pt x="282" y="34"/>
                    </a:cubicBezTo>
                    <a:cubicBezTo>
                      <a:pt x="279" y="32"/>
                      <a:pt x="276" y="34"/>
                      <a:pt x="274" y="34"/>
                    </a:cubicBezTo>
                    <a:cubicBezTo>
                      <a:pt x="271" y="35"/>
                      <a:pt x="266" y="30"/>
                      <a:pt x="264" y="30"/>
                    </a:cubicBezTo>
                    <a:cubicBezTo>
                      <a:pt x="261" y="30"/>
                      <a:pt x="253" y="31"/>
                      <a:pt x="250" y="34"/>
                    </a:cubicBezTo>
                    <a:cubicBezTo>
                      <a:pt x="248" y="38"/>
                      <a:pt x="245" y="39"/>
                      <a:pt x="242" y="40"/>
                    </a:cubicBezTo>
                    <a:cubicBezTo>
                      <a:pt x="238" y="41"/>
                      <a:pt x="231" y="42"/>
                      <a:pt x="228" y="44"/>
                    </a:cubicBezTo>
                    <a:cubicBezTo>
                      <a:pt x="225" y="47"/>
                      <a:pt x="222" y="44"/>
                      <a:pt x="220" y="45"/>
                    </a:cubicBezTo>
                    <a:cubicBezTo>
                      <a:pt x="218" y="46"/>
                      <a:pt x="213" y="41"/>
                      <a:pt x="210" y="42"/>
                    </a:cubicBezTo>
                    <a:cubicBezTo>
                      <a:pt x="206" y="43"/>
                      <a:pt x="202" y="42"/>
                      <a:pt x="201" y="40"/>
                    </a:cubicBezTo>
                    <a:cubicBezTo>
                      <a:pt x="199" y="39"/>
                      <a:pt x="197" y="34"/>
                      <a:pt x="197" y="34"/>
                    </a:cubicBezTo>
                    <a:cubicBezTo>
                      <a:pt x="197" y="34"/>
                      <a:pt x="196" y="37"/>
                      <a:pt x="190" y="32"/>
                    </a:cubicBezTo>
                    <a:cubicBezTo>
                      <a:pt x="184" y="28"/>
                      <a:pt x="186" y="28"/>
                      <a:pt x="184" y="28"/>
                    </a:cubicBezTo>
                    <a:cubicBezTo>
                      <a:pt x="181" y="28"/>
                      <a:pt x="173" y="27"/>
                      <a:pt x="171" y="27"/>
                    </a:cubicBezTo>
                    <a:cubicBezTo>
                      <a:pt x="170" y="27"/>
                      <a:pt x="160" y="29"/>
                      <a:pt x="158" y="30"/>
                    </a:cubicBezTo>
                    <a:cubicBezTo>
                      <a:pt x="156" y="30"/>
                      <a:pt x="152" y="31"/>
                      <a:pt x="147" y="27"/>
                    </a:cubicBezTo>
                    <a:cubicBezTo>
                      <a:pt x="141" y="23"/>
                      <a:pt x="142" y="24"/>
                      <a:pt x="141" y="21"/>
                    </a:cubicBezTo>
                    <a:cubicBezTo>
                      <a:pt x="141" y="18"/>
                      <a:pt x="141" y="14"/>
                      <a:pt x="140" y="12"/>
                    </a:cubicBezTo>
                    <a:cubicBezTo>
                      <a:pt x="138" y="10"/>
                      <a:pt x="131" y="8"/>
                      <a:pt x="129" y="7"/>
                    </a:cubicBezTo>
                    <a:cubicBezTo>
                      <a:pt x="127" y="6"/>
                      <a:pt x="118" y="5"/>
                      <a:pt x="118" y="5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0"/>
                      <a:pt x="107" y="2"/>
                      <a:pt x="107" y="4"/>
                    </a:cubicBezTo>
                    <a:cubicBezTo>
                      <a:pt x="106" y="5"/>
                      <a:pt x="102" y="7"/>
                      <a:pt x="102" y="10"/>
                    </a:cubicBezTo>
                    <a:cubicBezTo>
                      <a:pt x="102" y="12"/>
                      <a:pt x="97" y="15"/>
                      <a:pt x="98" y="18"/>
                    </a:cubicBezTo>
                    <a:cubicBezTo>
                      <a:pt x="99" y="21"/>
                      <a:pt x="103" y="23"/>
                      <a:pt x="102" y="25"/>
                    </a:cubicBezTo>
                    <a:cubicBezTo>
                      <a:pt x="102" y="27"/>
                      <a:pt x="101" y="30"/>
                      <a:pt x="100" y="33"/>
                    </a:cubicBezTo>
                    <a:cubicBezTo>
                      <a:pt x="100" y="35"/>
                      <a:pt x="95" y="36"/>
                      <a:pt x="94" y="37"/>
                    </a:cubicBezTo>
                    <a:cubicBezTo>
                      <a:pt x="93" y="37"/>
                      <a:pt x="88" y="34"/>
                      <a:pt x="86" y="34"/>
                    </a:cubicBezTo>
                    <a:cubicBezTo>
                      <a:pt x="85" y="33"/>
                      <a:pt x="82" y="34"/>
                      <a:pt x="82" y="34"/>
                    </a:cubicBezTo>
                    <a:cubicBezTo>
                      <a:pt x="82" y="34"/>
                      <a:pt x="74" y="33"/>
                      <a:pt x="73" y="34"/>
                    </a:cubicBezTo>
                    <a:cubicBezTo>
                      <a:pt x="72" y="34"/>
                      <a:pt x="68" y="32"/>
                      <a:pt x="66" y="31"/>
                    </a:cubicBezTo>
                    <a:cubicBezTo>
                      <a:pt x="64" y="29"/>
                      <a:pt x="63" y="25"/>
                      <a:pt x="63" y="25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3"/>
                      <a:pt x="49" y="20"/>
                      <a:pt x="48" y="21"/>
                    </a:cubicBezTo>
                    <a:cubicBezTo>
                      <a:pt x="47" y="21"/>
                      <a:pt x="44" y="19"/>
                      <a:pt x="44" y="19"/>
                    </a:cubicBezTo>
                    <a:cubicBezTo>
                      <a:pt x="44" y="19"/>
                      <a:pt x="43" y="24"/>
                      <a:pt x="42" y="23"/>
                    </a:cubicBezTo>
                    <a:cubicBezTo>
                      <a:pt x="41" y="22"/>
                      <a:pt x="38" y="23"/>
                      <a:pt x="37" y="24"/>
                    </a:cubicBezTo>
                    <a:cubicBezTo>
                      <a:pt x="36" y="25"/>
                      <a:pt x="32" y="26"/>
                      <a:pt x="32" y="26"/>
                    </a:cubicBezTo>
                    <a:cubicBezTo>
                      <a:pt x="32" y="26"/>
                      <a:pt x="27" y="26"/>
                      <a:pt x="28" y="27"/>
                    </a:cubicBezTo>
                    <a:cubicBezTo>
                      <a:pt x="28" y="28"/>
                      <a:pt x="29" y="30"/>
                      <a:pt x="26" y="30"/>
                    </a:cubicBezTo>
                    <a:cubicBezTo>
                      <a:pt x="24" y="30"/>
                      <a:pt x="21" y="32"/>
                      <a:pt x="20" y="33"/>
                    </a:cubicBezTo>
                    <a:cubicBezTo>
                      <a:pt x="19" y="33"/>
                      <a:pt x="17" y="34"/>
                      <a:pt x="18" y="36"/>
                    </a:cubicBezTo>
                    <a:cubicBezTo>
                      <a:pt x="18" y="37"/>
                      <a:pt x="16" y="37"/>
                      <a:pt x="14" y="39"/>
                    </a:cubicBezTo>
                    <a:cubicBezTo>
                      <a:pt x="13" y="40"/>
                      <a:pt x="10" y="41"/>
                      <a:pt x="9" y="41"/>
                    </a:cubicBezTo>
                    <a:cubicBezTo>
                      <a:pt x="8" y="41"/>
                      <a:pt x="4" y="40"/>
                      <a:pt x="4" y="41"/>
                    </a:cubicBezTo>
                    <a:cubicBezTo>
                      <a:pt x="4" y="42"/>
                      <a:pt x="2" y="45"/>
                      <a:pt x="1" y="45"/>
                    </a:cubicBezTo>
                    <a:cubicBezTo>
                      <a:pt x="1" y="45"/>
                      <a:pt x="0" y="46"/>
                      <a:pt x="0" y="46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4"/>
                      <a:pt x="5" y="57"/>
                      <a:pt x="7" y="58"/>
                    </a:cubicBezTo>
                    <a:cubicBezTo>
                      <a:pt x="9" y="59"/>
                      <a:pt x="10" y="64"/>
                      <a:pt x="12" y="63"/>
                    </a:cubicBezTo>
                    <a:cubicBezTo>
                      <a:pt x="15" y="63"/>
                      <a:pt x="16" y="62"/>
                      <a:pt x="18" y="64"/>
                    </a:cubicBezTo>
                    <a:cubicBezTo>
                      <a:pt x="20" y="66"/>
                      <a:pt x="24" y="66"/>
                      <a:pt x="25" y="70"/>
                    </a:cubicBezTo>
                    <a:cubicBezTo>
                      <a:pt x="26" y="73"/>
                      <a:pt x="28" y="77"/>
                      <a:pt x="29" y="78"/>
                    </a:cubicBezTo>
                    <a:cubicBezTo>
                      <a:pt x="30" y="78"/>
                      <a:pt x="31" y="78"/>
                      <a:pt x="31" y="83"/>
                    </a:cubicBezTo>
                    <a:cubicBezTo>
                      <a:pt x="32" y="87"/>
                      <a:pt x="30" y="90"/>
                      <a:pt x="29" y="95"/>
                    </a:cubicBezTo>
                    <a:cubicBezTo>
                      <a:pt x="28" y="100"/>
                      <a:pt x="29" y="102"/>
                      <a:pt x="31" y="103"/>
                    </a:cubicBezTo>
                    <a:cubicBezTo>
                      <a:pt x="33" y="104"/>
                      <a:pt x="42" y="104"/>
                      <a:pt x="45" y="105"/>
                    </a:cubicBezTo>
                    <a:cubicBezTo>
                      <a:pt x="48" y="106"/>
                      <a:pt x="55" y="105"/>
                      <a:pt x="58" y="107"/>
                    </a:cubicBezTo>
                    <a:cubicBezTo>
                      <a:pt x="60" y="110"/>
                      <a:pt x="66" y="115"/>
                      <a:pt x="70" y="116"/>
                    </a:cubicBezTo>
                    <a:cubicBezTo>
                      <a:pt x="73" y="118"/>
                      <a:pt x="74" y="115"/>
                      <a:pt x="74" y="115"/>
                    </a:cubicBezTo>
                    <a:cubicBezTo>
                      <a:pt x="76" y="121"/>
                      <a:pt x="76" y="121"/>
                      <a:pt x="76" y="121"/>
                    </a:cubicBezTo>
                    <a:cubicBezTo>
                      <a:pt x="76" y="121"/>
                      <a:pt x="82" y="136"/>
                      <a:pt x="83" y="137"/>
                    </a:cubicBezTo>
                    <a:cubicBezTo>
                      <a:pt x="84" y="137"/>
                      <a:pt x="97" y="136"/>
                      <a:pt x="102" y="138"/>
                    </a:cubicBezTo>
                    <a:cubicBezTo>
                      <a:pt x="107" y="139"/>
                      <a:pt x="123" y="138"/>
                      <a:pt x="124" y="138"/>
                    </a:cubicBezTo>
                    <a:cubicBezTo>
                      <a:pt x="126" y="138"/>
                      <a:pt x="137" y="139"/>
                      <a:pt x="138" y="141"/>
                    </a:cubicBezTo>
                    <a:cubicBezTo>
                      <a:pt x="140" y="143"/>
                      <a:pt x="144" y="146"/>
                      <a:pt x="146" y="145"/>
                    </a:cubicBezTo>
                    <a:cubicBezTo>
                      <a:pt x="149" y="145"/>
                      <a:pt x="157" y="149"/>
                      <a:pt x="158" y="149"/>
                    </a:cubicBezTo>
                    <a:cubicBezTo>
                      <a:pt x="159" y="149"/>
                      <a:pt x="163" y="148"/>
                      <a:pt x="163" y="148"/>
                    </a:cubicBezTo>
                    <a:cubicBezTo>
                      <a:pt x="163" y="148"/>
                      <a:pt x="163" y="151"/>
                      <a:pt x="164" y="151"/>
                    </a:cubicBezTo>
                    <a:cubicBezTo>
                      <a:pt x="165" y="151"/>
                      <a:pt x="167" y="152"/>
                      <a:pt x="168" y="152"/>
                    </a:cubicBezTo>
                    <a:cubicBezTo>
                      <a:pt x="170" y="151"/>
                      <a:pt x="179" y="144"/>
                      <a:pt x="184" y="144"/>
                    </a:cubicBezTo>
                    <a:cubicBezTo>
                      <a:pt x="190" y="143"/>
                      <a:pt x="191" y="140"/>
                      <a:pt x="196" y="141"/>
                    </a:cubicBezTo>
                    <a:cubicBezTo>
                      <a:pt x="201" y="141"/>
                      <a:pt x="209" y="142"/>
                      <a:pt x="213" y="140"/>
                    </a:cubicBezTo>
                    <a:cubicBezTo>
                      <a:pt x="216" y="138"/>
                      <a:pt x="220" y="137"/>
                      <a:pt x="224" y="133"/>
                    </a:cubicBezTo>
                    <a:cubicBezTo>
                      <a:pt x="228" y="130"/>
                      <a:pt x="230" y="128"/>
                      <a:pt x="233" y="127"/>
                    </a:cubicBezTo>
                    <a:cubicBezTo>
                      <a:pt x="235" y="126"/>
                      <a:pt x="237" y="122"/>
                      <a:pt x="237" y="122"/>
                    </a:cubicBezTo>
                    <a:cubicBezTo>
                      <a:pt x="237" y="122"/>
                      <a:pt x="235" y="119"/>
                      <a:pt x="233" y="116"/>
                    </a:cubicBezTo>
                    <a:cubicBezTo>
                      <a:pt x="231" y="113"/>
                      <a:pt x="232" y="108"/>
                      <a:pt x="234" y="106"/>
                    </a:cubicBezTo>
                    <a:cubicBezTo>
                      <a:pt x="237" y="104"/>
                      <a:pt x="239" y="103"/>
                      <a:pt x="243" y="106"/>
                    </a:cubicBezTo>
                    <a:cubicBezTo>
                      <a:pt x="246" y="109"/>
                      <a:pt x="251" y="109"/>
                      <a:pt x="255" y="108"/>
                    </a:cubicBezTo>
                    <a:cubicBezTo>
                      <a:pt x="258" y="107"/>
                      <a:pt x="259" y="104"/>
                      <a:pt x="261" y="102"/>
                    </a:cubicBezTo>
                    <a:cubicBezTo>
                      <a:pt x="264" y="100"/>
                      <a:pt x="265" y="100"/>
                      <a:pt x="269" y="100"/>
                    </a:cubicBezTo>
                    <a:cubicBezTo>
                      <a:pt x="273" y="99"/>
                      <a:pt x="277" y="97"/>
                      <a:pt x="279" y="95"/>
                    </a:cubicBezTo>
                    <a:cubicBezTo>
                      <a:pt x="280" y="93"/>
                      <a:pt x="281" y="88"/>
                      <a:pt x="283" y="87"/>
                    </a:cubicBezTo>
                    <a:cubicBezTo>
                      <a:pt x="286" y="86"/>
                      <a:pt x="290" y="86"/>
                      <a:pt x="290" y="86"/>
                    </a:cubicBezTo>
                    <a:cubicBezTo>
                      <a:pt x="290" y="86"/>
                      <a:pt x="291" y="82"/>
                      <a:pt x="292" y="83"/>
                    </a:cubicBezTo>
                    <a:cubicBezTo>
                      <a:pt x="293" y="83"/>
                      <a:pt x="291" y="87"/>
                      <a:pt x="295" y="84"/>
                    </a:cubicBezTo>
                    <a:cubicBezTo>
                      <a:pt x="299" y="81"/>
                      <a:pt x="306" y="80"/>
                      <a:pt x="306" y="80"/>
                    </a:cubicBezTo>
                    <a:cubicBezTo>
                      <a:pt x="306" y="80"/>
                      <a:pt x="310" y="82"/>
                      <a:pt x="309" y="84"/>
                    </a:cubicBezTo>
                    <a:cubicBezTo>
                      <a:pt x="309" y="87"/>
                      <a:pt x="310" y="87"/>
                      <a:pt x="312" y="85"/>
                    </a:cubicBezTo>
                    <a:cubicBezTo>
                      <a:pt x="314" y="84"/>
                      <a:pt x="315" y="82"/>
                      <a:pt x="315" y="80"/>
                    </a:cubicBezTo>
                    <a:cubicBezTo>
                      <a:pt x="315" y="79"/>
                      <a:pt x="313" y="74"/>
                      <a:pt x="313" y="74"/>
                    </a:cubicBezTo>
                    <a:cubicBezTo>
                      <a:pt x="313" y="74"/>
                      <a:pt x="307" y="70"/>
                      <a:pt x="306" y="6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32" name="Freeform 107"/>
              <p:cNvSpPr>
                <a:spLocks noEditPoints="1"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6835279" y="4113213"/>
                <a:ext cx="150983" cy="107950"/>
              </a:xfrm>
              <a:custGeom>
                <a:avLst/>
                <a:gdLst>
                  <a:gd name="T0" fmla="*/ 2147483647 w 38"/>
                  <a:gd name="T1" fmla="*/ 2147483647 h 28"/>
                  <a:gd name="T2" fmla="*/ 2147483647 w 38"/>
                  <a:gd name="T3" fmla="*/ 2147483647 h 28"/>
                  <a:gd name="T4" fmla="*/ 2147483647 w 38"/>
                  <a:gd name="T5" fmla="*/ 2147483647 h 28"/>
                  <a:gd name="T6" fmla="*/ 2147483647 w 38"/>
                  <a:gd name="T7" fmla="*/ 2147483647 h 28"/>
                  <a:gd name="T8" fmla="*/ 2147483647 w 38"/>
                  <a:gd name="T9" fmla="*/ 2147483647 h 28"/>
                  <a:gd name="T10" fmla="*/ 2147483647 w 38"/>
                  <a:gd name="T11" fmla="*/ 2147483647 h 28"/>
                  <a:gd name="T12" fmla="*/ 2147483647 w 38"/>
                  <a:gd name="T13" fmla="*/ 0 h 28"/>
                  <a:gd name="T14" fmla="*/ 2147483647 w 38"/>
                  <a:gd name="T15" fmla="*/ 2147483647 h 28"/>
                  <a:gd name="T16" fmla="*/ 2147483647 w 38"/>
                  <a:gd name="T17" fmla="*/ 2147483647 h 28"/>
                  <a:gd name="T18" fmla="*/ 2147483647 w 38"/>
                  <a:gd name="T19" fmla="*/ 2147483647 h 28"/>
                  <a:gd name="T20" fmla="*/ 2147483647 w 38"/>
                  <a:gd name="T21" fmla="*/ 2147483647 h 28"/>
                  <a:gd name="T22" fmla="*/ 2147483647 w 38"/>
                  <a:gd name="T23" fmla="*/ 2147483647 h 28"/>
                  <a:gd name="T24" fmla="*/ 2147483647 w 38"/>
                  <a:gd name="T25" fmla="*/ 2147483647 h 28"/>
                  <a:gd name="T26" fmla="*/ 2147483647 w 38"/>
                  <a:gd name="T27" fmla="*/ 0 h 28"/>
                  <a:gd name="T28" fmla="*/ 2147483647 w 38"/>
                  <a:gd name="T29" fmla="*/ 2147483647 h 28"/>
                  <a:gd name="T30" fmla="*/ 2147483647 w 38"/>
                  <a:gd name="T31" fmla="*/ 2147483647 h 28"/>
                  <a:gd name="T32" fmla="*/ 2147483647 w 38"/>
                  <a:gd name="T33" fmla="*/ 2147483647 h 2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28"/>
                  <a:gd name="T53" fmla="*/ 38 w 38"/>
                  <a:gd name="T54" fmla="*/ 28 h 2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28">
                    <a:moveTo>
                      <a:pt x="6" y="15"/>
                    </a:moveTo>
                    <a:cubicBezTo>
                      <a:pt x="6" y="15"/>
                      <a:pt x="3" y="22"/>
                      <a:pt x="2" y="23"/>
                    </a:cubicBezTo>
                    <a:cubicBezTo>
                      <a:pt x="2" y="23"/>
                      <a:pt x="0" y="26"/>
                      <a:pt x="1" y="26"/>
                    </a:cubicBezTo>
                    <a:cubicBezTo>
                      <a:pt x="3" y="26"/>
                      <a:pt x="6" y="20"/>
                      <a:pt x="6" y="20"/>
                    </a:cubicBezTo>
                    <a:cubicBezTo>
                      <a:pt x="12" y="17"/>
                      <a:pt x="12" y="17"/>
                      <a:pt x="12" y="17"/>
                    </a:cubicBezTo>
                    <a:lnTo>
                      <a:pt x="6" y="15"/>
                    </a:lnTo>
                    <a:close/>
                    <a:moveTo>
                      <a:pt x="33" y="0"/>
                    </a:moveTo>
                    <a:cubicBezTo>
                      <a:pt x="32" y="0"/>
                      <a:pt x="29" y="3"/>
                      <a:pt x="27" y="5"/>
                    </a:cubicBezTo>
                    <a:cubicBezTo>
                      <a:pt x="25" y="6"/>
                      <a:pt x="24" y="3"/>
                      <a:pt x="24" y="3"/>
                    </a:cubicBezTo>
                    <a:cubicBezTo>
                      <a:pt x="24" y="3"/>
                      <a:pt x="24" y="7"/>
                      <a:pt x="22" y="8"/>
                    </a:cubicBezTo>
                    <a:cubicBezTo>
                      <a:pt x="20" y="8"/>
                      <a:pt x="16" y="13"/>
                      <a:pt x="15" y="14"/>
                    </a:cubicBezTo>
                    <a:cubicBezTo>
                      <a:pt x="14" y="16"/>
                      <a:pt x="21" y="12"/>
                      <a:pt x="24" y="10"/>
                    </a:cubicBezTo>
                    <a:cubicBezTo>
                      <a:pt x="26" y="9"/>
                      <a:pt x="32" y="4"/>
                      <a:pt x="35" y="4"/>
                    </a:cubicBezTo>
                    <a:cubicBezTo>
                      <a:pt x="38" y="3"/>
                      <a:pt x="34" y="0"/>
                      <a:pt x="33" y="0"/>
                    </a:cubicBezTo>
                    <a:close/>
                    <a:moveTo>
                      <a:pt x="11" y="27"/>
                    </a:moveTo>
                    <a:cubicBezTo>
                      <a:pt x="10" y="28"/>
                      <a:pt x="14" y="28"/>
                      <a:pt x="14" y="26"/>
                    </a:cubicBezTo>
                    <a:cubicBezTo>
                      <a:pt x="15" y="24"/>
                      <a:pt x="13" y="26"/>
                      <a:pt x="11" y="27"/>
                    </a:cubicBez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33" name="Freeform 108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6017334" y="4254500"/>
                <a:ext cx="249195" cy="268288"/>
              </a:xfrm>
              <a:custGeom>
                <a:avLst/>
                <a:gdLst>
                  <a:gd name="T0" fmla="*/ 2147483647 w 63"/>
                  <a:gd name="T1" fmla="*/ 2147483647 h 69"/>
                  <a:gd name="T2" fmla="*/ 2147483647 w 63"/>
                  <a:gd name="T3" fmla="*/ 2147483647 h 69"/>
                  <a:gd name="T4" fmla="*/ 2147483647 w 63"/>
                  <a:gd name="T5" fmla="*/ 2147483647 h 69"/>
                  <a:gd name="T6" fmla="*/ 2147483647 w 63"/>
                  <a:gd name="T7" fmla="*/ 2147483647 h 69"/>
                  <a:gd name="T8" fmla="*/ 2147483647 w 63"/>
                  <a:gd name="T9" fmla="*/ 2147483647 h 69"/>
                  <a:gd name="T10" fmla="*/ 2147483647 w 63"/>
                  <a:gd name="T11" fmla="*/ 2147483647 h 69"/>
                  <a:gd name="T12" fmla="*/ 2147483647 w 63"/>
                  <a:gd name="T13" fmla="*/ 2147483647 h 69"/>
                  <a:gd name="T14" fmla="*/ 2147483647 w 63"/>
                  <a:gd name="T15" fmla="*/ 2147483647 h 69"/>
                  <a:gd name="T16" fmla="*/ 2147483647 w 63"/>
                  <a:gd name="T17" fmla="*/ 2147483647 h 69"/>
                  <a:gd name="T18" fmla="*/ 2147483647 w 63"/>
                  <a:gd name="T19" fmla="*/ 2147483647 h 69"/>
                  <a:gd name="T20" fmla="*/ 2147483647 w 63"/>
                  <a:gd name="T21" fmla="*/ 2147483647 h 69"/>
                  <a:gd name="T22" fmla="*/ 2147483647 w 63"/>
                  <a:gd name="T23" fmla="*/ 2147483647 h 69"/>
                  <a:gd name="T24" fmla="*/ 0 w 63"/>
                  <a:gd name="T25" fmla="*/ 2147483647 h 69"/>
                  <a:gd name="T26" fmla="*/ 2147483647 w 63"/>
                  <a:gd name="T27" fmla="*/ 2147483647 h 69"/>
                  <a:gd name="T28" fmla="*/ 2147483647 w 63"/>
                  <a:gd name="T29" fmla="*/ 2147483647 h 69"/>
                  <a:gd name="T30" fmla="*/ 2147483647 w 63"/>
                  <a:gd name="T31" fmla="*/ 2147483647 h 69"/>
                  <a:gd name="T32" fmla="*/ 2147483647 w 63"/>
                  <a:gd name="T33" fmla="*/ 2147483647 h 69"/>
                  <a:gd name="T34" fmla="*/ 2147483647 w 63"/>
                  <a:gd name="T35" fmla="*/ 2147483647 h 69"/>
                  <a:gd name="T36" fmla="*/ 2147483647 w 63"/>
                  <a:gd name="T37" fmla="*/ 2147483647 h 69"/>
                  <a:gd name="T38" fmla="*/ 2147483647 w 63"/>
                  <a:gd name="T39" fmla="*/ 2147483647 h 69"/>
                  <a:gd name="T40" fmla="*/ 2147483647 w 63"/>
                  <a:gd name="T41" fmla="*/ 2147483647 h 69"/>
                  <a:gd name="T42" fmla="*/ 2147483647 w 63"/>
                  <a:gd name="T43" fmla="*/ 2147483647 h 69"/>
                  <a:gd name="T44" fmla="*/ 2147483647 w 63"/>
                  <a:gd name="T45" fmla="*/ 2147483647 h 69"/>
                  <a:gd name="T46" fmla="*/ 2147483647 w 63"/>
                  <a:gd name="T47" fmla="*/ 2147483647 h 69"/>
                  <a:gd name="T48" fmla="*/ 2147483647 w 63"/>
                  <a:gd name="T49" fmla="*/ 2147483647 h 69"/>
                  <a:gd name="T50" fmla="*/ 2147483647 w 63"/>
                  <a:gd name="T51" fmla="*/ 2147483647 h 69"/>
                  <a:gd name="T52" fmla="*/ 2147483647 w 63"/>
                  <a:gd name="T53" fmla="*/ 2147483647 h 69"/>
                  <a:gd name="T54" fmla="*/ 2147483647 w 63"/>
                  <a:gd name="T55" fmla="*/ 2147483647 h 69"/>
                  <a:gd name="T56" fmla="*/ 2147483647 w 63"/>
                  <a:gd name="T57" fmla="*/ 2147483647 h 69"/>
                  <a:gd name="T58" fmla="*/ 2147483647 w 63"/>
                  <a:gd name="T59" fmla="*/ 2147483647 h 69"/>
                  <a:gd name="T60" fmla="*/ 2147483647 w 63"/>
                  <a:gd name="T61" fmla="*/ 2147483647 h 69"/>
                  <a:gd name="T62" fmla="*/ 2147483647 w 63"/>
                  <a:gd name="T63" fmla="*/ 2147483647 h 69"/>
                  <a:gd name="T64" fmla="*/ 2147483647 w 63"/>
                  <a:gd name="T65" fmla="*/ 2147483647 h 69"/>
                  <a:gd name="T66" fmla="*/ 2147483647 w 63"/>
                  <a:gd name="T67" fmla="*/ 2147483647 h 69"/>
                  <a:gd name="T68" fmla="*/ 2147483647 w 63"/>
                  <a:gd name="T69" fmla="*/ 2147483647 h 69"/>
                  <a:gd name="T70" fmla="*/ 2147483647 w 63"/>
                  <a:gd name="T71" fmla="*/ 2147483647 h 69"/>
                  <a:gd name="T72" fmla="*/ 2147483647 w 63"/>
                  <a:gd name="T73" fmla="*/ 2147483647 h 6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3"/>
                  <a:gd name="T112" fmla="*/ 0 h 69"/>
                  <a:gd name="T113" fmla="*/ 63 w 63"/>
                  <a:gd name="T114" fmla="*/ 69 h 6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3" h="69">
                    <a:moveTo>
                      <a:pt x="61" y="3"/>
                    </a:moveTo>
                    <a:cubicBezTo>
                      <a:pt x="61" y="3"/>
                      <a:pt x="59" y="4"/>
                      <a:pt x="58" y="2"/>
                    </a:cubicBezTo>
                    <a:cubicBezTo>
                      <a:pt x="57" y="0"/>
                      <a:pt x="54" y="2"/>
                      <a:pt x="54" y="2"/>
                    </a:cubicBezTo>
                    <a:cubicBezTo>
                      <a:pt x="52" y="8"/>
                      <a:pt x="52" y="8"/>
                      <a:pt x="52" y="8"/>
                    </a:cubicBezTo>
                    <a:cubicBezTo>
                      <a:pt x="52" y="8"/>
                      <a:pt x="48" y="7"/>
                      <a:pt x="48" y="10"/>
                    </a:cubicBezTo>
                    <a:cubicBezTo>
                      <a:pt x="47" y="12"/>
                      <a:pt x="40" y="14"/>
                      <a:pt x="40" y="14"/>
                    </a:cubicBezTo>
                    <a:cubicBezTo>
                      <a:pt x="40" y="14"/>
                      <a:pt x="36" y="15"/>
                      <a:pt x="37" y="17"/>
                    </a:cubicBezTo>
                    <a:cubicBezTo>
                      <a:pt x="38" y="19"/>
                      <a:pt x="39" y="21"/>
                      <a:pt x="38" y="22"/>
                    </a:cubicBezTo>
                    <a:cubicBezTo>
                      <a:pt x="37" y="22"/>
                      <a:pt x="32" y="21"/>
                      <a:pt x="30" y="20"/>
                    </a:cubicBezTo>
                    <a:cubicBezTo>
                      <a:pt x="28" y="19"/>
                      <a:pt x="24" y="15"/>
                      <a:pt x="23" y="16"/>
                    </a:cubicBezTo>
                    <a:cubicBezTo>
                      <a:pt x="22" y="17"/>
                      <a:pt x="21" y="21"/>
                      <a:pt x="18" y="25"/>
                    </a:cubicBezTo>
                    <a:cubicBezTo>
                      <a:pt x="15" y="28"/>
                      <a:pt x="10" y="31"/>
                      <a:pt x="7" y="33"/>
                    </a:cubicBezTo>
                    <a:cubicBezTo>
                      <a:pt x="4" y="35"/>
                      <a:pt x="0" y="41"/>
                      <a:pt x="0" y="4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0" y="45"/>
                      <a:pt x="11" y="49"/>
                      <a:pt x="9" y="51"/>
                    </a:cubicBezTo>
                    <a:cubicBezTo>
                      <a:pt x="8" y="54"/>
                      <a:pt x="10" y="55"/>
                      <a:pt x="12" y="56"/>
                    </a:cubicBezTo>
                    <a:cubicBezTo>
                      <a:pt x="11" y="56"/>
                      <a:pt x="8" y="55"/>
                      <a:pt x="7" y="58"/>
                    </a:cubicBezTo>
                    <a:cubicBezTo>
                      <a:pt x="4" y="61"/>
                      <a:pt x="4" y="64"/>
                      <a:pt x="4" y="64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9" y="65"/>
                      <a:pt x="7" y="69"/>
                      <a:pt x="11" y="68"/>
                    </a:cubicBezTo>
                    <a:cubicBezTo>
                      <a:pt x="15" y="66"/>
                      <a:pt x="18" y="66"/>
                      <a:pt x="19" y="67"/>
                    </a:cubicBezTo>
                    <a:cubicBezTo>
                      <a:pt x="19" y="67"/>
                      <a:pt x="20" y="68"/>
                      <a:pt x="20" y="68"/>
                    </a:cubicBezTo>
                    <a:cubicBezTo>
                      <a:pt x="21" y="68"/>
                      <a:pt x="22" y="68"/>
                      <a:pt x="22" y="67"/>
                    </a:cubicBezTo>
                    <a:cubicBezTo>
                      <a:pt x="24" y="65"/>
                      <a:pt x="26" y="61"/>
                      <a:pt x="27" y="61"/>
                    </a:cubicBezTo>
                    <a:cubicBezTo>
                      <a:pt x="29" y="60"/>
                      <a:pt x="34" y="63"/>
                      <a:pt x="37" y="61"/>
                    </a:cubicBezTo>
                    <a:cubicBezTo>
                      <a:pt x="39" y="60"/>
                      <a:pt x="40" y="58"/>
                      <a:pt x="40" y="57"/>
                    </a:cubicBezTo>
                    <a:cubicBezTo>
                      <a:pt x="40" y="55"/>
                      <a:pt x="40" y="55"/>
                      <a:pt x="40" y="55"/>
                    </a:cubicBezTo>
                    <a:cubicBezTo>
                      <a:pt x="40" y="55"/>
                      <a:pt x="34" y="50"/>
                      <a:pt x="33" y="50"/>
                    </a:cubicBezTo>
                    <a:cubicBezTo>
                      <a:pt x="32" y="51"/>
                      <a:pt x="29" y="49"/>
                      <a:pt x="30" y="48"/>
                    </a:cubicBezTo>
                    <a:cubicBezTo>
                      <a:pt x="31" y="46"/>
                      <a:pt x="31" y="41"/>
                      <a:pt x="33" y="41"/>
                    </a:cubicBezTo>
                    <a:cubicBezTo>
                      <a:pt x="35" y="41"/>
                      <a:pt x="39" y="39"/>
                      <a:pt x="42" y="37"/>
                    </a:cubicBezTo>
                    <a:cubicBezTo>
                      <a:pt x="46" y="35"/>
                      <a:pt x="50" y="29"/>
                      <a:pt x="52" y="29"/>
                    </a:cubicBezTo>
                    <a:cubicBezTo>
                      <a:pt x="54" y="29"/>
                      <a:pt x="54" y="26"/>
                      <a:pt x="54" y="23"/>
                    </a:cubicBezTo>
                    <a:cubicBezTo>
                      <a:pt x="54" y="20"/>
                      <a:pt x="54" y="17"/>
                      <a:pt x="56" y="15"/>
                    </a:cubicBezTo>
                    <a:cubicBezTo>
                      <a:pt x="58" y="13"/>
                      <a:pt x="62" y="9"/>
                      <a:pt x="62" y="9"/>
                    </a:cubicBezTo>
                    <a:cubicBezTo>
                      <a:pt x="63" y="4"/>
                      <a:pt x="63" y="4"/>
                      <a:pt x="63" y="4"/>
                    </a:cubicBezTo>
                    <a:lnTo>
                      <a:pt x="61" y="3"/>
                    </a:lnTo>
                    <a:close/>
                  </a:path>
                </a:pathLst>
              </a:custGeom>
              <a:solidFill>
                <a:srgbClr val="D9D9D9"/>
              </a:solidFill>
              <a:ln w="3175">
                <a:solidFill>
                  <a:srgbClr val="96969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236" name="Rectangle 112"/>
              <p:cNvSpPr>
                <a:spLocks noChangeArrowheads="1"/>
              </p:cNvSpPr>
              <p:nvPr/>
            </p:nvSpPr>
            <p:spPr bwMode="gray">
              <a:xfrm>
                <a:off x="4991235" y="4032250"/>
                <a:ext cx="258084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/>
                  <a:t>Mongolia</a:t>
                </a:r>
              </a:p>
            </p:txBody>
          </p:sp>
          <p:sp>
            <p:nvSpPr>
              <p:cNvPr id="48237" name="Rectangle 113"/>
              <p:cNvSpPr>
                <a:spLocks noChangeArrowheads="1"/>
              </p:cNvSpPr>
              <p:nvPr/>
            </p:nvSpPr>
            <p:spPr bwMode="gray">
              <a:xfrm>
                <a:off x="3382536" y="4198555"/>
                <a:ext cx="315792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Uzbekistan</a:t>
                </a:r>
              </a:p>
            </p:txBody>
          </p:sp>
          <p:sp>
            <p:nvSpPr>
              <p:cNvPr id="48238" name="Rectangle 114"/>
              <p:cNvSpPr>
                <a:spLocks noChangeArrowheads="1"/>
              </p:cNvSpPr>
              <p:nvPr/>
            </p:nvSpPr>
            <p:spPr bwMode="gray">
              <a:xfrm>
                <a:off x="2049264" y="2973388"/>
                <a:ext cx="208390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Finland</a:t>
                </a:r>
              </a:p>
            </p:txBody>
          </p:sp>
          <p:sp>
            <p:nvSpPr>
              <p:cNvPr id="48239" name="Rectangle 119"/>
              <p:cNvSpPr>
                <a:spLocks noChangeArrowheads="1"/>
              </p:cNvSpPr>
              <p:nvPr/>
            </p:nvSpPr>
            <p:spPr bwMode="gray">
              <a:xfrm>
                <a:off x="3436848" y="3965660"/>
                <a:ext cx="511358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b="1" dirty="0" smtClean="0"/>
                  <a:t>K a z a k h s t a n</a:t>
                </a:r>
                <a:endParaRPr lang="en-US" sz="500" b="1" dirty="0"/>
              </a:p>
            </p:txBody>
          </p:sp>
          <p:sp>
            <p:nvSpPr>
              <p:cNvPr id="48240" name="Rectangle 125"/>
              <p:cNvSpPr>
                <a:spLocks noChangeArrowheads="1"/>
              </p:cNvSpPr>
              <p:nvPr/>
            </p:nvSpPr>
            <p:spPr bwMode="gray">
              <a:xfrm>
                <a:off x="4596420" y="2668083"/>
                <a:ext cx="601127" cy="152041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800" b="1" dirty="0" smtClean="0">
                    <a:latin typeface="Arial Black" pitchFamily="34" charset="0"/>
                  </a:rPr>
                  <a:t>R U S </a:t>
                </a:r>
                <a:r>
                  <a:rPr lang="en-US" sz="800" b="1" dirty="0" err="1" smtClean="0">
                    <a:latin typeface="Arial Black" pitchFamily="34" charset="0"/>
                  </a:rPr>
                  <a:t>S</a:t>
                </a:r>
                <a:r>
                  <a:rPr lang="en-US" sz="800" b="1" dirty="0" smtClean="0">
                    <a:latin typeface="Arial Black" pitchFamily="34" charset="0"/>
                  </a:rPr>
                  <a:t> I A</a:t>
                </a:r>
                <a:endParaRPr lang="en-US" sz="800" b="1" dirty="0">
                  <a:latin typeface="Arial Black" pitchFamily="34" charset="0"/>
                </a:endParaRPr>
              </a:p>
            </p:txBody>
          </p:sp>
          <p:sp>
            <p:nvSpPr>
              <p:cNvPr id="48254" name="Rectangle 177"/>
              <p:cNvSpPr>
                <a:spLocks noChangeArrowheads="1"/>
              </p:cNvSpPr>
              <p:nvPr/>
            </p:nvSpPr>
            <p:spPr bwMode="gray">
              <a:xfrm>
                <a:off x="3298046" y="4418013"/>
                <a:ext cx="384721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Turkmenistan</a:t>
                </a:r>
              </a:p>
            </p:txBody>
          </p:sp>
          <p:sp>
            <p:nvSpPr>
              <p:cNvPr id="48260" name="Rectangle 203"/>
              <p:cNvSpPr>
                <a:spLocks noChangeArrowheads="1"/>
              </p:cNvSpPr>
              <p:nvPr/>
            </p:nvSpPr>
            <p:spPr bwMode="gray">
              <a:xfrm>
                <a:off x="2377775" y="3366323"/>
                <a:ext cx="283732" cy="92333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600" dirty="0">
                    <a:solidFill>
                      <a:srgbClr val="C00000"/>
                    </a:solidFill>
                  </a:rPr>
                  <a:t>Moscow</a:t>
                </a:r>
              </a:p>
            </p:txBody>
          </p:sp>
          <p:sp>
            <p:nvSpPr>
              <p:cNvPr id="171" name="Oval 170"/>
              <p:cNvSpPr/>
              <p:nvPr/>
            </p:nvSpPr>
            <p:spPr>
              <a:xfrm>
                <a:off x="5151012" y="3519489"/>
                <a:ext cx="77691" cy="8413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grpSp>
            <p:nvGrpSpPr>
              <p:cNvPr id="3" name="Группа 496"/>
              <p:cNvGrpSpPr/>
              <p:nvPr/>
            </p:nvGrpSpPr>
            <p:grpSpPr>
              <a:xfrm>
                <a:off x="2480225" y="3264995"/>
                <a:ext cx="76139" cy="46800"/>
                <a:chOff x="2686049" y="3315563"/>
                <a:chExt cx="82458" cy="46800"/>
              </a:xfrm>
            </p:grpSpPr>
            <p:sp>
              <p:nvSpPr>
                <p:cNvPr id="175" name="Куб 174"/>
                <p:cNvSpPr>
                  <a:spLocks/>
                </p:cNvSpPr>
                <p:nvPr/>
              </p:nvSpPr>
              <p:spPr>
                <a:xfrm>
                  <a:off x="2686049" y="3315563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24" name="Прямая соединительная линия 223"/>
                <p:cNvCxnSpPr/>
                <p:nvPr/>
              </p:nvCxnSpPr>
              <p:spPr>
                <a:xfrm rot="16200000" flipH="1">
                  <a:off x="2711674" y="334284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Прямая соединительная линия 224"/>
                <p:cNvCxnSpPr/>
                <p:nvPr/>
              </p:nvCxnSpPr>
              <p:spPr>
                <a:xfrm rot="16200000" flipH="1">
                  <a:off x="2723142" y="33427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Прямая соединительная линия 225"/>
                <p:cNvCxnSpPr/>
                <p:nvPr/>
              </p:nvCxnSpPr>
              <p:spPr>
                <a:xfrm rot="16200000" flipH="1">
                  <a:off x="2736124" y="334276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Прямая соединительная линия 231"/>
                <p:cNvCxnSpPr/>
                <p:nvPr/>
              </p:nvCxnSpPr>
              <p:spPr>
                <a:xfrm rot="16200000" flipH="1">
                  <a:off x="2687925" y="334300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" name="Прямая соединительная линия 232"/>
                <p:cNvCxnSpPr/>
                <p:nvPr/>
              </p:nvCxnSpPr>
              <p:spPr>
                <a:xfrm rot="16200000" flipH="1">
                  <a:off x="2699459" y="33429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" name="Группа 497"/>
              <p:cNvGrpSpPr/>
              <p:nvPr/>
            </p:nvGrpSpPr>
            <p:grpSpPr>
              <a:xfrm>
                <a:off x="6671104" y="3991635"/>
                <a:ext cx="74761" cy="45953"/>
                <a:chOff x="7224712" y="3991634"/>
                <a:chExt cx="80965" cy="45953"/>
              </a:xfrm>
            </p:grpSpPr>
            <p:sp>
              <p:nvSpPr>
                <p:cNvPr id="243" name="Куб 242"/>
                <p:cNvSpPr>
                  <a:spLocks/>
                </p:cNvSpPr>
                <p:nvPr/>
              </p:nvSpPr>
              <p:spPr>
                <a:xfrm>
                  <a:off x="7224712" y="3991634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44" name="Прямая соединительная линия 243"/>
                <p:cNvCxnSpPr/>
                <p:nvPr/>
              </p:nvCxnSpPr>
              <p:spPr>
                <a:xfrm rot="16200000" flipH="1">
                  <a:off x="7249873" y="4018420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Прямая соединительная линия 244"/>
                <p:cNvCxnSpPr/>
                <p:nvPr/>
              </p:nvCxnSpPr>
              <p:spPr>
                <a:xfrm rot="16200000" flipH="1">
                  <a:off x="7261133" y="4018344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Прямая соединительная линия 245"/>
                <p:cNvCxnSpPr/>
                <p:nvPr/>
              </p:nvCxnSpPr>
              <p:spPr>
                <a:xfrm rot="16200000" flipH="1">
                  <a:off x="7273880" y="4018345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Прямая соединительная линия 246"/>
                <p:cNvCxnSpPr/>
                <p:nvPr/>
              </p:nvCxnSpPr>
              <p:spPr>
                <a:xfrm rot="16200000" flipH="1">
                  <a:off x="7226554" y="401858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" name="Прямая соединительная линия 247"/>
                <p:cNvCxnSpPr/>
                <p:nvPr/>
              </p:nvCxnSpPr>
              <p:spPr>
                <a:xfrm rot="16200000" flipH="1">
                  <a:off x="7237879" y="4018528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" name="Группа 498"/>
              <p:cNvGrpSpPr/>
              <p:nvPr/>
            </p:nvGrpSpPr>
            <p:grpSpPr>
              <a:xfrm>
                <a:off x="6328094" y="4224998"/>
                <a:ext cx="74761" cy="45953"/>
                <a:chOff x="6853237" y="4224997"/>
                <a:chExt cx="80965" cy="45953"/>
              </a:xfrm>
            </p:grpSpPr>
            <p:sp>
              <p:nvSpPr>
                <p:cNvPr id="250" name="Куб 249"/>
                <p:cNvSpPr>
                  <a:spLocks/>
                </p:cNvSpPr>
                <p:nvPr/>
              </p:nvSpPr>
              <p:spPr>
                <a:xfrm>
                  <a:off x="6853237" y="4224997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51" name="Прямая соединительная линия 250"/>
                <p:cNvCxnSpPr/>
                <p:nvPr/>
              </p:nvCxnSpPr>
              <p:spPr>
                <a:xfrm rot="16200000" flipH="1">
                  <a:off x="6878398" y="4251783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Прямая соединительная линия 251"/>
                <p:cNvCxnSpPr/>
                <p:nvPr/>
              </p:nvCxnSpPr>
              <p:spPr>
                <a:xfrm rot="16200000" flipH="1">
                  <a:off x="6889658" y="4251707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Прямая соединительная линия 252"/>
                <p:cNvCxnSpPr/>
                <p:nvPr/>
              </p:nvCxnSpPr>
              <p:spPr>
                <a:xfrm rot="16200000" flipH="1">
                  <a:off x="6902405" y="4251708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Прямая соединительная линия 253"/>
                <p:cNvCxnSpPr/>
                <p:nvPr/>
              </p:nvCxnSpPr>
              <p:spPr>
                <a:xfrm rot="16200000" flipH="1">
                  <a:off x="6855079" y="4251944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Прямая соединительная линия 254"/>
                <p:cNvCxnSpPr/>
                <p:nvPr/>
              </p:nvCxnSpPr>
              <p:spPr>
                <a:xfrm rot="16200000" flipH="1">
                  <a:off x="6866404" y="425189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" name="Группа 515"/>
              <p:cNvGrpSpPr/>
              <p:nvPr/>
            </p:nvGrpSpPr>
            <p:grpSpPr>
              <a:xfrm>
                <a:off x="6292912" y="3889241"/>
                <a:ext cx="74761" cy="45953"/>
                <a:chOff x="6815136" y="3889240"/>
                <a:chExt cx="80965" cy="45953"/>
              </a:xfrm>
            </p:grpSpPr>
            <p:sp>
              <p:nvSpPr>
                <p:cNvPr id="271" name="Куб 270"/>
                <p:cNvSpPr>
                  <a:spLocks/>
                </p:cNvSpPr>
                <p:nvPr/>
              </p:nvSpPr>
              <p:spPr>
                <a:xfrm>
                  <a:off x="6815136" y="3889240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72" name="Прямая соединительная линия 271"/>
                <p:cNvCxnSpPr/>
                <p:nvPr/>
              </p:nvCxnSpPr>
              <p:spPr>
                <a:xfrm rot="16200000" flipH="1">
                  <a:off x="6840297" y="3916026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" name="Прямая соединительная линия 272"/>
                <p:cNvCxnSpPr/>
                <p:nvPr/>
              </p:nvCxnSpPr>
              <p:spPr>
                <a:xfrm rot="16200000" flipH="1">
                  <a:off x="6851557" y="3915950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Прямая соединительная линия 273"/>
                <p:cNvCxnSpPr/>
                <p:nvPr/>
              </p:nvCxnSpPr>
              <p:spPr>
                <a:xfrm rot="16200000" flipH="1">
                  <a:off x="6864304" y="391595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Прямая соединительная линия 274"/>
                <p:cNvCxnSpPr/>
                <p:nvPr/>
              </p:nvCxnSpPr>
              <p:spPr>
                <a:xfrm rot="16200000" flipH="1">
                  <a:off x="6816978" y="3916187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Прямая соединительная линия 275"/>
                <p:cNvCxnSpPr/>
                <p:nvPr/>
              </p:nvCxnSpPr>
              <p:spPr>
                <a:xfrm rot="16200000" flipH="1">
                  <a:off x="6828303" y="3916134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Группа 516"/>
              <p:cNvGrpSpPr/>
              <p:nvPr/>
            </p:nvGrpSpPr>
            <p:grpSpPr>
              <a:xfrm>
                <a:off x="4423949" y="3656076"/>
                <a:ext cx="76139" cy="46800"/>
                <a:chOff x="4791075" y="3656076"/>
                <a:chExt cx="82458" cy="46800"/>
              </a:xfrm>
            </p:grpSpPr>
            <p:sp>
              <p:nvSpPr>
                <p:cNvPr id="278" name="Куб 277"/>
                <p:cNvSpPr>
                  <a:spLocks/>
                </p:cNvSpPr>
                <p:nvPr/>
              </p:nvSpPr>
              <p:spPr>
                <a:xfrm>
                  <a:off x="4791075" y="3656076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79" name="Прямая соединительная линия 278"/>
                <p:cNvCxnSpPr/>
                <p:nvPr/>
              </p:nvCxnSpPr>
              <p:spPr>
                <a:xfrm rot="16200000" flipH="1">
                  <a:off x="4816700" y="368335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Прямая соединительная линия 279"/>
                <p:cNvCxnSpPr/>
                <p:nvPr/>
              </p:nvCxnSpPr>
              <p:spPr>
                <a:xfrm rot="16200000" flipH="1">
                  <a:off x="4828168" y="368327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Прямая соединительная линия 280"/>
                <p:cNvCxnSpPr/>
                <p:nvPr/>
              </p:nvCxnSpPr>
              <p:spPr>
                <a:xfrm rot="16200000" flipH="1">
                  <a:off x="4841150" y="368327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Прямая соединительная линия 281"/>
                <p:cNvCxnSpPr/>
                <p:nvPr/>
              </p:nvCxnSpPr>
              <p:spPr>
                <a:xfrm rot="16200000" flipH="1">
                  <a:off x="4792951" y="368352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" name="Прямая соединительная линия 282"/>
                <p:cNvCxnSpPr/>
                <p:nvPr/>
              </p:nvCxnSpPr>
              <p:spPr>
                <a:xfrm rot="16200000" flipH="1">
                  <a:off x="4804485" y="368346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Группа 517"/>
              <p:cNvGrpSpPr/>
              <p:nvPr/>
            </p:nvGrpSpPr>
            <p:grpSpPr>
              <a:xfrm>
                <a:off x="5149547" y="3677309"/>
                <a:ext cx="74761" cy="45953"/>
                <a:chOff x="5576887" y="3677309"/>
                <a:chExt cx="80965" cy="45953"/>
              </a:xfrm>
            </p:grpSpPr>
            <p:sp>
              <p:nvSpPr>
                <p:cNvPr id="285" name="Куб 284"/>
                <p:cNvSpPr>
                  <a:spLocks/>
                </p:cNvSpPr>
                <p:nvPr/>
              </p:nvSpPr>
              <p:spPr>
                <a:xfrm>
                  <a:off x="5576887" y="3677309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86" name="Прямая соединительная линия 285"/>
                <p:cNvCxnSpPr/>
                <p:nvPr/>
              </p:nvCxnSpPr>
              <p:spPr>
                <a:xfrm rot="16200000" flipH="1">
                  <a:off x="5602048" y="3704095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" name="Прямая соединительная линия 286"/>
                <p:cNvCxnSpPr/>
                <p:nvPr/>
              </p:nvCxnSpPr>
              <p:spPr>
                <a:xfrm rot="16200000" flipH="1">
                  <a:off x="5613308" y="3704019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Прямая соединительная линия 287"/>
                <p:cNvCxnSpPr/>
                <p:nvPr/>
              </p:nvCxnSpPr>
              <p:spPr>
                <a:xfrm rot="16200000" flipH="1">
                  <a:off x="5626055" y="3704020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" name="Прямая соединительная линия 288"/>
                <p:cNvCxnSpPr/>
                <p:nvPr/>
              </p:nvCxnSpPr>
              <p:spPr>
                <a:xfrm rot="16200000" flipH="1">
                  <a:off x="5578729" y="3704256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" name="Прямая соединительная линия 289"/>
                <p:cNvCxnSpPr/>
                <p:nvPr/>
              </p:nvCxnSpPr>
              <p:spPr>
                <a:xfrm rot="16200000" flipH="1">
                  <a:off x="5590054" y="3704203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Группа 518"/>
              <p:cNvGrpSpPr/>
              <p:nvPr/>
            </p:nvGrpSpPr>
            <p:grpSpPr>
              <a:xfrm>
                <a:off x="6309279" y="4156606"/>
                <a:ext cx="74761" cy="45953"/>
                <a:chOff x="6824661" y="4160705"/>
                <a:chExt cx="80965" cy="45953"/>
              </a:xfrm>
            </p:grpSpPr>
            <p:sp>
              <p:nvSpPr>
                <p:cNvPr id="292" name="Куб 291"/>
                <p:cNvSpPr>
                  <a:spLocks/>
                </p:cNvSpPr>
                <p:nvPr/>
              </p:nvSpPr>
              <p:spPr>
                <a:xfrm>
                  <a:off x="6824661" y="4160705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93" name="Прямая соединительная линия 292"/>
                <p:cNvCxnSpPr/>
                <p:nvPr/>
              </p:nvCxnSpPr>
              <p:spPr>
                <a:xfrm rot="16200000" flipH="1">
                  <a:off x="6849822" y="418749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4" name="Прямая соединительная линия 293"/>
                <p:cNvCxnSpPr/>
                <p:nvPr/>
              </p:nvCxnSpPr>
              <p:spPr>
                <a:xfrm rot="16200000" flipH="1">
                  <a:off x="6861082" y="4187415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5" name="Прямая соединительная линия 294"/>
                <p:cNvCxnSpPr/>
                <p:nvPr/>
              </p:nvCxnSpPr>
              <p:spPr>
                <a:xfrm rot="16200000" flipH="1">
                  <a:off x="6873829" y="4187416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6" name="Прямая соединительная линия 295"/>
                <p:cNvCxnSpPr/>
                <p:nvPr/>
              </p:nvCxnSpPr>
              <p:spPr>
                <a:xfrm rot="16200000" flipH="1">
                  <a:off x="6826503" y="4187652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7" name="Прямая соединительная линия 296"/>
                <p:cNvCxnSpPr/>
                <p:nvPr/>
              </p:nvCxnSpPr>
              <p:spPr>
                <a:xfrm rot="16200000" flipH="1">
                  <a:off x="6837828" y="4187599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Группа 519"/>
              <p:cNvGrpSpPr/>
              <p:nvPr/>
            </p:nvGrpSpPr>
            <p:grpSpPr>
              <a:xfrm>
                <a:off x="5479364" y="3709282"/>
                <a:ext cx="74761" cy="45953"/>
                <a:chOff x="5934075" y="3679691"/>
                <a:chExt cx="80965" cy="45953"/>
              </a:xfrm>
            </p:grpSpPr>
            <p:sp>
              <p:nvSpPr>
                <p:cNvPr id="299" name="Куб 298"/>
                <p:cNvSpPr>
                  <a:spLocks/>
                </p:cNvSpPr>
                <p:nvPr/>
              </p:nvSpPr>
              <p:spPr>
                <a:xfrm>
                  <a:off x="5934075" y="3679691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00" name="Прямая соединительная линия 299"/>
                <p:cNvCxnSpPr/>
                <p:nvPr/>
              </p:nvCxnSpPr>
              <p:spPr>
                <a:xfrm rot="16200000" flipH="1">
                  <a:off x="5959236" y="3706477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1" name="Прямая соединительная линия 300"/>
                <p:cNvCxnSpPr/>
                <p:nvPr/>
              </p:nvCxnSpPr>
              <p:spPr>
                <a:xfrm rot="16200000" flipH="1">
                  <a:off x="5970496" y="370640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2" name="Прямая соединительная линия 301"/>
                <p:cNvCxnSpPr/>
                <p:nvPr/>
              </p:nvCxnSpPr>
              <p:spPr>
                <a:xfrm rot="16200000" flipH="1">
                  <a:off x="5983243" y="3706402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3" name="Прямая соединительная линия 302"/>
                <p:cNvCxnSpPr/>
                <p:nvPr/>
              </p:nvCxnSpPr>
              <p:spPr>
                <a:xfrm rot="16200000" flipH="1">
                  <a:off x="5935917" y="3706638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4" name="Прямая соединительная линия 303"/>
                <p:cNvCxnSpPr/>
                <p:nvPr/>
              </p:nvCxnSpPr>
              <p:spPr>
                <a:xfrm rot="16200000" flipH="1">
                  <a:off x="5947242" y="3706585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" name="Группа 523"/>
              <p:cNvGrpSpPr/>
              <p:nvPr/>
            </p:nvGrpSpPr>
            <p:grpSpPr>
              <a:xfrm>
                <a:off x="2900192" y="3315562"/>
                <a:ext cx="76139" cy="46800"/>
                <a:chOff x="3140867" y="3315562"/>
                <a:chExt cx="82458" cy="46800"/>
              </a:xfrm>
            </p:grpSpPr>
            <p:sp>
              <p:nvSpPr>
                <p:cNvPr id="327" name="Куб 326"/>
                <p:cNvSpPr>
                  <a:spLocks/>
                </p:cNvSpPr>
                <p:nvPr/>
              </p:nvSpPr>
              <p:spPr>
                <a:xfrm>
                  <a:off x="3140867" y="331556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28" name="Прямая соединительная линия 327"/>
                <p:cNvCxnSpPr/>
                <p:nvPr/>
              </p:nvCxnSpPr>
              <p:spPr>
                <a:xfrm rot="16200000" flipH="1">
                  <a:off x="3166492" y="334284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Прямая соединительная линия 328"/>
                <p:cNvCxnSpPr/>
                <p:nvPr/>
              </p:nvCxnSpPr>
              <p:spPr>
                <a:xfrm rot="16200000" flipH="1">
                  <a:off x="3177960" y="334276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Прямая соединительная линия 329"/>
                <p:cNvCxnSpPr/>
                <p:nvPr/>
              </p:nvCxnSpPr>
              <p:spPr>
                <a:xfrm rot="16200000" flipH="1">
                  <a:off x="3190942" y="33427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1" name="Прямая соединительная линия 330"/>
                <p:cNvCxnSpPr/>
                <p:nvPr/>
              </p:nvCxnSpPr>
              <p:spPr>
                <a:xfrm rot="16200000" flipH="1">
                  <a:off x="3142743" y="334300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Прямая соединительная линия 331"/>
                <p:cNvCxnSpPr/>
                <p:nvPr/>
              </p:nvCxnSpPr>
              <p:spPr>
                <a:xfrm rot="16200000" flipH="1">
                  <a:off x="3154277" y="334295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Группа 525"/>
              <p:cNvGrpSpPr/>
              <p:nvPr/>
            </p:nvGrpSpPr>
            <p:grpSpPr>
              <a:xfrm>
                <a:off x="2946369" y="4201389"/>
                <a:ext cx="76139" cy="46800"/>
                <a:chOff x="3190876" y="4201389"/>
                <a:chExt cx="82458" cy="46800"/>
              </a:xfrm>
            </p:grpSpPr>
            <p:sp>
              <p:nvSpPr>
                <p:cNvPr id="341" name="Куб 340"/>
                <p:cNvSpPr>
                  <a:spLocks/>
                </p:cNvSpPr>
                <p:nvPr/>
              </p:nvSpPr>
              <p:spPr>
                <a:xfrm>
                  <a:off x="3190876" y="4201389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42" name="Прямая соединительная линия 341"/>
                <p:cNvCxnSpPr/>
                <p:nvPr/>
              </p:nvCxnSpPr>
              <p:spPr>
                <a:xfrm rot="16200000" flipH="1">
                  <a:off x="3216501" y="422866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Прямая соединительная линия 342"/>
                <p:cNvCxnSpPr/>
                <p:nvPr/>
              </p:nvCxnSpPr>
              <p:spPr>
                <a:xfrm rot="16200000" flipH="1">
                  <a:off x="3227969" y="422859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Прямая соединительная линия 343"/>
                <p:cNvCxnSpPr/>
                <p:nvPr/>
              </p:nvCxnSpPr>
              <p:spPr>
                <a:xfrm rot="16200000" flipH="1">
                  <a:off x="3240951" y="422859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5" name="Прямая соединительная линия 344"/>
                <p:cNvCxnSpPr/>
                <p:nvPr/>
              </p:nvCxnSpPr>
              <p:spPr>
                <a:xfrm rot="16200000" flipH="1">
                  <a:off x="3192752" y="422883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6" name="Прямая соединительная линия 345"/>
                <p:cNvCxnSpPr/>
                <p:nvPr/>
              </p:nvCxnSpPr>
              <p:spPr>
                <a:xfrm rot="16200000" flipH="1">
                  <a:off x="3204286" y="422877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Группа 526"/>
              <p:cNvGrpSpPr/>
              <p:nvPr/>
            </p:nvGrpSpPr>
            <p:grpSpPr>
              <a:xfrm>
                <a:off x="2939773" y="3106012"/>
                <a:ext cx="76139" cy="46800"/>
                <a:chOff x="3183733" y="3106012"/>
                <a:chExt cx="82458" cy="46800"/>
              </a:xfrm>
            </p:grpSpPr>
            <p:sp>
              <p:nvSpPr>
                <p:cNvPr id="348" name="Куб 347"/>
                <p:cNvSpPr>
                  <a:spLocks/>
                </p:cNvSpPr>
                <p:nvPr/>
              </p:nvSpPr>
              <p:spPr>
                <a:xfrm>
                  <a:off x="3183733" y="310601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49" name="Прямая соединительная линия 348"/>
                <p:cNvCxnSpPr/>
                <p:nvPr/>
              </p:nvCxnSpPr>
              <p:spPr>
                <a:xfrm rot="16200000" flipH="1">
                  <a:off x="3209358" y="313329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0" name="Прямая соединительная линия 349"/>
                <p:cNvCxnSpPr/>
                <p:nvPr/>
              </p:nvCxnSpPr>
              <p:spPr>
                <a:xfrm rot="16200000" flipH="1">
                  <a:off x="3220826" y="313321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1" name="Прямая соединительная линия 350"/>
                <p:cNvCxnSpPr/>
                <p:nvPr/>
              </p:nvCxnSpPr>
              <p:spPr>
                <a:xfrm rot="16200000" flipH="1">
                  <a:off x="3233808" y="313321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2" name="Прямая соединительная линия 351"/>
                <p:cNvCxnSpPr/>
                <p:nvPr/>
              </p:nvCxnSpPr>
              <p:spPr>
                <a:xfrm rot="16200000" flipH="1">
                  <a:off x="3185609" y="313345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3" name="Прямая соединительная линия 352"/>
                <p:cNvCxnSpPr/>
                <p:nvPr/>
              </p:nvCxnSpPr>
              <p:spPr>
                <a:xfrm rot="16200000" flipH="1">
                  <a:off x="3197143" y="313340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Группа 528"/>
              <p:cNvGrpSpPr/>
              <p:nvPr/>
            </p:nvGrpSpPr>
            <p:grpSpPr>
              <a:xfrm>
                <a:off x="3342150" y="3286987"/>
                <a:ext cx="76139" cy="46800"/>
                <a:chOff x="3619502" y="3286987"/>
                <a:chExt cx="82458" cy="46800"/>
              </a:xfrm>
            </p:grpSpPr>
            <p:sp>
              <p:nvSpPr>
                <p:cNvPr id="362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63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4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5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6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7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Группа 529"/>
              <p:cNvGrpSpPr/>
              <p:nvPr/>
            </p:nvGrpSpPr>
            <p:grpSpPr>
              <a:xfrm>
                <a:off x="3511454" y="3453816"/>
                <a:ext cx="76139" cy="46800"/>
                <a:chOff x="3802856" y="3477488"/>
                <a:chExt cx="82458" cy="46800"/>
              </a:xfrm>
            </p:grpSpPr>
            <p:sp>
              <p:nvSpPr>
                <p:cNvPr id="369" name="Куб 368"/>
                <p:cNvSpPr>
                  <a:spLocks/>
                </p:cNvSpPr>
                <p:nvPr/>
              </p:nvSpPr>
              <p:spPr>
                <a:xfrm>
                  <a:off x="3802856" y="3477488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70" name="Прямая соединительная линия 369"/>
                <p:cNvCxnSpPr/>
                <p:nvPr/>
              </p:nvCxnSpPr>
              <p:spPr>
                <a:xfrm rot="16200000" flipH="1">
                  <a:off x="3828481" y="350476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1" name="Прямая соединительная линия 370"/>
                <p:cNvCxnSpPr/>
                <p:nvPr/>
              </p:nvCxnSpPr>
              <p:spPr>
                <a:xfrm rot="16200000" flipH="1">
                  <a:off x="3839949" y="350469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Прямая соединительная линия 371"/>
                <p:cNvCxnSpPr/>
                <p:nvPr/>
              </p:nvCxnSpPr>
              <p:spPr>
                <a:xfrm rot="16200000" flipH="1">
                  <a:off x="3852931" y="350469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3" name="Прямая соединительная линия 372"/>
                <p:cNvCxnSpPr/>
                <p:nvPr/>
              </p:nvCxnSpPr>
              <p:spPr>
                <a:xfrm rot="16200000" flipH="1">
                  <a:off x="3804732" y="350493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4" name="Прямая соединительная линия 373"/>
                <p:cNvCxnSpPr/>
                <p:nvPr/>
              </p:nvCxnSpPr>
              <p:spPr>
                <a:xfrm rot="16200000" flipH="1">
                  <a:off x="3816266" y="350487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" name="Группа 530"/>
              <p:cNvGrpSpPr/>
              <p:nvPr/>
            </p:nvGrpSpPr>
            <p:grpSpPr>
              <a:xfrm>
                <a:off x="2850441" y="4151441"/>
                <a:ext cx="76139" cy="46800"/>
                <a:chOff x="2952744" y="4070418"/>
                <a:chExt cx="82457" cy="46800"/>
              </a:xfrm>
            </p:grpSpPr>
            <p:sp>
              <p:nvSpPr>
                <p:cNvPr id="376" name="Куб 375"/>
                <p:cNvSpPr>
                  <a:spLocks/>
                </p:cNvSpPr>
                <p:nvPr/>
              </p:nvSpPr>
              <p:spPr>
                <a:xfrm>
                  <a:off x="2952744" y="4070418"/>
                  <a:ext cx="82457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77" name="Прямая соединительная линия 376"/>
                <p:cNvCxnSpPr/>
                <p:nvPr/>
              </p:nvCxnSpPr>
              <p:spPr>
                <a:xfrm rot="16200000" flipH="1">
                  <a:off x="2978369" y="409769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8" name="Прямая соединительная линия 377"/>
                <p:cNvCxnSpPr/>
                <p:nvPr/>
              </p:nvCxnSpPr>
              <p:spPr>
                <a:xfrm rot="16200000" flipH="1">
                  <a:off x="2989836" y="409762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9" name="Прямая соединительная линия 378"/>
                <p:cNvCxnSpPr/>
                <p:nvPr/>
              </p:nvCxnSpPr>
              <p:spPr>
                <a:xfrm rot="16200000" flipH="1">
                  <a:off x="3002818" y="409762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Прямая соединительная линия 379"/>
                <p:cNvCxnSpPr/>
                <p:nvPr/>
              </p:nvCxnSpPr>
              <p:spPr>
                <a:xfrm rot="16200000" flipH="1">
                  <a:off x="2954620" y="409786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1" name="Прямая соединительная линия 380"/>
                <p:cNvCxnSpPr/>
                <p:nvPr/>
              </p:nvCxnSpPr>
              <p:spPr>
                <a:xfrm rot="16200000" flipH="1">
                  <a:off x="2966154" y="409780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Группа 531"/>
              <p:cNvGrpSpPr/>
              <p:nvPr/>
            </p:nvGrpSpPr>
            <p:grpSpPr>
              <a:xfrm>
                <a:off x="2987255" y="4002424"/>
                <a:ext cx="76139" cy="46800"/>
                <a:chOff x="3169445" y="4010888"/>
                <a:chExt cx="82458" cy="46800"/>
              </a:xfrm>
            </p:grpSpPr>
            <p:sp>
              <p:nvSpPr>
                <p:cNvPr id="383" name="Куб 382"/>
                <p:cNvSpPr>
                  <a:spLocks/>
                </p:cNvSpPr>
                <p:nvPr/>
              </p:nvSpPr>
              <p:spPr>
                <a:xfrm>
                  <a:off x="3169445" y="4010888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84" name="Прямая соединительная линия 383"/>
                <p:cNvCxnSpPr/>
                <p:nvPr/>
              </p:nvCxnSpPr>
              <p:spPr>
                <a:xfrm rot="16200000" flipH="1">
                  <a:off x="3195070" y="403816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Прямая соединительная линия 384"/>
                <p:cNvCxnSpPr/>
                <p:nvPr/>
              </p:nvCxnSpPr>
              <p:spPr>
                <a:xfrm rot="16200000" flipH="1">
                  <a:off x="3206538" y="403809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6" name="Прямая соединительная линия 385"/>
                <p:cNvCxnSpPr/>
                <p:nvPr/>
              </p:nvCxnSpPr>
              <p:spPr>
                <a:xfrm rot="16200000" flipH="1">
                  <a:off x="3219520" y="403809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7" name="Прямая соединительная линия 386"/>
                <p:cNvCxnSpPr/>
                <p:nvPr/>
              </p:nvCxnSpPr>
              <p:spPr>
                <a:xfrm rot="16200000" flipH="1">
                  <a:off x="3171321" y="403833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8" name="Прямая соединительная линия 387"/>
                <p:cNvCxnSpPr/>
                <p:nvPr/>
              </p:nvCxnSpPr>
              <p:spPr>
                <a:xfrm rot="16200000" flipH="1">
                  <a:off x="3182855" y="403827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Группа 536"/>
              <p:cNvGrpSpPr/>
              <p:nvPr/>
            </p:nvGrpSpPr>
            <p:grpSpPr>
              <a:xfrm>
                <a:off x="2980238" y="3781838"/>
                <a:ext cx="76139" cy="46800"/>
                <a:chOff x="3143251" y="3803719"/>
                <a:chExt cx="82457" cy="46800"/>
              </a:xfrm>
            </p:grpSpPr>
            <p:sp>
              <p:nvSpPr>
                <p:cNvPr id="418" name="Куб 417"/>
                <p:cNvSpPr>
                  <a:spLocks/>
                </p:cNvSpPr>
                <p:nvPr/>
              </p:nvSpPr>
              <p:spPr>
                <a:xfrm>
                  <a:off x="3143251" y="3803719"/>
                  <a:ext cx="82457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19" name="Прямая соединительная линия 418"/>
                <p:cNvCxnSpPr/>
                <p:nvPr/>
              </p:nvCxnSpPr>
              <p:spPr>
                <a:xfrm rot="16200000" flipH="1">
                  <a:off x="3168876" y="383099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0" name="Прямая соединительная линия 419"/>
                <p:cNvCxnSpPr/>
                <p:nvPr/>
              </p:nvCxnSpPr>
              <p:spPr>
                <a:xfrm rot="16200000" flipH="1">
                  <a:off x="3180343" y="383092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1" name="Прямая соединительная линия 420"/>
                <p:cNvCxnSpPr/>
                <p:nvPr/>
              </p:nvCxnSpPr>
              <p:spPr>
                <a:xfrm rot="16200000" flipH="1">
                  <a:off x="3193325" y="383092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2" name="Прямая соединительная линия 421"/>
                <p:cNvCxnSpPr/>
                <p:nvPr/>
              </p:nvCxnSpPr>
              <p:spPr>
                <a:xfrm rot="16200000" flipH="1">
                  <a:off x="3145127" y="383116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3" name="Прямая соединительная линия 422"/>
                <p:cNvCxnSpPr/>
                <p:nvPr/>
              </p:nvCxnSpPr>
              <p:spPr>
                <a:xfrm rot="16200000" flipH="1">
                  <a:off x="3156661" y="383110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Группа 537"/>
              <p:cNvGrpSpPr/>
              <p:nvPr/>
            </p:nvGrpSpPr>
            <p:grpSpPr>
              <a:xfrm>
                <a:off x="2761404" y="2764013"/>
                <a:ext cx="76139" cy="46800"/>
                <a:chOff x="3078957" y="2636906"/>
                <a:chExt cx="82458" cy="46800"/>
              </a:xfrm>
            </p:grpSpPr>
            <p:sp>
              <p:nvSpPr>
                <p:cNvPr id="432" name="Куб 431"/>
                <p:cNvSpPr>
                  <a:spLocks/>
                </p:cNvSpPr>
                <p:nvPr/>
              </p:nvSpPr>
              <p:spPr>
                <a:xfrm>
                  <a:off x="3078957" y="2636906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33" name="Прямая соединительная линия 432"/>
                <p:cNvCxnSpPr/>
                <p:nvPr/>
              </p:nvCxnSpPr>
              <p:spPr>
                <a:xfrm rot="16200000" flipH="1">
                  <a:off x="3104582" y="266418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4" name="Прямая соединительная линия 433"/>
                <p:cNvCxnSpPr/>
                <p:nvPr/>
              </p:nvCxnSpPr>
              <p:spPr>
                <a:xfrm rot="16200000" flipH="1">
                  <a:off x="3116050" y="266410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5" name="Прямая соединительная линия 434"/>
                <p:cNvCxnSpPr/>
                <p:nvPr/>
              </p:nvCxnSpPr>
              <p:spPr>
                <a:xfrm rot="16200000" flipH="1">
                  <a:off x="3126371" y="266410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6" name="Прямая соединительная линия 435"/>
                <p:cNvCxnSpPr/>
                <p:nvPr/>
              </p:nvCxnSpPr>
              <p:spPr>
                <a:xfrm rot="16200000" flipH="1">
                  <a:off x="3080833" y="266435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7" name="Прямая соединительная линия 436"/>
                <p:cNvCxnSpPr/>
                <p:nvPr/>
              </p:nvCxnSpPr>
              <p:spPr>
                <a:xfrm rot="16200000" flipH="1">
                  <a:off x="3092367" y="266429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Группа 541"/>
              <p:cNvGrpSpPr/>
              <p:nvPr/>
            </p:nvGrpSpPr>
            <p:grpSpPr>
              <a:xfrm>
                <a:off x="2684712" y="3963262"/>
                <a:ext cx="76139" cy="46800"/>
                <a:chOff x="2907506" y="3963262"/>
                <a:chExt cx="82458" cy="46800"/>
              </a:xfrm>
            </p:grpSpPr>
            <p:sp>
              <p:nvSpPr>
                <p:cNvPr id="460" name="Куб 459"/>
                <p:cNvSpPr>
                  <a:spLocks/>
                </p:cNvSpPr>
                <p:nvPr/>
              </p:nvSpPr>
              <p:spPr>
                <a:xfrm>
                  <a:off x="2907506" y="396326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61" name="Прямая соединительная линия 460"/>
                <p:cNvCxnSpPr/>
                <p:nvPr/>
              </p:nvCxnSpPr>
              <p:spPr>
                <a:xfrm rot="16200000" flipH="1">
                  <a:off x="2933131" y="399054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2" name="Прямая соединительная линия 461"/>
                <p:cNvCxnSpPr/>
                <p:nvPr/>
              </p:nvCxnSpPr>
              <p:spPr>
                <a:xfrm rot="16200000" flipH="1">
                  <a:off x="2944599" y="399046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3" name="Прямая соединительная линия 462"/>
                <p:cNvCxnSpPr/>
                <p:nvPr/>
              </p:nvCxnSpPr>
              <p:spPr>
                <a:xfrm rot="16200000" flipH="1">
                  <a:off x="2957581" y="39904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4" name="Прямая соединительная линия 463"/>
                <p:cNvCxnSpPr/>
                <p:nvPr/>
              </p:nvCxnSpPr>
              <p:spPr>
                <a:xfrm rot="16200000" flipH="1">
                  <a:off x="2909382" y="399070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5" name="Прямая соединительная линия 464"/>
                <p:cNvCxnSpPr/>
                <p:nvPr/>
              </p:nvCxnSpPr>
              <p:spPr>
                <a:xfrm rot="16200000" flipH="1">
                  <a:off x="2920916" y="399065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Группа 542"/>
              <p:cNvGrpSpPr/>
              <p:nvPr/>
            </p:nvGrpSpPr>
            <p:grpSpPr>
              <a:xfrm>
                <a:off x="3999584" y="3410812"/>
                <a:ext cx="76139" cy="46800"/>
                <a:chOff x="4331494" y="3410812"/>
                <a:chExt cx="82458" cy="46800"/>
              </a:xfrm>
            </p:grpSpPr>
            <p:sp>
              <p:nvSpPr>
                <p:cNvPr id="467" name="Куб 466"/>
                <p:cNvSpPr>
                  <a:spLocks/>
                </p:cNvSpPr>
                <p:nvPr/>
              </p:nvSpPr>
              <p:spPr>
                <a:xfrm>
                  <a:off x="4331494" y="341081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68" name="Прямая соединительная линия 467"/>
                <p:cNvCxnSpPr/>
                <p:nvPr/>
              </p:nvCxnSpPr>
              <p:spPr>
                <a:xfrm rot="16200000" flipH="1">
                  <a:off x="4357119" y="343809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9" name="Прямая соединительная линия 468"/>
                <p:cNvCxnSpPr/>
                <p:nvPr/>
              </p:nvCxnSpPr>
              <p:spPr>
                <a:xfrm rot="16200000" flipH="1">
                  <a:off x="4368587" y="343801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0" name="Прямая соединительная линия 469"/>
                <p:cNvCxnSpPr/>
                <p:nvPr/>
              </p:nvCxnSpPr>
              <p:spPr>
                <a:xfrm rot="16200000" flipH="1">
                  <a:off x="4381569" y="343801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1" name="Прямая соединительная линия 470"/>
                <p:cNvCxnSpPr/>
                <p:nvPr/>
              </p:nvCxnSpPr>
              <p:spPr>
                <a:xfrm rot="16200000" flipH="1">
                  <a:off x="4333370" y="343825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2" name="Прямая соединительная линия 471"/>
                <p:cNvCxnSpPr/>
                <p:nvPr/>
              </p:nvCxnSpPr>
              <p:spPr>
                <a:xfrm rot="16200000" flipH="1">
                  <a:off x="4344904" y="343820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Группа 543"/>
              <p:cNvGrpSpPr/>
              <p:nvPr/>
            </p:nvGrpSpPr>
            <p:grpSpPr>
              <a:xfrm>
                <a:off x="3707147" y="3406050"/>
                <a:ext cx="76139" cy="46800"/>
                <a:chOff x="4014788" y="3406050"/>
                <a:chExt cx="82458" cy="46800"/>
              </a:xfrm>
            </p:grpSpPr>
            <p:sp>
              <p:nvSpPr>
                <p:cNvPr id="474" name="Куб 473"/>
                <p:cNvSpPr>
                  <a:spLocks/>
                </p:cNvSpPr>
                <p:nvPr/>
              </p:nvSpPr>
              <p:spPr>
                <a:xfrm>
                  <a:off x="4014788" y="3406050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75" name="Прямая соединительная линия 474"/>
                <p:cNvCxnSpPr/>
                <p:nvPr/>
              </p:nvCxnSpPr>
              <p:spPr>
                <a:xfrm rot="16200000" flipH="1">
                  <a:off x="4040413" y="343333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6" name="Прямая соединительная линия 475"/>
                <p:cNvCxnSpPr/>
                <p:nvPr/>
              </p:nvCxnSpPr>
              <p:spPr>
                <a:xfrm rot="16200000" flipH="1">
                  <a:off x="4051881" y="343325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7" name="Прямая соединительная линия 476"/>
                <p:cNvCxnSpPr/>
                <p:nvPr/>
              </p:nvCxnSpPr>
              <p:spPr>
                <a:xfrm rot="16200000" flipH="1">
                  <a:off x="4064863" y="34332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8" name="Прямая соединительная линия 477"/>
                <p:cNvCxnSpPr/>
                <p:nvPr/>
              </p:nvCxnSpPr>
              <p:spPr>
                <a:xfrm rot="16200000" flipH="1">
                  <a:off x="4016664" y="343349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9" name="Прямая соединительная линия 478"/>
                <p:cNvCxnSpPr/>
                <p:nvPr/>
              </p:nvCxnSpPr>
              <p:spPr>
                <a:xfrm rot="16200000" flipH="1">
                  <a:off x="4028198" y="343344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Группа 546"/>
              <p:cNvGrpSpPr/>
              <p:nvPr/>
            </p:nvGrpSpPr>
            <p:grpSpPr>
              <a:xfrm>
                <a:off x="2674814" y="3780250"/>
                <a:ext cx="76139" cy="46800"/>
                <a:chOff x="2981325" y="3851350"/>
                <a:chExt cx="82458" cy="46800"/>
              </a:xfrm>
            </p:grpSpPr>
            <p:sp>
              <p:nvSpPr>
                <p:cNvPr id="425" name="Куб 424"/>
                <p:cNvSpPr>
                  <a:spLocks/>
                </p:cNvSpPr>
                <p:nvPr/>
              </p:nvSpPr>
              <p:spPr>
                <a:xfrm>
                  <a:off x="2981325" y="3851350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26" name="Прямая соединительная линия 425"/>
                <p:cNvCxnSpPr/>
                <p:nvPr/>
              </p:nvCxnSpPr>
              <p:spPr>
                <a:xfrm rot="16200000" flipH="1">
                  <a:off x="3006950" y="387863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7" name="Прямая соединительная линия 426"/>
                <p:cNvCxnSpPr/>
                <p:nvPr/>
              </p:nvCxnSpPr>
              <p:spPr>
                <a:xfrm rot="16200000" flipH="1">
                  <a:off x="3018418" y="387855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8" name="Прямая соединительная линия 427"/>
                <p:cNvCxnSpPr/>
                <p:nvPr/>
              </p:nvCxnSpPr>
              <p:spPr>
                <a:xfrm rot="16200000" flipH="1">
                  <a:off x="3031400" y="38785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9" name="Прямая соединительная линия 428"/>
                <p:cNvCxnSpPr/>
                <p:nvPr/>
              </p:nvCxnSpPr>
              <p:spPr>
                <a:xfrm rot="16200000" flipH="1">
                  <a:off x="2983201" y="387879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0" name="Прямая соединительная линия 429"/>
                <p:cNvCxnSpPr/>
                <p:nvPr/>
              </p:nvCxnSpPr>
              <p:spPr>
                <a:xfrm rot="16200000" flipH="1">
                  <a:off x="2994735" y="387874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Группа 547"/>
              <p:cNvGrpSpPr/>
              <p:nvPr/>
            </p:nvGrpSpPr>
            <p:grpSpPr>
              <a:xfrm>
                <a:off x="2651319" y="3423426"/>
                <a:ext cx="76139" cy="46800"/>
                <a:chOff x="2905127" y="3465582"/>
                <a:chExt cx="82458" cy="46800"/>
              </a:xfrm>
            </p:grpSpPr>
            <p:sp>
              <p:nvSpPr>
                <p:cNvPr id="502" name="Куб 501"/>
                <p:cNvSpPr>
                  <a:spLocks/>
                </p:cNvSpPr>
                <p:nvPr/>
              </p:nvSpPr>
              <p:spPr>
                <a:xfrm>
                  <a:off x="2905127" y="346558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03" name="Прямая соединительная линия 502"/>
                <p:cNvCxnSpPr/>
                <p:nvPr/>
              </p:nvCxnSpPr>
              <p:spPr>
                <a:xfrm rot="16200000" flipH="1">
                  <a:off x="2930752" y="349286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4" name="Прямая соединительная линия 503"/>
                <p:cNvCxnSpPr/>
                <p:nvPr/>
              </p:nvCxnSpPr>
              <p:spPr>
                <a:xfrm rot="16200000" flipH="1">
                  <a:off x="2942220" y="349278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5" name="Прямая соединительная линия 504"/>
                <p:cNvCxnSpPr/>
                <p:nvPr/>
              </p:nvCxnSpPr>
              <p:spPr>
                <a:xfrm rot="16200000" flipH="1">
                  <a:off x="2955202" y="349278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6" name="Прямая соединительная линия 505"/>
                <p:cNvCxnSpPr/>
                <p:nvPr/>
              </p:nvCxnSpPr>
              <p:spPr>
                <a:xfrm rot="16200000" flipH="1">
                  <a:off x="2907003" y="349302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7" name="Прямая соединительная линия 506"/>
                <p:cNvCxnSpPr/>
                <p:nvPr/>
              </p:nvCxnSpPr>
              <p:spPr>
                <a:xfrm rot="16200000" flipH="1">
                  <a:off x="2918537" y="349297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Группа 458"/>
              <p:cNvGrpSpPr/>
              <p:nvPr/>
            </p:nvGrpSpPr>
            <p:grpSpPr>
              <a:xfrm>
                <a:off x="2550586" y="3461613"/>
                <a:ext cx="76139" cy="46800"/>
                <a:chOff x="2686049" y="3315563"/>
                <a:chExt cx="82458" cy="46800"/>
              </a:xfrm>
            </p:grpSpPr>
            <p:sp>
              <p:nvSpPr>
                <p:cNvPr id="466" name="Куб 465"/>
                <p:cNvSpPr>
                  <a:spLocks/>
                </p:cNvSpPr>
                <p:nvPr/>
              </p:nvSpPr>
              <p:spPr>
                <a:xfrm>
                  <a:off x="2686049" y="3315563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73" name="Прямая соединительная линия 472"/>
                <p:cNvCxnSpPr/>
                <p:nvPr/>
              </p:nvCxnSpPr>
              <p:spPr>
                <a:xfrm rot="16200000" flipH="1">
                  <a:off x="2711674" y="334284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0" name="Прямая соединительная линия 479"/>
                <p:cNvCxnSpPr/>
                <p:nvPr/>
              </p:nvCxnSpPr>
              <p:spPr>
                <a:xfrm rot="16200000" flipH="1">
                  <a:off x="2723142" y="33427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7" name="Прямая соединительная линия 486"/>
                <p:cNvCxnSpPr/>
                <p:nvPr/>
              </p:nvCxnSpPr>
              <p:spPr>
                <a:xfrm rot="16200000" flipH="1">
                  <a:off x="2736124" y="334276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1" name="Прямая соединительная линия 500"/>
                <p:cNvCxnSpPr/>
                <p:nvPr/>
              </p:nvCxnSpPr>
              <p:spPr>
                <a:xfrm rot="16200000" flipH="1">
                  <a:off x="2687925" y="334300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8" name="Прямая соединительная линия 507"/>
                <p:cNvCxnSpPr/>
                <p:nvPr/>
              </p:nvCxnSpPr>
              <p:spPr>
                <a:xfrm rot="16200000" flipH="1">
                  <a:off x="2699459" y="33429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Группа 550"/>
              <p:cNvGrpSpPr/>
              <p:nvPr/>
            </p:nvGrpSpPr>
            <p:grpSpPr>
              <a:xfrm>
                <a:off x="2642941" y="3357017"/>
                <a:ext cx="76139" cy="46800"/>
                <a:chOff x="2686049" y="3315563"/>
                <a:chExt cx="82458" cy="46800"/>
              </a:xfrm>
            </p:grpSpPr>
            <p:sp>
              <p:nvSpPr>
                <p:cNvPr id="552" name="Куб 551"/>
                <p:cNvSpPr>
                  <a:spLocks/>
                </p:cNvSpPr>
                <p:nvPr/>
              </p:nvSpPr>
              <p:spPr>
                <a:xfrm>
                  <a:off x="2686049" y="3315563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53" name="Прямая соединительная линия 552"/>
                <p:cNvCxnSpPr/>
                <p:nvPr/>
              </p:nvCxnSpPr>
              <p:spPr>
                <a:xfrm rot="16200000" flipH="1">
                  <a:off x="2711674" y="334284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4" name="Прямая соединительная линия 553"/>
                <p:cNvCxnSpPr/>
                <p:nvPr/>
              </p:nvCxnSpPr>
              <p:spPr>
                <a:xfrm rot="16200000" flipH="1">
                  <a:off x="2723142" y="33427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5" name="Прямая соединительная линия 554"/>
                <p:cNvCxnSpPr/>
                <p:nvPr/>
              </p:nvCxnSpPr>
              <p:spPr>
                <a:xfrm rot="16200000" flipH="1">
                  <a:off x="2736124" y="334276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6" name="Прямая соединительная линия 555"/>
                <p:cNvCxnSpPr/>
                <p:nvPr/>
              </p:nvCxnSpPr>
              <p:spPr>
                <a:xfrm rot="16200000" flipH="1">
                  <a:off x="2687925" y="334300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7" name="Прямая соединительная линия 556"/>
                <p:cNvCxnSpPr/>
                <p:nvPr/>
              </p:nvCxnSpPr>
              <p:spPr>
                <a:xfrm rot="16200000" flipH="1">
                  <a:off x="2699459" y="33429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" name="Группа 528"/>
              <p:cNvGrpSpPr/>
              <p:nvPr/>
            </p:nvGrpSpPr>
            <p:grpSpPr>
              <a:xfrm>
                <a:off x="3838466" y="3728244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35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36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7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8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9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0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" name="Группа 528"/>
              <p:cNvGrpSpPr/>
              <p:nvPr/>
            </p:nvGrpSpPr>
            <p:grpSpPr>
              <a:xfrm>
                <a:off x="4363849" y="3829987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62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63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4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5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6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7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" name="Группа 528"/>
              <p:cNvGrpSpPr/>
              <p:nvPr/>
            </p:nvGrpSpPr>
            <p:grpSpPr>
              <a:xfrm>
                <a:off x="4436942" y="3886200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69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70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2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3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4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" name="Группа 528"/>
              <p:cNvGrpSpPr/>
              <p:nvPr/>
            </p:nvGrpSpPr>
            <p:grpSpPr>
              <a:xfrm>
                <a:off x="3964032" y="3925978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76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77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8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9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1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1" name="Группа 528"/>
              <p:cNvGrpSpPr/>
              <p:nvPr/>
            </p:nvGrpSpPr>
            <p:grpSpPr>
              <a:xfrm>
                <a:off x="4019373" y="4162945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83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84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5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6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7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6" name="Группа 528"/>
              <p:cNvGrpSpPr/>
              <p:nvPr/>
            </p:nvGrpSpPr>
            <p:grpSpPr>
              <a:xfrm>
                <a:off x="3844856" y="4243419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90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91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3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4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5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7" name="Группа 528"/>
              <p:cNvGrpSpPr/>
              <p:nvPr/>
            </p:nvGrpSpPr>
            <p:grpSpPr>
              <a:xfrm>
                <a:off x="3634387" y="4090085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97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98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9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0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1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2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8" name="Группа 528"/>
              <p:cNvGrpSpPr/>
              <p:nvPr/>
            </p:nvGrpSpPr>
            <p:grpSpPr>
              <a:xfrm>
                <a:off x="3176592" y="3786187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618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619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0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1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2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3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9" name="Группа 547"/>
              <p:cNvGrpSpPr/>
              <p:nvPr/>
            </p:nvGrpSpPr>
            <p:grpSpPr>
              <a:xfrm>
                <a:off x="2639300" y="3486975"/>
                <a:ext cx="76139" cy="46800"/>
                <a:chOff x="2905127" y="3465582"/>
                <a:chExt cx="82458" cy="46800"/>
              </a:xfrm>
            </p:grpSpPr>
            <p:sp>
              <p:nvSpPr>
                <p:cNvPr id="625" name="Куб 501"/>
                <p:cNvSpPr>
                  <a:spLocks/>
                </p:cNvSpPr>
                <p:nvPr/>
              </p:nvSpPr>
              <p:spPr>
                <a:xfrm>
                  <a:off x="2905127" y="346558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626" name="Прямая соединительная линия 502"/>
                <p:cNvCxnSpPr/>
                <p:nvPr/>
              </p:nvCxnSpPr>
              <p:spPr>
                <a:xfrm rot="16200000" flipH="1">
                  <a:off x="2930752" y="349286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7" name="Прямая соединительная линия 503"/>
                <p:cNvCxnSpPr/>
                <p:nvPr/>
              </p:nvCxnSpPr>
              <p:spPr>
                <a:xfrm rot="16200000" flipH="1">
                  <a:off x="2942220" y="349278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8" name="Прямая соединительная линия 504"/>
                <p:cNvCxnSpPr/>
                <p:nvPr/>
              </p:nvCxnSpPr>
              <p:spPr>
                <a:xfrm rot="16200000" flipH="1">
                  <a:off x="2955202" y="349278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Прямая соединительная линия 505"/>
                <p:cNvCxnSpPr/>
                <p:nvPr/>
              </p:nvCxnSpPr>
              <p:spPr>
                <a:xfrm rot="16200000" flipH="1">
                  <a:off x="2907003" y="349302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0" name="Прямая соединительная линия 506"/>
                <p:cNvCxnSpPr/>
                <p:nvPr/>
              </p:nvCxnSpPr>
              <p:spPr>
                <a:xfrm rot="16200000" flipH="1">
                  <a:off x="2918537" y="349297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0" name="Группа 496"/>
              <p:cNvGrpSpPr/>
              <p:nvPr/>
            </p:nvGrpSpPr>
            <p:grpSpPr>
              <a:xfrm>
                <a:off x="2556976" y="3331950"/>
                <a:ext cx="76139" cy="46800"/>
                <a:chOff x="2686049" y="3315563"/>
                <a:chExt cx="82458" cy="46800"/>
              </a:xfrm>
            </p:grpSpPr>
            <p:sp>
              <p:nvSpPr>
                <p:cNvPr id="632" name="Куб 174"/>
                <p:cNvSpPr>
                  <a:spLocks/>
                </p:cNvSpPr>
                <p:nvPr/>
              </p:nvSpPr>
              <p:spPr>
                <a:xfrm>
                  <a:off x="2686049" y="3315563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633" name="Прямая соединительная линия 223"/>
                <p:cNvCxnSpPr/>
                <p:nvPr/>
              </p:nvCxnSpPr>
              <p:spPr>
                <a:xfrm rot="16200000" flipH="1">
                  <a:off x="2711674" y="334284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4" name="Прямая соединительная линия 224"/>
                <p:cNvCxnSpPr/>
                <p:nvPr/>
              </p:nvCxnSpPr>
              <p:spPr>
                <a:xfrm rot="16200000" flipH="1">
                  <a:off x="2723142" y="334276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5" name="Прямая соединительная линия 225"/>
                <p:cNvCxnSpPr/>
                <p:nvPr/>
              </p:nvCxnSpPr>
              <p:spPr>
                <a:xfrm rot="16200000" flipH="1">
                  <a:off x="2736124" y="334276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6" name="Прямая соединительная линия 231"/>
                <p:cNvCxnSpPr/>
                <p:nvPr/>
              </p:nvCxnSpPr>
              <p:spPr>
                <a:xfrm rot="16200000" flipH="1">
                  <a:off x="2687925" y="334300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Прямая соединительная линия 232"/>
                <p:cNvCxnSpPr/>
                <p:nvPr/>
              </p:nvCxnSpPr>
              <p:spPr>
                <a:xfrm rot="16200000" flipH="1">
                  <a:off x="2699459" y="334295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57" name="Freeform 48256"/>
              <p:cNvSpPr/>
              <p:nvPr/>
            </p:nvSpPr>
            <p:spPr>
              <a:xfrm>
                <a:off x="6108816" y="3770452"/>
                <a:ext cx="309931" cy="507405"/>
              </a:xfrm>
              <a:custGeom>
                <a:avLst/>
                <a:gdLst>
                  <a:gd name="connsiteX0" fmla="*/ 188635 w 342101"/>
                  <a:gd name="connsiteY0" fmla="*/ 485974 h 485974"/>
                  <a:gd name="connsiteX1" fmla="*/ 191832 w 342101"/>
                  <a:gd name="connsiteY1" fmla="*/ 463594 h 485974"/>
                  <a:gd name="connsiteX2" fmla="*/ 201424 w 342101"/>
                  <a:gd name="connsiteY2" fmla="*/ 460397 h 485974"/>
                  <a:gd name="connsiteX3" fmla="*/ 207818 w 342101"/>
                  <a:gd name="connsiteY3" fmla="*/ 454002 h 485974"/>
                  <a:gd name="connsiteX4" fmla="*/ 211016 w 342101"/>
                  <a:gd name="connsiteY4" fmla="*/ 406044 h 485974"/>
                  <a:gd name="connsiteX5" fmla="*/ 204621 w 342101"/>
                  <a:gd name="connsiteY5" fmla="*/ 386861 h 485974"/>
                  <a:gd name="connsiteX6" fmla="*/ 201424 w 342101"/>
                  <a:gd name="connsiteY6" fmla="*/ 377269 h 485974"/>
                  <a:gd name="connsiteX7" fmla="*/ 204621 w 342101"/>
                  <a:gd name="connsiteY7" fmla="*/ 361283 h 485974"/>
                  <a:gd name="connsiteX8" fmla="*/ 211016 w 342101"/>
                  <a:gd name="connsiteY8" fmla="*/ 354889 h 485974"/>
                  <a:gd name="connsiteX9" fmla="*/ 265368 w 342101"/>
                  <a:gd name="connsiteY9" fmla="*/ 345297 h 485974"/>
                  <a:gd name="connsiteX10" fmla="*/ 287748 w 342101"/>
                  <a:gd name="connsiteY10" fmla="*/ 329311 h 485974"/>
                  <a:gd name="connsiteX11" fmla="*/ 294143 w 342101"/>
                  <a:gd name="connsiteY11" fmla="*/ 322917 h 485974"/>
                  <a:gd name="connsiteX12" fmla="*/ 303734 w 342101"/>
                  <a:gd name="connsiteY12" fmla="*/ 294142 h 485974"/>
                  <a:gd name="connsiteX13" fmla="*/ 306932 w 342101"/>
                  <a:gd name="connsiteY13" fmla="*/ 284551 h 485974"/>
                  <a:gd name="connsiteX14" fmla="*/ 313326 w 342101"/>
                  <a:gd name="connsiteY14" fmla="*/ 278156 h 485974"/>
                  <a:gd name="connsiteX15" fmla="*/ 326115 w 342101"/>
                  <a:gd name="connsiteY15" fmla="*/ 252579 h 485974"/>
                  <a:gd name="connsiteX16" fmla="*/ 335706 w 342101"/>
                  <a:gd name="connsiteY16" fmla="*/ 223804 h 485974"/>
                  <a:gd name="connsiteX17" fmla="*/ 338904 w 342101"/>
                  <a:gd name="connsiteY17" fmla="*/ 214212 h 485974"/>
                  <a:gd name="connsiteX18" fmla="*/ 342101 w 342101"/>
                  <a:gd name="connsiteY18" fmla="*/ 204620 h 485974"/>
                  <a:gd name="connsiteX19" fmla="*/ 319720 w 342101"/>
                  <a:gd name="connsiteY19" fmla="*/ 188634 h 485974"/>
                  <a:gd name="connsiteX20" fmla="*/ 310129 w 342101"/>
                  <a:gd name="connsiteY20" fmla="*/ 185437 h 485974"/>
                  <a:gd name="connsiteX21" fmla="*/ 294143 w 342101"/>
                  <a:gd name="connsiteY21" fmla="*/ 188634 h 485974"/>
                  <a:gd name="connsiteX22" fmla="*/ 287748 w 342101"/>
                  <a:gd name="connsiteY22" fmla="*/ 195029 h 485974"/>
                  <a:gd name="connsiteX23" fmla="*/ 278157 w 342101"/>
                  <a:gd name="connsiteY23" fmla="*/ 198226 h 485974"/>
                  <a:gd name="connsiteX24" fmla="*/ 265368 w 342101"/>
                  <a:gd name="connsiteY24" fmla="*/ 211015 h 485974"/>
                  <a:gd name="connsiteX25" fmla="*/ 236593 w 342101"/>
                  <a:gd name="connsiteY25" fmla="*/ 220607 h 485974"/>
                  <a:gd name="connsiteX26" fmla="*/ 227002 w 342101"/>
                  <a:gd name="connsiteY26" fmla="*/ 223804 h 485974"/>
                  <a:gd name="connsiteX27" fmla="*/ 217410 w 342101"/>
                  <a:gd name="connsiteY27" fmla="*/ 227001 h 485974"/>
                  <a:gd name="connsiteX28" fmla="*/ 195030 w 342101"/>
                  <a:gd name="connsiteY28" fmla="*/ 223804 h 485974"/>
                  <a:gd name="connsiteX29" fmla="*/ 185438 w 342101"/>
                  <a:gd name="connsiteY29" fmla="*/ 220607 h 485974"/>
                  <a:gd name="connsiteX30" fmla="*/ 182241 w 342101"/>
                  <a:gd name="connsiteY30" fmla="*/ 211015 h 485974"/>
                  <a:gd name="connsiteX31" fmla="*/ 175846 w 342101"/>
                  <a:gd name="connsiteY31" fmla="*/ 204620 h 485974"/>
                  <a:gd name="connsiteX32" fmla="*/ 169452 w 342101"/>
                  <a:gd name="connsiteY32" fmla="*/ 156662 h 485974"/>
                  <a:gd name="connsiteX33" fmla="*/ 163058 w 342101"/>
                  <a:gd name="connsiteY33" fmla="*/ 147071 h 485974"/>
                  <a:gd name="connsiteX34" fmla="*/ 150269 w 342101"/>
                  <a:gd name="connsiteY34" fmla="*/ 140676 h 485974"/>
                  <a:gd name="connsiteX35" fmla="*/ 134283 w 342101"/>
                  <a:gd name="connsiteY35" fmla="*/ 137479 h 485974"/>
                  <a:gd name="connsiteX36" fmla="*/ 124691 w 342101"/>
                  <a:gd name="connsiteY36" fmla="*/ 134282 h 485974"/>
                  <a:gd name="connsiteX37" fmla="*/ 111902 w 342101"/>
                  <a:gd name="connsiteY37" fmla="*/ 124690 h 485974"/>
                  <a:gd name="connsiteX38" fmla="*/ 92719 w 342101"/>
                  <a:gd name="connsiteY38" fmla="*/ 118296 h 485974"/>
                  <a:gd name="connsiteX39" fmla="*/ 79930 w 342101"/>
                  <a:gd name="connsiteY39" fmla="*/ 111902 h 485974"/>
                  <a:gd name="connsiteX40" fmla="*/ 60747 w 342101"/>
                  <a:gd name="connsiteY40" fmla="*/ 105507 h 485974"/>
                  <a:gd name="connsiteX41" fmla="*/ 51155 w 342101"/>
                  <a:gd name="connsiteY41" fmla="*/ 102310 h 485974"/>
                  <a:gd name="connsiteX42" fmla="*/ 35169 w 342101"/>
                  <a:gd name="connsiteY42" fmla="*/ 73535 h 485974"/>
                  <a:gd name="connsiteX43" fmla="*/ 25578 w 342101"/>
                  <a:gd name="connsiteY43" fmla="*/ 28774 h 485974"/>
                  <a:gd name="connsiteX44" fmla="*/ 22381 w 342101"/>
                  <a:gd name="connsiteY44" fmla="*/ 15986 h 485974"/>
                  <a:gd name="connsiteX45" fmla="*/ 15986 w 342101"/>
                  <a:gd name="connsiteY45" fmla="*/ 9591 h 485974"/>
                  <a:gd name="connsiteX46" fmla="*/ 0 w 342101"/>
                  <a:gd name="connsiteY46" fmla="*/ 0 h 485974"/>
                  <a:gd name="connsiteX0" fmla="*/ 188635 w 342794"/>
                  <a:gd name="connsiteY0" fmla="*/ 485974 h 485974"/>
                  <a:gd name="connsiteX1" fmla="*/ 191832 w 342794"/>
                  <a:gd name="connsiteY1" fmla="*/ 463594 h 485974"/>
                  <a:gd name="connsiteX2" fmla="*/ 201424 w 342794"/>
                  <a:gd name="connsiteY2" fmla="*/ 460397 h 485974"/>
                  <a:gd name="connsiteX3" fmla="*/ 207818 w 342794"/>
                  <a:gd name="connsiteY3" fmla="*/ 454002 h 485974"/>
                  <a:gd name="connsiteX4" fmla="*/ 211016 w 342794"/>
                  <a:gd name="connsiteY4" fmla="*/ 406044 h 485974"/>
                  <a:gd name="connsiteX5" fmla="*/ 204621 w 342794"/>
                  <a:gd name="connsiteY5" fmla="*/ 386861 h 485974"/>
                  <a:gd name="connsiteX6" fmla="*/ 201424 w 342794"/>
                  <a:gd name="connsiteY6" fmla="*/ 377269 h 485974"/>
                  <a:gd name="connsiteX7" fmla="*/ 204621 w 342794"/>
                  <a:gd name="connsiteY7" fmla="*/ 361283 h 485974"/>
                  <a:gd name="connsiteX8" fmla="*/ 211016 w 342794"/>
                  <a:gd name="connsiteY8" fmla="*/ 354889 h 485974"/>
                  <a:gd name="connsiteX9" fmla="*/ 265368 w 342794"/>
                  <a:gd name="connsiteY9" fmla="*/ 345297 h 485974"/>
                  <a:gd name="connsiteX10" fmla="*/ 287748 w 342794"/>
                  <a:gd name="connsiteY10" fmla="*/ 329311 h 485974"/>
                  <a:gd name="connsiteX11" fmla="*/ 294143 w 342794"/>
                  <a:gd name="connsiteY11" fmla="*/ 322917 h 485974"/>
                  <a:gd name="connsiteX12" fmla="*/ 303734 w 342794"/>
                  <a:gd name="connsiteY12" fmla="*/ 294142 h 485974"/>
                  <a:gd name="connsiteX13" fmla="*/ 306932 w 342794"/>
                  <a:gd name="connsiteY13" fmla="*/ 284551 h 485974"/>
                  <a:gd name="connsiteX14" fmla="*/ 313326 w 342794"/>
                  <a:gd name="connsiteY14" fmla="*/ 278156 h 485974"/>
                  <a:gd name="connsiteX15" fmla="*/ 326115 w 342794"/>
                  <a:gd name="connsiteY15" fmla="*/ 252579 h 485974"/>
                  <a:gd name="connsiteX16" fmla="*/ 335706 w 342794"/>
                  <a:gd name="connsiteY16" fmla="*/ 223804 h 485974"/>
                  <a:gd name="connsiteX17" fmla="*/ 338904 w 342794"/>
                  <a:gd name="connsiteY17" fmla="*/ 214212 h 485974"/>
                  <a:gd name="connsiteX18" fmla="*/ 342101 w 342794"/>
                  <a:gd name="connsiteY18" fmla="*/ 204620 h 485974"/>
                  <a:gd name="connsiteX19" fmla="*/ 324482 w 342794"/>
                  <a:gd name="connsiteY19" fmla="*/ 176728 h 485974"/>
                  <a:gd name="connsiteX20" fmla="*/ 310129 w 342794"/>
                  <a:gd name="connsiteY20" fmla="*/ 185437 h 485974"/>
                  <a:gd name="connsiteX21" fmla="*/ 294143 w 342794"/>
                  <a:gd name="connsiteY21" fmla="*/ 188634 h 485974"/>
                  <a:gd name="connsiteX22" fmla="*/ 287748 w 342794"/>
                  <a:gd name="connsiteY22" fmla="*/ 195029 h 485974"/>
                  <a:gd name="connsiteX23" fmla="*/ 278157 w 342794"/>
                  <a:gd name="connsiteY23" fmla="*/ 198226 h 485974"/>
                  <a:gd name="connsiteX24" fmla="*/ 265368 w 342794"/>
                  <a:gd name="connsiteY24" fmla="*/ 211015 h 485974"/>
                  <a:gd name="connsiteX25" fmla="*/ 236593 w 342794"/>
                  <a:gd name="connsiteY25" fmla="*/ 220607 h 485974"/>
                  <a:gd name="connsiteX26" fmla="*/ 227002 w 342794"/>
                  <a:gd name="connsiteY26" fmla="*/ 223804 h 485974"/>
                  <a:gd name="connsiteX27" fmla="*/ 217410 w 342794"/>
                  <a:gd name="connsiteY27" fmla="*/ 227001 h 485974"/>
                  <a:gd name="connsiteX28" fmla="*/ 195030 w 342794"/>
                  <a:gd name="connsiteY28" fmla="*/ 223804 h 485974"/>
                  <a:gd name="connsiteX29" fmla="*/ 185438 w 342794"/>
                  <a:gd name="connsiteY29" fmla="*/ 220607 h 485974"/>
                  <a:gd name="connsiteX30" fmla="*/ 182241 w 342794"/>
                  <a:gd name="connsiteY30" fmla="*/ 211015 h 485974"/>
                  <a:gd name="connsiteX31" fmla="*/ 175846 w 342794"/>
                  <a:gd name="connsiteY31" fmla="*/ 204620 h 485974"/>
                  <a:gd name="connsiteX32" fmla="*/ 169452 w 342794"/>
                  <a:gd name="connsiteY32" fmla="*/ 156662 h 485974"/>
                  <a:gd name="connsiteX33" fmla="*/ 163058 w 342794"/>
                  <a:gd name="connsiteY33" fmla="*/ 147071 h 485974"/>
                  <a:gd name="connsiteX34" fmla="*/ 150269 w 342794"/>
                  <a:gd name="connsiteY34" fmla="*/ 140676 h 485974"/>
                  <a:gd name="connsiteX35" fmla="*/ 134283 w 342794"/>
                  <a:gd name="connsiteY35" fmla="*/ 137479 h 485974"/>
                  <a:gd name="connsiteX36" fmla="*/ 124691 w 342794"/>
                  <a:gd name="connsiteY36" fmla="*/ 134282 h 485974"/>
                  <a:gd name="connsiteX37" fmla="*/ 111902 w 342794"/>
                  <a:gd name="connsiteY37" fmla="*/ 124690 h 485974"/>
                  <a:gd name="connsiteX38" fmla="*/ 92719 w 342794"/>
                  <a:gd name="connsiteY38" fmla="*/ 118296 h 485974"/>
                  <a:gd name="connsiteX39" fmla="*/ 79930 w 342794"/>
                  <a:gd name="connsiteY39" fmla="*/ 111902 h 485974"/>
                  <a:gd name="connsiteX40" fmla="*/ 60747 w 342794"/>
                  <a:gd name="connsiteY40" fmla="*/ 105507 h 485974"/>
                  <a:gd name="connsiteX41" fmla="*/ 51155 w 342794"/>
                  <a:gd name="connsiteY41" fmla="*/ 102310 h 485974"/>
                  <a:gd name="connsiteX42" fmla="*/ 35169 w 342794"/>
                  <a:gd name="connsiteY42" fmla="*/ 73535 h 485974"/>
                  <a:gd name="connsiteX43" fmla="*/ 25578 w 342794"/>
                  <a:gd name="connsiteY43" fmla="*/ 28774 h 485974"/>
                  <a:gd name="connsiteX44" fmla="*/ 22381 w 342794"/>
                  <a:gd name="connsiteY44" fmla="*/ 15986 h 485974"/>
                  <a:gd name="connsiteX45" fmla="*/ 15986 w 342794"/>
                  <a:gd name="connsiteY45" fmla="*/ 9591 h 485974"/>
                  <a:gd name="connsiteX46" fmla="*/ 0 w 342794"/>
                  <a:gd name="connsiteY46" fmla="*/ 0 h 485974"/>
                  <a:gd name="connsiteX0" fmla="*/ 188635 w 342794"/>
                  <a:gd name="connsiteY0" fmla="*/ 485974 h 485974"/>
                  <a:gd name="connsiteX1" fmla="*/ 191832 w 342794"/>
                  <a:gd name="connsiteY1" fmla="*/ 463594 h 485974"/>
                  <a:gd name="connsiteX2" fmla="*/ 201424 w 342794"/>
                  <a:gd name="connsiteY2" fmla="*/ 460397 h 485974"/>
                  <a:gd name="connsiteX3" fmla="*/ 207818 w 342794"/>
                  <a:gd name="connsiteY3" fmla="*/ 454002 h 485974"/>
                  <a:gd name="connsiteX4" fmla="*/ 211016 w 342794"/>
                  <a:gd name="connsiteY4" fmla="*/ 406044 h 485974"/>
                  <a:gd name="connsiteX5" fmla="*/ 204621 w 342794"/>
                  <a:gd name="connsiteY5" fmla="*/ 386861 h 485974"/>
                  <a:gd name="connsiteX6" fmla="*/ 201424 w 342794"/>
                  <a:gd name="connsiteY6" fmla="*/ 377269 h 485974"/>
                  <a:gd name="connsiteX7" fmla="*/ 204621 w 342794"/>
                  <a:gd name="connsiteY7" fmla="*/ 361283 h 485974"/>
                  <a:gd name="connsiteX8" fmla="*/ 211016 w 342794"/>
                  <a:gd name="connsiteY8" fmla="*/ 354889 h 485974"/>
                  <a:gd name="connsiteX9" fmla="*/ 265368 w 342794"/>
                  <a:gd name="connsiteY9" fmla="*/ 345297 h 485974"/>
                  <a:gd name="connsiteX10" fmla="*/ 287748 w 342794"/>
                  <a:gd name="connsiteY10" fmla="*/ 329311 h 485974"/>
                  <a:gd name="connsiteX11" fmla="*/ 294143 w 342794"/>
                  <a:gd name="connsiteY11" fmla="*/ 322917 h 485974"/>
                  <a:gd name="connsiteX12" fmla="*/ 303734 w 342794"/>
                  <a:gd name="connsiteY12" fmla="*/ 294142 h 485974"/>
                  <a:gd name="connsiteX13" fmla="*/ 306932 w 342794"/>
                  <a:gd name="connsiteY13" fmla="*/ 284551 h 485974"/>
                  <a:gd name="connsiteX14" fmla="*/ 313326 w 342794"/>
                  <a:gd name="connsiteY14" fmla="*/ 278156 h 485974"/>
                  <a:gd name="connsiteX15" fmla="*/ 326115 w 342794"/>
                  <a:gd name="connsiteY15" fmla="*/ 252579 h 485974"/>
                  <a:gd name="connsiteX16" fmla="*/ 335706 w 342794"/>
                  <a:gd name="connsiteY16" fmla="*/ 223804 h 485974"/>
                  <a:gd name="connsiteX17" fmla="*/ 338904 w 342794"/>
                  <a:gd name="connsiteY17" fmla="*/ 214212 h 485974"/>
                  <a:gd name="connsiteX18" fmla="*/ 342101 w 342794"/>
                  <a:gd name="connsiteY18" fmla="*/ 204620 h 485974"/>
                  <a:gd name="connsiteX19" fmla="*/ 324482 w 342794"/>
                  <a:gd name="connsiteY19" fmla="*/ 176728 h 485974"/>
                  <a:gd name="connsiteX20" fmla="*/ 310129 w 342794"/>
                  <a:gd name="connsiteY20" fmla="*/ 185437 h 485974"/>
                  <a:gd name="connsiteX21" fmla="*/ 294143 w 342794"/>
                  <a:gd name="connsiteY21" fmla="*/ 188634 h 485974"/>
                  <a:gd name="connsiteX22" fmla="*/ 287748 w 342794"/>
                  <a:gd name="connsiteY22" fmla="*/ 195029 h 485974"/>
                  <a:gd name="connsiteX23" fmla="*/ 278157 w 342794"/>
                  <a:gd name="connsiteY23" fmla="*/ 198226 h 485974"/>
                  <a:gd name="connsiteX24" fmla="*/ 265368 w 342794"/>
                  <a:gd name="connsiteY24" fmla="*/ 211015 h 485974"/>
                  <a:gd name="connsiteX25" fmla="*/ 236593 w 342794"/>
                  <a:gd name="connsiteY25" fmla="*/ 220607 h 485974"/>
                  <a:gd name="connsiteX26" fmla="*/ 227002 w 342794"/>
                  <a:gd name="connsiteY26" fmla="*/ 223804 h 485974"/>
                  <a:gd name="connsiteX27" fmla="*/ 217410 w 342794"/>
                  <a:gd name="connsiteY27" fmla="*/ 227001 h 485974"/>
                  <a:gd name="connsiteX28" fmla="*/ 195030 w 342794"/>
                  <a:gd name="connsiteY28" fmla="*/ 223804 h 485974"/>
                  <a:gd name="connsiteX29" fmla="*/ 185438 w 342794"/>
                  <a:gd name="connsiteY29" fmla="*/ 220607 h 485974"/>
                  <a:gd name="connsiteX30" fmla="*/ 182241 w 342794"/>
                  <a:gd name="connsiteY30" fmla="*/ 211015 h 485974"/>
                  <a:gd name="connsiteX31" fmla="*/ 175846 w 342794"/>
                  <a:gd name="connsiteY31" fmla="*/ 204620 h 485974"/>
                  <a:gd name="connsiteX32" fmla="*/ 169452 w 342794"/>
                  <a:gd name="connsiteY32" fmla="*/ 156662 h 485974"/>
                  <a:gd name="connsiteX33" fmla="*/ 163058 w 342794"/>
                  <a:gd name="connsiteY33" fmla="*/ 147071 h 485974"/>
                  <a:gd name="connsiteX34" fmla="*/ 150269 w 342794"/>
                  <a:gd name="connsiteY34" fmla="*/ 140676 h 485974"/>
                  <a:gd name="connsiteX35" fmla="*/ 134283 w 342794"/>
                  <a:gd name="connsiteY35" fmla="*/ 137479 h 485974"/>
                  <a:gd name="connsiteX36" fmla="*/ 124691 w 342794"/>
                  <a:gd name="connsiteY36" fmla="*/ 134282 h 485974"/>
                  <a:gd name="connsiteX37" fmla="*/ 111902 w 342794"/>
                  <a:gd name="connsiteY37" fmla="*/ 124690 h 485974"/>
                  <a:gd name="connsiteX38" fmla="*/ 92719 w 342794"/>
                  <a:gd name="connsiteY38" fmla="*/ 118296 h 485974"/>
                  <a:gd name="connsiteX39" fmla="*/ 79930 w 342794"/>
                  <a:gd name="connsiteY39" fmla="*/ 111902 h 485974"/>
                  <a:gd name="connsiteX40" fmla="*/ 60747 w 342794"/>
                  <a:gd name="connsiteY40" fmla="*/ 105507 h 485974"/>
                  <a:gd name="connsiteX41" fmla="*/ 51155 w 342794"/>
                  <a:gd name="connsiteY41" fmla="*/ 102310 h 485974"/>
                  <a:gd name="connsiteX42" fmla="*/ 35169 w 342794"/>
                  <a:gd name="connsiteY42" fmla="*/ 73535 h 485974"/>
                  <a:gd name="connsiteX43" fmla="*/ 35103 w 342794"/>
                  <a:gd name="connsiteY43" fmla="*/ 31156 h 485974"/>
                  <a:gd name="connsiteX44" fmla="*/ 22381 w 342794"/>
                  <a:gd name="connsiteY44" fmla="*/ 15986 h 485974"/>
                  <a:gd name="connsiteX45" fmla="*/ 15986 w 342794"/>
                  <a:gd name="connsiteY45" fmla="*/ 9591 h 485974"/>
                  <a:gd name="connsiteX46" fmla="*/ 0 w 342794"/>
                  <a:gd name="connsiteY46" fmla="*/ 0 h 485974"/>
                  <a:gd name="connsiteX0" fmla="*/ 181492 w 335651"/>
                  <a:gd name="connsiteY0" fmla="*/ 507405 h 507405"/>
                  <a:gd name="connsiteX1" fmla="*/ 184689 w 335651"/>
                  <a:gd name="connsiteY1" fmla="*/ 485025 h 507405"/>
                  <a:gd name="connsiteX2" fmla="*/ 194281 w 335651"/>
                  <a:gd name="connsiteY2" fmla="*/ 481828 h 507405"/>
                  <a:gd name="connsiteX3" fmla="*/ 200675 w 335651"/>
                  <a:gd name="connsiteY3" fmla="*/ 475433 h 507405"/>
                  <a:gd name="connsiteX4" fmla="*/ 203873 w 335651"/>
                  <a:gd name="connsiteY4" fmla="*/ 427475 h 507405"/>
                  <a:gd name="connsiteX5" fmla="*/ 197478 w 335651"/>
                  <a:gd name="connsiteY5" fmla="*/ 408292 h 507405"/>
                  <a:gd name="connsiteX6" fmla="*/ 194281 w 335651"/>
                  <a:gd name="connsiteY6" fmla="*/ 398700 h 507405"/>
                  <a:gd name="connsiteX7" fmla="*/ 197478 w 335651"/>
                  <a:gd name="connsiteY7" fmla="*/ 382714 h 507405"/>
                  <a:gd name="connsiteX8" fmla="*/ 203873 w 335651"/>
                  <a:gd name="connsiteY8" fmla="*/ 376320 h 507405"/>
                  <a:gd name="connsiteX9" fmla="*/ 258225 w 335651"/>
                  <a:gd name="connsiteY9" fmla="*/ 366728 h 507405"/>
                  <a:gd name="connsiteX10" fmla="*/ 280605 w 335651"/>
                  <a:gd name="connsiteY10" fmla="*/ 350742 h 507405"/>
                  <a:gd name="connsiteX11" fmla="*/ 287000 w 335651"/>
                  <a:gd name="connsiteY11" fmla="*/ 344348 h 507405"/>
                  <a:gd name="connsiteX12" fmla="*/ 296591 w 335651"/>
                  <a:gd name="connsiteY12" fmla="*/ 315573 h 507405"/>
                  <a:gd name="connsiteX13" fmla="*/ 299789 w 335651"/>
                  <a:gd name="connsiteY13" fmla="*/ 305982 h 507405"/>
                  <a:gd name="connsiteX14" fmla="*/ 306183 w 335651"/>
                  <a:gd name="connsiteY14" fmla="*/ 299587 h 507405"/>
                  <a:gd name="connsiteX15" fmla="*/ 318972 w 335651"/>
                  <a:gd name="connsiteY15" fmla="*/ 274010 h 507405"/>
                  <a:gd name="connsiteX16" fmla="*/ 328563 w 335651"/>
                  <a:gd name="connsiteY16" fmla="*/ 245235 h 507405"/>
                  <a:gd name="connsiteX17" fmla="*/ 331761 w 335651"/>
                  <a:gd name="connsiteY17" fmla="*/ 235643 h 507405"/>
                  <a:gd name="connsiteX18" fmla="*/ 334958 w 335651"/>
                  <a:gd name="connsiteY18" fmla="*/ 226051 h 507405"/>
                  <a:gd name="connsiteX19" fmla="*/ 317339 w 335651"/>
                  <a:gd name="connsiteY19" fmla="*/ 198159 h 507405"/>
                  <a:gd name="connsiteX20" fmla="*/ 302986 w 335651"/>
                  <a:gd name="connsiteY20" fmla="*/ 206868 h 507405"/>
                  <a:gd name="connsiteX21" fmla="*/ 287000 w 335651"/>
                  <a:gd name="connsiteY21" fmla="*/ 210065 h 507405"/>
                  <a:gd name="connsiteX22" fmla="*/ 280605 w 335651"/>
                  <a:gd name="connsiteY22" fmla="*/ 216460 h 507405"/>
                  <a:gd name="connsiteX23" fmla="*/ 271014 w 335651"/>
                  <a:gd name="connsiteY23" fmla="*/ 219657 h 507405"/>
                  <a:gd name="connsiteX24" fmla="*/ 258225 w 335651"/>
                  <a:gd name="connsiteY24" fmla="*/ 232446 h 507405"/>
                  <a:gd name="connsiteX25" fmla="*/ 229450 w 335651"/>
                  <a:gd name="connsiteY25" fmla="*/ 242038 h 507405"/>
                  <a:gd name="connsiteX26" fmla="*/ 219859 w 335651"/>
                  <a:gd name="connsiteY26" fmla="*/ 245235 h 507405"/>
                  <a:gd name="connsiteX27" fmla="*/ 210267 w 335651"/>
                  <a:gd name="connsiteY27" fmla="*/ 248432 h 507405"/>
                  <a:gd name="connsiteX28" fmla="*/ 187887 w 335651"/>
                  <a:gd name="connsiteY28" fmla="*/ 245235 h 507405"/>
                  <a:gd name="connsiteX29" fmla="*/ 178295 w 335651"/>
                  <a:gd name="connsiteY29" fmla="*/ 242038 h 507405"/>
                  <a:gd name="connsiteX30" fmla="*/ 175098 w 335651"/>
                  <a:gd name="connsiteY30" fmla="*/ 232446 h 507405"/>
                  <a:gd name="connsiteX31" fmla="*/ 168703 w 335651"/>
                  <a:gd name="connsiteY31" fmla="*/ 226051 h 507405"/>
                  <a:gd name="connsiteX32" fmla="*/ 162309 w 335651"/>
                  <a:gd name="connsiteY32" fmla="*/ 178093 h 507405"/>
                  <a:gd name="connsiteX33" fmla="*/ 155915 w 335651"/>
                  <a:gd name="connsiteY33" fmla="*/ 168502 h 507405"/>
                  <a:gd name="connsiteX34" fmla="*/ 143126 w 335651"/>
                  <a:gd name="connsiteY34" fmla="*/ 162107 h 507405"/>
                  <a:gd name="connsiteX35" fmla="*/ 127140 w 335651"/>
                  <a:gd name="connsiteY35" fmla="*/ 158910 h 507405"/>
                  <a:gd name="connsiteX36" fmla="*/ 117548 w 335651"/>
                  <a:gd name="connsiteY36" fmla="*/ 155713 h 507405"/>
                  <a:gd name="connsiteX37" fmla="*/ 104759 w 335651"/>
                  <a:gd name="connsiteY37" fmla="*/ 146121 h 507405"/>
                  <a:gd name="connsiteX38" fmla="*/ 85576 w 335651"/>
                  <a:gd name="connsiteY38" fmla="*/ 139727 h 507405"/>
                  <a:gd name="connsiteX39" fmla="*/ 72787 w 335651"/>
                  <a:gd name="connsiteY39" fmla="*/ 133333 h 507405"/>
                  <a:gd name="connsiteX40" fmla="*/ 53604 w 335651"/>
                  <a:gd name="connsiteY40" fmla="*/ 126938 h 507405"/>
                  <a:gd name="connsiteX41" fmla="*/ 44012 w 335651"/>
                  <a:gd name="connsiteY41" fmla="*/ 123741 h 507405"/>
                  <a:gd name="connsiteX42" fmla="*/ 28026 w 335651"/>
                  <a:gd name="connsiteY42" fmla="*/ 94966 h 507405"/>
                  <a:gd name="connsiteX43" fmla="*/ 27960 w 335651"/>
                  <a:gd name="connsiteY43" fmla="*/ 52587 h 507405"/>
                  <a:gd name="connsiteX44" fmla="*/ 15238 w 335651"/>
                  <a:gd name="connsiteY44" fmla="*/ 37417 h 507405"/>
                  <a:gd name="connsiteX45" fmla="*/ 8843 w 335651"/>
                  <a:gd name="connsiteY45" fmla="*/ 31022 h 507405"/>
                  <a:gd name="connsiteX46" fmla="*/ 0 w 335651"/>
                  <a:gd name="connsiteY46" fmla="*/ 0 h 507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35651" h="507405">
                    <a:moveTo>
                      <a:pt x="181492" y="507405"/>
                    </a:moveTo>
                    <a:cubicBezTo>
                      <a:pt x="182558" y="499945"/>
                      <a:pt x="181319" y="491765"/>
                      <a:pt x="184689" y="485025"/>
                    </a:cubicBezTo>
                    <a:cubicBezTo>
                      <a:pt x="186196" y="482011"/>
                      <a:pt x="191391" y="483562"/>
                      <a:pt x="194281" y="481828"/>
                    </a:cubicBezTo>
                    <a:cubicBezTo>
                      <a:pt x="196866" y="480277"/>
                      <a:pt x="198544" y="477565"/>
                      <a:pt x="200675" y="475433"/>
                    </a:cubicBezTo>
                    <a:cubicBezTo>
                      <a:pt x="208745" y="451224"/>
                      <a:pt x="209785" y="457036"/>
                      <a:pt x="203873" y="427475"/>
                    </a:cubicBezTo>
                    <a:cubicBezTo>
                      <a:pt x="202551" y="420866"/>
                      <a:pt x="199610" y="414686"/>
                      <a:pt x="197478" y="408292"/>
                    </a:cubicBezTo>
                    <a:lnTo>
                      <a:pt x="194281" y="398700"/>
                    </a:lnTo>
                    <a:cubicBezTo>
                      <a:pt x="195347" y="393371"/>
                      <a:pt x="195337" y="387709"/>
                      <a:pt x="197478" y="382714"/>
                    </a:cubicBezTo>
                    <a:cubicBezTo>
                      <a:pt x="198665" y="379943"/>
                      <a:pt x="201177" y="377668"/>
                      <a:pt x="203873" y="376320"/>
                    </a:cubicBezTo>
                    <a:cubicBezTo>
                      <a:pt x="221858" y="367328"/>
                      <a:pt x="237939" y="368573"/>
                      <a:pt x="258225" y="366728"/>
                    </a:cubicBezTo>
                    <a:cubicBezTo>
                      <a:pt x="291265" y="355715"/>
                      <a:pt x="269947" y="368505"/>
                      <a:pt x="280605" y="350742"/>
                    </a:cubicBezTo>
                    <a:cubicBezTo>
                      <a:pt x="282156" y="348157"/>
                      <a:pt x="284868" y="346479"/>
                      <a:pt x="287000" y="344348"/>
                    </a:cubicBezTo>
                    <a:lnTo>
                      <a:pt x="296591" y="315573"/>
                    </a:lnTo>
                    <a:cubicBezTo>
                      <a:pt x="297657" y="312376"/>
                      <a:pt x="297406" y="308365"/>
                      <a:pt x="299789" y="305982"/>
                    </a:cubicBezTo>
                    <a:lnTo>
                      <a:pt x="306183" y="299587"/>
                    </a:lnTo>
                    <a:cubicBezTo>
                      <a:pt x="313530" y="277544"/>
                      <a:pt x="307811" y="285170"/>
                      <a:pt x="318972" y="274010"/>
                    </a:cubicBezTo>
                    <a:lnTo>
                      <a:pt x="328563" y="245235"/>
                    </a:lnTo>
                    <a:lnTo>
                      <a:pt x="331761" y="235643"/>
                    </a:lnTo>
                    <a:cubicBezTo>
                      <a:pt x="332827" y="232446"/>
                      <a:pt x="337362" y="232298"/>
                      <a:pt x="334958" y="226051"/>
                    </a:cubicBezTo>
                    <a:cubicBezTo>
                      <a:pt x="332554" y="219804"/>
                      <a:pt x="339720" y="205620"/>
                      <a:pt x="317339" y="198159"/>
                    </a:cubicBezTo>
                    <a:cubicBezTo>
                      <a:pt x="312555" y="201062"/>
                      <a:pt x="308042" y="204884"/>
                      <a:pt x="302986" y="206868"/>
                    </a:cubicBezTo>
                    <a:cubicBezTo>
                      <a:pt x="297930" y="208852"/>
                      <a:pt x="291995" y="207924"/>
                      <a:pt x="287000" y="210065"/>
                    </a:cubicBezTo>
                    <a:cubicBezTo>
                      <a:pt x="284229" y="211253"/>
                      <a:pt x="283190" y="214909"/>
                      <a:pt x="280605" y="216460"/>
                    </a:cubicBezTo>
                    <a:cubicBezTo>
                      <a:pt x="277715" y="218194"/>
                      <a:pt x="274211" y="218591"/>
                      <a:pt x="271014" y="219657"/>
                    </a:cubicBezTo>
                    <a:cubicBezTo>
                      <a:pt x="266751" y="223920"/>
                      <a:pt x="263944" y="230540"/>
                      <a:pt x="258225" y="232446"/>
                    </a:cubicBezTo>
                    <a:lnTo>
                      <a:pt x="229450" y="242038"/>
                    </a:lnTo>
                    <a:lnTo>
                      <a:pt x="219859" y="245235"/>
                    </a:lnTo>
                    <a:lnTo>
                      <a:pt x="210267" y="248432"/>
                    </a:lnTo>
                    <a:cubicBezTo>
                      <a:pt x="202807" y="247366"/>
                      <a:pt x="195276" y="246713"/>
                      <a:pt x="187887" y="245235"/>
                    </a:cubicBezTo>
                    <a:cubicBezTo>
                      <a:pt x="184582" y="244574"/>
                      <a:pt x="180678" y="244421"/>
                      <a:pt x="178295" y="242038"/>
                    </a:cubicBezTo>
                    <a:cubicBezTo>
                      <a:pt x="175912" y="239655"/>
                      <a:pt x="176832" y="235336"/>
                      <a:pt x="175098" y="232446"/>
                    </a:cubicBezTo>
                    <a:cubicBezTo>
                      <a:pt x="173547" y="229861"/>
                      <a:pt x="170835" y="228183"/>
                      <a:pt x="168703" y="226051"/>
                    </a:cubicBezTo>
                    <a:cubicBezTo>
                      <a:pt x="167989" y="217482"/>
                      <a:pt x="168838" y="191152"/>
                      <a:pt x="162309" y="178093"/>
                    </a:cubicBezTo>
                    <a:cubicBezTo>
                      <a:pt x="160591" y="174656"/>
                      <a:pt x="158867" y="170962"/>
                      <a:pt x="155915" y="168502"/>
                    </a:cubicBezTo>
                    <a:cubicBezTo>
                      <a:pt x="152253" y="165451"/>
                      <a:pt x="147648" y="163614"/>
                      <a:pt x="143126" y="162107"/>
                    </a:cubicBezTo>
                    <a:cubicBezTo>
                      <a:pt x="137971" y="160389"/>
                      <a:pt x="132412" y="160228"/>
                      <a:pt x="127140" y="158910"/>
                    </a:cubicBezTo>
                    <a:cubicBezTo>
                      <a:pt x="123870" y="158093"/>
                      <a:pt x="120745" y="156779"/>
                      <a:pt x="117548" y="155713"/>
                    </a:cubicBezTo>
                    <a:cubicBezTo>
                      <a:pt x="113285" y="152516"/>
                      <a:pt x="109525" y="148504"/>
                      <a:pt x="104759" y="146121"/>
                    </a:cubicBezTo>
                    <a:cubicBezTo>
                      <a:pt x="98730" y="143107"/>
                      <a:pt x="91605" y="142741"/>
                      <a:pt x="85576" y="139727"/>
                    </a:cubicBezTo>
                    <a:cubicBezTo>
                      <a:pt x="81313" y="137596"/>
                      <a:pt x="77212" y="135103"/>
                      <a:pt x="72787" y="133333"/>
                    </a:cubicBezTo>
                    <a:cubicBezTo>
                      <a:pt x="66529" y="130830"/>
                      <a:pt x="59998" y="129070"/>
                      <a:pt x="53604" y="126938"/>
                    </a:cubicBezTo>
                    <a:lnTo>
                      <a:pt x="44012" y="123741"/>
                    </a:lnTo>
                    <a:cubicBezTo>
                      <a:pt x="29355" y="101754"/>
                      <a:pt x="33655" y="111848"/>
                      <a:pt x="28026" y="94966"/>
                    </a:cubicBezTo>
                    <a:cubicBezTo>
                      <a:pt x="23385" y="67116"/>
                      <a:pt x="35926" y="84452"/>
                      <a:pt x="27960" y="52587"/>
                    </a:cubicBezTo>
                    <a:cubicBezTo>
                      <a:pt x="26894" y="48324"/>
                      <a:pt x="18424" y="41011"/>
                      <a:pt x="15238" y="37417"/>
                    </a:cubicBezTo>
                    <a:cubicBezTo>
                      <a:pt x="12052" y="33823"/>
                      <a:pt x="11383" y="37258"/>
                      <a:pt x="8843" y="31022"/>
                    </a:cubicBezTo>
                    <a:cubicBezTo>
                      <a:pt x="6303" y="24786"/>
                      <a:pt x="6642" y="3320"/>
                      <a:pt x="0" y="0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58" name="Freeform 48257"/>
              <p:cNvSpPr/>
              <p:nvPr/>
            </p:nvSpPr>
            <p:spPr>
              <a:xfrm>
                <a:off x="5857186" y="3651206"/>
                <a:ext cx="254582" cy="99795"/>
              </a:xfrm>
              <a:custGeom>
                <a:avLst/>
                <a:gdLst>
                  <a:gd name="connsiteX0" fmla="*/ 268565 w 268565"/>
                  <a:gd name="connsiteY0" fmla="*/ 83127 h 83127"/>
                  <a:gd name="connsiteX1" fmla="*/ 265368 w 268565"/>
                  <a:gd name="connsiteY1" fmla="*/ 67141 h 83127"/>
                  <a:gd name="connsiteX2" fmla="*/ 258974 w 268565"/>
                  <a:gd name="connsiteY2" fmla="*/ 60746 h 83127"/>
                  <a:gd name="connsiteX3" fmla="*/ 252579 w 268565"/>
                  <a:gd name="connsiteY3" fmla="*/ 47958 h 83127"/>
                  <a:gd name="connsiteX4" fmla="*/ 233396 w 268565"/>
                  <a:gd name="connsiteY4" fmla="*/ 31972 h 83127"/>
                  <a:gd name="connsiteX5" fmla="*/ 223805 w 268565"/>
                  <a:gd name="connsiteY5" fmla="*/ 25577 h 83127"/>
                  <a:gd name="connsiteX6" fmla="*/ 207819 w 268565"/>
                  <a:gd name="connsiteY6" fmla="*/ 22380 h 83127"/>
                  <a:gd name="connsiteX7" fmla="*/ 188635 w 268565"/>
                  <a:gd name="connsiteY7" fmla="*/ 15986 h 83127"/>
                  <a:gd name="connsiteX8" fmla="*/ 159860 w 268565"/>
                  <a:gd name="connsiteY8" fmla="*/ 6394 h 83127"/>
                  <a:gd name="connsiteX9" fmla="*/ 150269 w 268565"/>
                  <a:gd name="connsiteY9" fmla="*/ 3197 h 83127"/>
                  <a:gd name="connsiteX10" fmla="*/ 140677 w 268565"/>
                  <a:gd name="connsiteY10" fmla="*/ 0 h 83127"/>
                  <a:gd name="connsiteX11" fmla="*/ 73536 w 268565"/>
                  <a:gd name="connsiteY11" fmla="*/ 3197 h 83127"/>
                  <a:gd name="connsiteX12" fmla="*/ 54353 w 268565"/>
                  <a:gd name="connsiteY12" fmla="*/ 9591 h 83127"/>
                  <a:gd name="connsiteX13" fmla="*/ 35170 w 268565"/>
                  <a:gd name="connsiteY13" fmla="*/ 19183 h 83127"/>
                  <a:gd name="connsiteX14" fmla="*/ 22381 w 268565"/>
                  <a:gd name="connsiteY14" fmla="*/ 25577 h 83127"/>
                  <a:gd name="connsiteX15" fmla="*/ 9592 w 268565"/>
                  <a:gd name="connsiteY15" fmla="*/ 28774 h 83127"/>
                  <a:gd name="connsiteX16" fmla="*/ 0 w 268565"/>
                  <a:gd name="connsiteY16" fmla="*/ 31972 h 83127"/>
                  <a:gd name="connsiteX17" fmla="*/ 9592 w 268565"/>
                  <a:gd name="connsiteY17" fmla="*/ 47958 h 83127"/>
                  <a:gd name="connsiteX18" fmla="*/ 28775 w 268565"/>
                  <a:gd name="connsiteY18" fmla="*/ 54352 h 83127"/>
                  <a:gd name="connsiteX19" fmla="*/ 31972 w 268565"/>
                  <a:gd name="connsiteY19" fmla="*/ 63944 h 83127"/>
                  <a:gd name="connsiteX20" fmla="*/ 44761 w 268565"/>
                  <a:gd name="connsiteY20" fmla="*/ 67141 h 83127"/>
                  <a:gd name="connsiteX21" fmla="*/ 47958 w 268565"/>
                  <a:gd name="connsiteY21" fmla="*/ 70338 h 83127"/>
                  <a:gd name="connsiteX0" fmla="*/ 268565 w 268565"/>
                  <a:gd name="connsiteY0" fmla="*/ 83127 h 83127"/>
                  <a:gd name="connsiteX1" fmla="*/ 265368 w 268565"/>
                  <a:gd name="connsiteY1" fmla="*/ 67141 h 83127"/>
                  <a:gd name="connsiteX2" fmla="*/ 258974 w 268565"/>
                  <a:gd name="connsiteY2" fmla="*/ 60746 h 83127"/>
                  <a:gd name="connsiteX3" fmla="*/ 252579 w 268565"/>
                  <a:gd name="connsiteY3" fmla="*/ 47958 h 83127"/>
                  <a:gd name="connsiteX4" fmla="*/ 233396 w 268565"/>
                  <a:gd name="connsiteY4" fmla="*/ 31972 h 83127"/>
                  <a:gd name="connsiteX5" fmla="*/ 223805 w 268565"/>
                  <a:gd name="connsiteY5" fmla="*/ 25577 h 83127"/>
                  <a:gd name="connsiteX6" fmla="*/ 207819 w 268565"/>
                  <a:gd name="connsiteY6" fmla="*/ 22380 h 83127"/>
                  <a:gd name="connsiteX7" fmla="*/ 188635 w 268565"/>
                  <a:gd name="connsiteY7" fmla="*/ 15986 h 83127"/>
                  <a:gd name="connsiteX8" fmla="*/ 159860 w 268565"/>
                  <a:gd name="connsiteY8" fmla="*/ 6394 h 83127"/>
                  <a:gd name="connsiteX9" fmla="*/ 150269 w 268565"/>
                  <a:gd name="connsiteY9" fmla="*/ 3197 h 83127"/>
                  <a:gd name="connsiteX10" fmla="*/ 140677 w 268565"/>
                  <a:gd name="connsiteY10" fmla="*/ 0 h 83127"/>
                  <a:gd name="connsiteX11" fmla="*/ 73536 w 268565"/>
                  <a:gd name="connsiteY11" fmla="*/ 3197 h 83127"/>
                  <a:gd name="connsiteX12" fmla="*/ 54353 w 268565"/>
                  <a:gd name="connsiteY12" fmla="*/ 9591 h 83127"/>
                  <a:gd name="connsiteX13" fmla="*/ 35170 w 268565"/>
                  <a:gd name="connsiteY13" fmla="*/ 19183 h 83127"/>
                  <a:gd name="connsiteX14" fmla="*/ 22381 w 268565"/>
                  <a:gd name="connsiteY14" fmla="*/ 25577 h 83127"/>
                  <a:gd name="connsiteX15" fmla="*/ 9592 w 268565"/>
                  <a:gd name="connsiteY15" fmla="*/ 28774 h 83127"/>
                  <a:gd name="connsiteX16" fmla="*/ 0 w 268565"/>
                  <a:gd name="connsiteY16" fmla="*/ 31972 h 83127"/>
                  <a:gd name="connsiteX17" fmla="*/ 9592 w 268565"/>
                  <a:gd name="connsiteY17" fmla="*/ 47958 h 83127"/>
                  <a:gd name="connsiteX18" fmla="*/ 28775 w 268565"/>
                  <a:gd name="connsiteY18" fmla="*/ 54352 h 83127"/>
                  <a:gd name="connsiteX19" fmla="*/ 31972 w 268565"/>
                  <a:gd name="connsiteY19" fmla="*/ 63944 h 83127"/>
                  <a:gd name="connsiteX20" fmla="*/ 44761 w 268565"/>
                  <a:gd name="connsiteY20" fmla="*/ 67141 h 83127"/>
                  <a:gd name="connsiteX21" fmla="*/ 52721 w 268565"/>
                  <a:gd name="connsiteY21" fmla="*/ 82244 h 83127"/>
                  <a:gd name="connsiteX0" fmla="*/ 275709 w 275709"/>
                  <a:gd name="connsiteY0" fmla="*/ 99795 h 99795"/>
                  <a:gd name="connsiteX1" fmla="*/ 265368 w 275709"/>
                  <a:gd name="connsiteY1" fmla="*/ 67141 h 99795"/>
                  <a:gd name="connsiteX2" fmla="*/ 258974 w 275709"/>
                  <a:gd name="connsiteY2" fmla="*/ 60746 h 99795"/>
                  <a:gd name="connsiteX3" fmla="*/ 252579 w 275709"/>
                  <a:gd name="connsiteY3" fmla="*/ 47958 h 99795"/>
                  <a:gd name="connsiteX4" fmla="*/ 233396 w 275709"/>
                  <a:gd name="connsiteY4" fmla="*/ 31972 h 99795"/>
                  <a:gd name="connsiteX5" fmla="*/ 223805 w 275709"/>
                  <a:gd name="connsiteY5" fmla="*/ 25577 h 99795"/>
                  <a:gd name="connsiteX6" fmla="*/ 207819 w 275709"/>
                  <a:gd name="connsiteY6" fmla="*/ 22380 h 99795"/>
                  <a:gd name="connsiteX7" fmla="*/ 188635 w 275709"/>
                  <a:gd name="connsiteY7" fmla="*/ 15986 h 99795"/>
                  <a:gd name="connsiteX8" fmla="*/ 159860 w 275709"/>
                  <a:gd name="connsiteY8" fmla="*/ 6394 h 99795"/>
                  <a:gd name="connsiteX9" fmla="*/ 150269 w 275709"/>
                  <a:gd name="connsiteY9" fmla="*/ 3197 h 99795"/>
                  <a:gd name="connsiteX10" fmla="*/ 140677 w 275709"/>
                  <a:gd name="connsiteY10" fmla="*/ 0 h 99795"/>
                  <a:gd name="connsiteX11" fmla="*/ 73536 w 275709"/>
                  <a:gd name="connsiteY11" fmla="*/ 3197 h 99795"/>
                  <a:gd name="connsiteX12" fmla="*/ 54353 w 275709"/>
                  <a:gd name="connsiteY12" fmla="*/ 9591 h 99795"/>
                  <a:gd name="connsiteX13" fmla="*/ 35170 w 275709"/>
                  <a:gd name="connsiteY13" fmla="*/ 19183 h 99795"/>
                  <a:gd name="connsiteX14" fmla="*/ 22381 w 275709"/>
                  <a:gd name="connsiteY14" fmla="*/ 25577 h 99795"/>
                  <a:gd name="connsiteX15" fmla="*/ 9592 w 275709"/>
                  <a:gd name="connsiteY15" fmla="*/ 28774 h 99795"/>
                  <a:gd name="connsiteX16" fmla="*/ 0 w 275709"/>
                  <a:gd name="connsiteY16" fmla="*/ 31972 h 99795"/>
                  <a:gd name="connsiteX17" fmla="*/ 9592 w 275709"/>
                  <a:gd name="connsiteY17" fmla="*/ 47958 h 99795"/>
                  <a:gd name="connsiteX18" fmla="*/ 28775 w 275709"/>
                  <a:gd name="connsiteY18" fmla="*/ 54352 h 99795"/>
                  <a:gd name="connsiteX19" fmla="*/ 31972 w 275709"/>
                  <a:gd name="connsiteY19" fmla="*/ 63944 h 99795"/>
                  <a:gd name="connsiteX20" fmla="*/ 44761 w 275709"/>
                  <a:gd name="connsiteY20" fmla="*/ 67141 h 99795"/>
                  <a:gd name="connsiteX21" fmla="*/ 52721 w 275709"/>
                  <a:gd name="connsiteY21" fmla="*/ 82244 h 99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5709" h="99795">
                    <a:moveTo>
                      <a:pt x="275709" y="99795"/>
                    </a:moveTo>
                    <a:cubicBezTo>
                      <a:pt x="274643" y="94466"/>
                      <a:pt x="268157" y="73649"/>
                      <a:pt x="265368" y="67141"/>
                    </a:cubicBezTo>
                    <a:cubicBezTo>
                      <a:pt x="262579" y="60633"/>
                      <a:pt x="260646" y="63254"/>
                      <a:pt x="258974" y="60746"/>
                    </a:cubicBezTo>
                    <a:cubicBezTo>
                      <a:pt x="256330" y="56781"/>
                      <a:pt x="255223" y="51923"/>
                      <a:pt x="252579" y="47958"/>
                    </a:cubicBezTo>
                    <a:cubicBezTo>
                      <a:pt x="249272" y="42997"/>
                      <a:pt x="236480" y="34175"/>
                      <a:pt x="233396" y="31972"/>
                    </a:cubicBezTo>
                    <a:cubicBezTo>
                      <a:pt x="230269" y="29739"/>
                      <a:pt x="227403" y="26926"/>
                      <a:pt x="223805" y="25577"/>
                    </a:cubicBezTo>
                    <a:cubicBezTo>
                      <a:pt x="218717" y="23669"/>
                      <a:pt x="213062" y="23810"/>
                      <a:pt x="207819" y="22380"/>
                    </a:cubicBezTo>
                    <a:cubicBezTo>
                      <a:pt x="201316" y="20607"/>
                      <a:pt x="195030" y="18118"/>
                      <a:pt x="188635" y="15986"/>
                    </a:cubicBezTo>
                    <a:lnTo>
                      <a:pt x="159860" y="6394"/>
                    </a:lnTo>
                    <a:lnTo>
                      <a:pt x="150269" y="3197"/>
                    </a:lnTo>
                    <a:lnTo>
                      <a:pt x="140677" y="0"/>
                    </a:lnTo>
                    <a:cubicBezTo>
                      <a:pt x="118297" y="1066"/>
                      <a:pt x="95805" y="723"/>
                      <a:pt x="73536" y="3197"/>
                    </a:cubicBezTo>
                    <a:cubicBezTo>
                      <a:pt x="66837" y="3941"/>
                      <a:pt x="54353" y="9591"/>
                      <a:pt x="54353" y="9591"/>
                    </a:cubicBezTo>
                    <a:cubicBezTo>
                      <a:pt x="35922" y="21879"/>
                      <a:pt x="53699" y="11242"/>
                      <a:pt x="35170" y="19183"/>
                    </a:cubicBezTo>
                    <a:cubicBezTo>
                      <a:pt x="30789" y="21060"/>
                      <a:pt x="26844" y="23904"/>
                      <a:pt x="22381" y="25577"/>
                    </a:cubicBezTo>
                    <a:cubicBezTo>
                      <a:pt x="18267" y="27120"/>
                      <a:pt x="13817" y="27567"/>
                      <a:pt x="9592" y="28774"/>
                    </a:cubicBezTo>
                    <a:cubicBezTo>
                      <a:pt x="6351" y="29700"/>
                      <a:pt x="3197" y="30906"/>
                      <a:pt x="0" y="31972"/>
                    </a:cubicBezTo>
                    <a:cubicBezTo>
                      <a:pt x="2188" y="38533"/>
                      <a:pt x="2572" y="44448"/>
                      <a:pt x="9592" y="47958"/>
                    </a:cubicBezTo>
                    <a:cubicBezTo>
                      <a:pt x="15621" y="50972"/>
                      <a:pt x="28775" y="54352"/>
                      <a:pt x="28775" y="54352"/>
                    </a:cubicBezTo>
                    <a:cubicBezTo>
                      <a:pt x="29841" y="57549"/>
                      <a:pt x="29340" y="61839"/>
                      <a:pt x="31972" y="63944"/>
                    </a:cubicBezTo>
                    <a:cubicBezTo>
                      <a:pt x="35403" y="66689"/>
                      <a:pt x="41303" y="64091"/>
                      <a:pt x="44761" y="67141"/>
                    </a:cubicBezTo>
                    <a:cubicBezTo>
                      <a:pt x="48219" y="70191"/>
                      <a:pt x="51655" y="81178"/>
                      <a:pt x="52721" y="82244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1" name="Freeform 48260"/>
              <p:cNvSpPr/>
              <p:nvPr/>
            </p:nvSpPr>
            <p:spPr>
              <a:xfrm>
                <a:off x="4505073" y="3795962"/>
                <a:ext cx="1374855" cy="527711"/>
              </a:xfrm>
              <a:custGeom>
                <a:avLst/>
                <a:gdLst>
                  <a:gd name="connsiteX0" fmla="*/ 1467517 w 1473985"/>
                  <a:gd name="connsiteY0" fmla="*/ 0 h 515804"/>
                  <a:gd name="connsiteX1" fmla="*/ 1461122 w 1473985"/>
                  <a:gd name="connsiteY1" fmla="*/ 15986 h 515804"/>
                  <a:gd name="connsiteX2" fmla="*/ 1451531 w 1473985"/>
                  <a:gd name="connsiteY2" fmla="*/ 19183 h 515804"/>
                  <a:gd name="connsiteX3" fmla="*/ 1445136 w 1473985"/>
                  <a:gd name="connsiteY3" fmla="*/ 28774 h 515804"/>
                  <a:gd name="connsiteX4" fmla="*/ 1432347 w 1473985"/>
                  <a:gd name="connsiteY4" fmla="*/ 54352 h 515804"/>
                  <a:gd name="connsiteX5" fmla="*/ 1422756 w 1473985"/>
                  <a:gd name="connsiteY5" fmla="*/ 57549 h 515804"/>
                  <a:gd name="connsiteX6" fmla="*/ 1419559 w 1473985"/>
                  <a:gd name="connsiteY6" fmla="*/ 67141 h 515804"/>
                  <a:gd name="connsiteX7" fmla="*/ 1409967 w 1473985"/>
                  <a:gd name="connsiteY7" fmla="*/ 70338 h 515804"/>
                  <a:gd name="connsiteX8" fmla="*/ 1374798 w 1473985"/>
                  <a:gd name="connsiteY8" fmla="*/ 73535 h 515804"/>
                  <a:gd name="connsiteX9" fmla="*/ 1326840 w 1473985"/>
                  <a:gd name="connsiteY9" fmla="*/ 79930 h 515804"/>
                  <a:gd name="connsiteX10" fmla="*/ 1317248 w 1473985"/>
                  <a:gd name="connsiteY10" fmla="*/ 108704 h 515804"/>
                  <a:gd name="connsiteX11" fmla="*/ 1314051 w 1473985"/>
                  <a:gd name="connsiteY11" fmla="*/ 118296 h 515804"/>
                  <a:gd name="connsiteX12" fmla="*/ 1301262 w 1473985"/>
                  <a:gd name="connsiteY12" fmla="*/ 137479 h 515804"/>
                  <a:gd name="connsiteX13" fmla="*/ 1291670 w 1473985"/>
                  <a:gd name="connsiteY13" fmla="*/ 185437 h 515804"/>
                  <a:gd name="connsiteX14" fmla="*/ 1310854 w 1473985"/>
                  <a:gd name="connsiteY14" fmla="*/ 182240 h 515804"/>
                  <a:gd name="connsiteX15" fmla="*/ 1365206 w 1473985"/>
                  <a:gd name="connsiteY15" fmla="*/ 179043 h 515804"/>
                  <a:gd name="connsiteX16" fmla="*/ 1374798 w 1473985"/>
                  <a:gd name="connsiteY16" fmla="*/ 175846 h 515804"/>
                  <a:gd name="connsiteX17" fmla="*/ 1422756 w 1473985"/>
                  <a:gd name="connsiteY17" fmla="*/ 182240 h 515804"/>
                  <a:gd name="connsiteX18" fmla="*/ 1435545 w 1473985"/>
                  <a:gd name="connsiteY18" fmla="*/ 198226 h 515804"/>
                  <a:gd name="connsiteX19" fmla="*/ 1438742 w 1473985"/>
                  <a:gd name="connsiteY19" fmla="*/ 207818 h 515804"/>
                  <a:gd name="connsiteX20" fmla="*/ 1445136 w 1473985"/>
                  <a:gd name="connsiteY20" fmla="*/ 217409 h 515804"/>
                  <a:gd name="connsiteX21" fmla="*/ 1461122 w 1473985"/>
                  <a:gd name="connsiteY21" fmla="*/ 230198 h 515804"/>
                  <a:gd name="connsiteX22" fmla="*/ 1467517 w 1473985"/>
                  <a:gd name="connsiteY22" fmla="*/ 236593 h 515804"/>
                  <a:gd name="connsiteX23" fmla="*/ 1470714 w 1473985"/>
                  <a:gd name="connsiteY23" fmla="*/ 265367 h 515804"/>
                  <a:gd name="connsiteX24" fmla="*/ 1457925 w 1473985"/>
                  <a:gd name="connsiteY24" fmla="*/ 268565 h 515804"/>
                  <a:gd name="connsiteX25" fmla="*/ 1438742 w 1473985"/>
                  <a:gd name="connsiteY25" fmla="*/ 271762 h 515804"/>
                  <a:gd name="connsiteX26" fmla="*/ 1409967 w 1473985"/>
                  <a:gd name="connsiteY26" fmla="*/ 268565 h 515804"/>
                  <a:gd name="connsiteX27" fmla="*/ 1400375 w 1473985"/>
                  <a:gd name="connsiteY27" fmla="*/ 265367 h 515804"/>
                  <a:gd name="connsiteX28" fmla="*/ 1409967 w 1473985"/>
                  <a:gd name="connsiteY28" fmla="*/ 262170 h 515804"/>
                  <a:gd name="connsiteX29" fmla="*/ 1362009 w 1473985"/>
                  <a:gd name="connsiteY29" fmla="*/ 258973 h 515804"/>
                  <a:gd name="connsiteX30" fmla="*/ 1349220 w 1473985"/>
                  <a:gd name="connsiteY30" fmla="*/ 262170 h 515804"/>
                  <a:gd name="connsiteX31" fmla="*/ 1320445 w 1473985"/>
                  <a:gd name="connsiteY31" fmla="*/ 278156 h 515804"/>
                  <a:gd name="connsiteX32" fmla="*/ 1307656 w 1473985"/>
                  <a:gd name="connsiteY32" fmla="*/ 290945 h 515804"/>
                  <a:gd name="connsiteX33" fmla="*/ 1304459 w 1473985"/>
                  <a:gd name="connsiteY33" fmla="*/ 300537 h 515804"/>
                  <a:gd name="connsiteX34" fmla="*/ 1291670 w 1473985"/>
                  <a:gd name="connsiteY34" fmla="*/ 303734 h 515804"/>
                  <a:gd name="connsiteX35" fmla="*/ 1282079 w 1473985"/>
                  <a:gd name="connsiteY35" fmla="*/ 310128 h 515804"/>
                  <a:gd name="connsiteX36" fmla="*/ 1262896 w 1473985"/>
                  <a:gd name="connsiteY36" fmla="*/ 316523 h 515804"/>
                  <a:gd name="connsiteX37" fmla="*/ 1253304 w 1473985"/>
                  <a:gd name="connsiteY37" fmla="*/ 322917 h 515804"/>
                  <a:gd name="connsiteX38" fmla="*/ 1224529 w 1473985"/>
                  <a:gd name="connsiteY38" fmla="*/ 332509 h 515804"/>
                  <a:gd name="connsiteX39" fmla="*/ 1211740 w 1473985"/>
                  <a:gd name="connsiteY39" fmla="*/ 338903 h 515804"/>
                  <a:gd name="connsiteX40" fmla="*/ 1195754 w 1473985"/>
                  <a:gd name="connsiteY40" fmla="*/ 358086 h 515804"/>
                  <a:gd name="connsiteX41" fmla="*/ 1176571 w 1473985"/>
                  <a:gd name="connsiteY41" fmla="*/ 364481 h 515804"/>
                  <a:gd name="connsiteX42" fmla="*/ 1166979 w 1473985"/>
                  <a:gd name="connsiteY42" fmla="*/ 367678 h 515804"/>
                  <a:gd name="connsiteX43" fmla="*/ 1141402 w 1473985"/>
                  <a:gd name="connsiteY43" fmla="*/ 361283 h 515804"/>
                  <a:gd name="connsiteX44" fmla="*/ 1119021 w 1473985"/>
                  <a:gd name="connsiteY44" fmla="*/ 354889 h 515804"/>
                  <a:gd name="connsiteX45" fmla="*/ 1109430 w 1473985"/>
                  <a:gd name="connsiteY45" fmla="*/ 358086 h 515804"/>
                  <a:gd name="connsiteX46" fmla="*/ 1115824 w 1473985"/>
                  <a:gd name="connsiteY46" fmla="*/ 402847 h 515804"/>
                  <a:gd name="connsiteX47" fmla="*/ 1112627 w 1473985"/>
                  <a:gd name="connsiteY47" fmla="*/ 425228 h 515804"/>
                  <a:gd name="connsiteX48" fmla="*/ 1080655 w 1473985"/>
                  <a:gd name="connsiteY48" fmla="*/ 441214 h 515804"/>
                  <a:gd name="connsiteX49" fmla="*/ 1074261 w 1473985"/>
                  <a:gd name="connsiteY49" fmla="*/ 450805 h 515804"/>
                  <a:gd name="connsiteX50" fmla="*/ 1055077 w 1473985"/>
                  <a:gd name="connsiteY50" fmla="*/ 463594 h 515804"/>
                  <a:gd name="connsiteX51" fmla="*/ 1045486 w 1473985"/>
                  <a:gd name="connsiteY51" fmla="*/ 469988 h 515804"/>
                  <a:gd name="connsiteX52" fmla="*/ 1039091 w 1473985"/>
                  <a:gd name="connsiteY52" fmla="*/ 476383 h 515804"/>
                  <a:gd name="connsiteX53" fmla="*/ 1019908 w 1473985"/>
                  <a:gd name="connsiteY53" fmla="*/ 482777 h 515804"/>
                  <a:gd name="connsiteX54" fmla="*/ 1010317 w 1473985"/>
                  <a:gd name="connsiteY54" fmla="*/ 485974 h 515804"/>
                  <a:gd name="connsiteX55" fmla="*/ 1003922 w 1473985"/>
                  <a:gd name="connsiteY55" fmla="*/ 492369 h 515804"/>
                  <a:gd name="connsiteX56" fmla="*/ 949570 w 1473985"/>
                  <a:gd name="connsiteY56" fmla="*/ 485974 h 515804"/>
                  <a:gd name="connsiteX57" fmla="*/ 869640 w 1473985"/>
                  <a:gd name="connsiteY57" fmla="*/ 489172 h 515804"/>
                  <a:gd name="connsiteX58" fmla="*/ 860048 w 1473985"/>
                  <a:gd name="connsiteY58" fmla="*/ 495566 h 515804"/>
                  <a:gd name="connsiteX59" fmla="*/ 840865 w 1473985"/>
                  <a:gd name="connsiteY59" fmla="*/ 501960 h 515804"/>
                  <a:gd name="connsiteX60" fmla="*/ 834470 w 1473985"/>
                  <a:gd name="connsiteY60" fmla="*/ 508355 h 515804"/>
                  <a:gd name="connsiteX61" fmla="*/ 792907 w 1473985"/>
                  <a:gd name="connsiteY61" fmla="*/ 511552 h 515804"/>
                  <a:gd name="connsiteX62" fmla="*/ 764132 w 1473985"/>
                  <a:gd name="connsiteY62" fmla="*/ 501960 h 515804"/>
                  <a:gd name="connsiteX63" fmla="*/ 754540 w 1473985"/>
                  <a:gd name="connsiteY63" fmla="*/ 498763 h 515804"/>
                  <a:gd name="connsiteX64" fmla="*/ 719371 w 1473985"/>
                  <a:gd name="connsiteY64" fmla="*/ 489172 h 515804"/>
                  <a:gd name="connsiteX65" fmla="*/ 690596 w 1473985"/>
                  <a:gd name="connsiteY65" fmla="*/ 479580 h 515804"/>
                  <a:gd name="connsiteX66" fmla="*/ 681005 w 1473985"/>
                  <a:gd name="connsiteY66" fmla="*/ 476383 h 515804"/>
                  <a:gd name="connsiteX67" fmla="*/ 671413 w 1473985"/>
                  <a:gd name="connsiteY67" fmla="*/ 479580 h 515804"/>
                  <a:gd name="connsiteX68" fmla="*/ 607469 w 1473985"/>
                  <a:gd name="connsiteY68" fmla="*/ 476383 h 515804"/>
                  <a:gd name="connsiteX69" fmla="*/ 489172 w 1473985"/>
                  <a:gd name="connsiteY69" fmla="*/ 473186 h 515804"/>
                  <a:gd name="connsiteX70" fmla="*/ 479581 w 1473985"/>
                  <a:gd name="connsiteY70" fmla="*/ 469988 h 515804"/>
                  <a:gd name="connsiteX71" fmla="*/ 460398 w 1473985"/>
                  <a:gd name="connsiteY71" fmla="*/ 444411 h 515804"/>
                  <a:gd name="connsiteX72" fmla="*/ 457200 w 1473985"/>
                  <a:gd name="connsiteY72" fmla="*/ 434819 h 515804"/>
                  <a:gd name="connsiteX73" fmla="*/ 450806 w 1473985"/>
                  <a:gd name="connsiteY73" fmla="*/ 425228 h 515804"/>
                  <a:gd name="connsiteX74" fmla="*/ 441214 w 1473985"/>
                  <a:gd name="connsiteY74" fmla="*/ 409241 h 515804"/>
                  <a:gd name="connsiteX75" fmla="*/ 434820 w 1473985"/>
                  <a:gd name="connsiteY75" fmla="*/ 399650 h 515804"/>
                  <a:gd name="connsiteX76" fmla="*/ 418834 w 1473985"/>
                  <a:gd name="connsiteY76" fmla="*/ 386861 h 515804"/>
                  <a:gd name="connsiteX77" fmla="*/ 390059 w 1473985"/>
                  <a:gd name="connsiteY77" fmla="*/ 380467 h 515804"/>
                  <a:gd name="connsiteX78" fmla="*/ 374073 w 1473985"/>
                  <a:gd name="connsiteY78" fmla="*/ 367678 h 515804"/>
                  <a:gd name="connsiteX79" fmla="*/ 364482 w 1473985"/>
                  <a:gd name="connsiteY79" fmla="*/ 361283 h 515804"/>
                  <a:gd name="connsiteX80" fmla="*/ 348496 w 1473985"/>
                  <a:gd name="connsiteY80" fmla="*/ 348495 h 515804"/>
                  <a:gd name="connsiteX81" fmla="*/ 313326 w 1473985"/>
                  <a:gd name="connsiteY81" fmla="*/ 342100 h 515804"/>
                  <a:gd name="connsiteX82" fmla="*/ 274960 w 1473985"/>
                  <a:gd name="connsiteY82" fmla="*/ 335706 h 515804"/>
                  <a:gd name="connsiteX83" fmla="*/ 249382 w 1473985"/>
                  <a:gd name="connsiteY83" fmla="*/ 329311 h 515804"/>
                  <a:gd name="connsiteX84" fmla="*/ 227002 w 1473985"/>
                  <a:gd name="connsiteY84" fmla="*/ 300537 h 515804"/>
                  <a:gd name="connsiteX85" fmla="*/ 223805 w 1473985"/>
                  <a:gd name="connsiteY85" fmla="*/ 255776 h 515804"/>
                  <a:gd name="connsiteX86" fmla="*/ 220607 w 1473985"/>
                  <a:gd name="connsiteY86" fmla="*/ 246184 h 515804"/>
                  <a:gd name="connsiteX87" fmla="*/ 211016 w 1473985"/>
                  <a:gd name="connsiteY87" fmla="*/ 239790 h 515804"/>
                  <a:gd name="connsiteX88" fmla="*/ 211016 w 1473985"/>
                  <a:gd name="connsiteY88" fmla="*/ 211015 h 515804"/>
                  <a:gd name="connsiteX89" fmla="*/ 207819 w 1473985"/>
                  <a:gd name="connsiteY89" fmla="*/ 201423 h 515804"/>
                  <a:gd name="connsiteX90" fmla="*/ 201424 w 1473985"/>
                  <a:gd name="connsiteY90" fmla="*/ 195029 h 515804"/>
                  <a:gd name="connsiteX91" fmla="*/ 153466 w 1473985"/>
                  <a:gd name="connsiteY91" fmla="*/ 185437 h 515804"/>
                  <a:gd name="connsiteX92" fmla="*/ 147072 w 1473985"/>
                  <a:gd name="connsiteY92" fmla="*/ 175846 h 515804"/>
                  <a:gd name="connsiteX93" fmla="*/ 140677 w 1473985"/>
                  <a:gd name="connsiteY93" fmla="*/ 169451 h 515804"/>
                  <a:gd name="connsiteX94" fmla="*/ 137480 w 1473985"/>
                  <a:gd name="connsiteY94" fmla="*/ 159860 h 515804"/>
                  <a:gd name="connsiteX95" fmla="*/ 124691 w 1473985"/>
                  <a:gd name="connsiteY95" fmla="*/ 147071 h 515804"/>
                  <a:gd name="connsiteX96" fmla="*/ 118297 w 1473985"/>
                  <a:gd name="connsiteY96" fmla="*/ 140676 h 515804"/>
                  <a:gd name="connsiteX97" fmla="*/ 108705 w 1473985"/>
                  <a:gd name="connsiteY97" fmla="*/ 124690 h 515804"/>
                  <a:gd name="connsiteX98" fmla="*/ 105508 w 1473985"/>
                  <a:gd name="connsiteY98" fmla="*/ 115099 h 515804"/>
                  <a:gd name="connsiteX99" fmla="*/ 86325 w 1473985"/>
                  <a:gd name="connsiteY99" fmla="*/ 108704 h 515804"/>
                  <a:gd name="connsiteX100" fmla="*/ 76733 w 1473985"/>
                  <a:gd name="connsiteY100" fmla="*/ 105507 h 515804"/>
                  <a:gd name="connsiteX101" fmla="*/ 70339 w 1473985"/>
                  <a:gd name="connsiteY101" fmla="*/ 124690 h 515804"/>
                  <a:gd name="connsiteX102" fmla="*/ 57550 w 1473985"/>
                  <a:gd name="connsiteY102" fmla="*/ 137479 h 515804"/>
                  <a:gd name="connsiteX103" fmla="*/ 51156 w 1473985"/>
                  <a:gd name="connsiteY103" fmla="*/ 143874 h 515804"/>
                  <a:gd name="connsiteX104" fmla="*/ 41564 w 1473985"/>
                  <a:gd name="connsiteY104" fmla="*/ 147071 h 515804"/>
                  <a:gd name="connsiteX105" fmla="*/ 35170 w 1473985"/>
                  <a:gd name="connsiteY105" fmla="*/ 156662 h 515804"/>
                  <a:gd name="connsiteX106" fmla="*/ 28775 w 1473985"/>
                  <a:gd name="connsiteY106" fmla="*/ 163057 h 515804"/>
                  <a:gd name="connsiteX107" fmla="*/ 25578 w 1473985"/>
                  <a:gd name="connsiteY107" fmla="*/ 182240 h 515804"/>
                  <a:gd name="connsiteX108" fmla="*/ 22381 w 1473985"/>
                  <a:gd name="connsiteY108" fmla="*/ 233395 h 515804"/>
                  <a:gd name="connsiteX109" fmla="*/ 15986 w 1473985"/>
                  <a:gd name="connsiteY109" fmla="*/ 239790 h 515804"/>
                  <a:gd name="connsiteX110" fmla="*/ 9592 w 1473985"/>
                  <a:gd name="connsiteY110" fmla="*/ 249381 h 515804"/>
                  <a:gd name="connsiteX111" fmla="*/ 0 w 1473985"/>
                  <a:gd name="connsiteY111" fmla="*/ 262170 h 515804"/>
                  <a:gd name="connsiteX0" fmla="*/ 1467517 w 1473985"/>
                  <a:gd name="connsiteY0" fmla="*/ 0 h 515804"/>
                  <a:gd name="connsiteX1" fmla="*/ 1461122 w 1473985"/>
                  <a:gd name="connsiteY1" fmla="*/ 15986 h 515804"/>
                  <a:gd name="connsiteX2" fmla="*/ 1451531 w 1473985"/>
                  <a:gd name="connsiteY2" fmla="*/ 19183 h 515804"/>
                  <a:gd name="connsiteX3" fmla="*/ 1445136 w 1473985"/>
                  <a:gd name="connsiteY3" fmla="*/ 28774 h 515804"/>
                  <a:gd name="connsiteX4" fmla="*/ 1432347 w 1473985"/>
                  <a:gd name="connsiteY4" fmla="*/ 54352 h 515804"/>
                  <a:gd name="connsiteX5" fmla="*/ 1422756 w 1473985"/>
                  <a:gd name="connsiteY5" fmla="*/ 57549 h 515804"/>
                  <a:gd name="connsiteX6" fmla="*/ 1419559 w 1473985"/>
                  <a:gd name="connsiteY6" fmla="*/ 67141 h 515804"/>
                  <a:gd name="connsiteX7" fmla="*/ 1409967 w 1473985"/>
                  <a:gd name="connsiteY7" fmla="*/ 70338 h 515804"/>
                  <a:gd name="connsiteX8" fmla="*/ 1374798 w 1473985"/>
                  <a:gd name="connsiteY8" fmla="*/ 73535 h 515804"/>
                  <a:gd name="connsiteX9" fmla="*/ 1326840 w 1473985"/>
                  <a:gd name="connsiteY9" fmla="*/ 79930 h 515804"/>
                  <a:gd name="connsiteX10" fmla="*/ 1317248 w 1473985"/>
                  <a:gd name="connsiteY10" fmla="*/ 108704 h 515804"/>
                  <a:gd name="connsiteX11" fmla="*/ 1314051 w 1473985"/>
                  <a:gd name="connsiteY11" fmla="*/ 118296 h 515804"/>
                  <a:gd name="connsiteX12" fmla="*/ 1301262 w 1473985"/>
                  <a:gd name="connsiteY12" fmla="*/ 137479 h 515804"/>
                  <a:gd name="connsiteX13" fmla="*/ 1291670 w 1473985"/>
                  <a:gd name="connsiteY13" fmla="*/ 185437 h 515804"/>
                  <a:gd name="connsiteX14" fmla="*/ 1310854 w 1473985"/>
                  <a:gd name="connsiteY14" fmla="*/ 182240 h 515804"/>
                  <a:gd name="connsiteX15" fmla="*/ 1365206 w 1473985"/>
                  <a:gd name="connsiteY15" fmla="*/ 179043 h 515804"/>
                  <a:gd name="connsiteX16" fmla="*/ 1374798 w 1473985"/>
                  <a:gd name="connsiteY16" fmla="*/ 175846 h 515804"/>
                  <a:gd name="connsiteX17" fmla="*/ 1422756 w 1473985"/>
                  <a:gd name="connsiteY17" fmla="*/ 182240 h 515804"/>
                  <a:gd name="connsiteX18" fmla="*/ 1435545 w 1473985"/>
                  <a:gd name="connsiteY18" fmla="*/ 198226 h 515804"/>
                  <a:gd name="connsiteX19" fmla="*/ 1438742 w 1473985"/>
                  <a:gd name="connsiteY19" fmla="*/ 207818 h 515804"/>
                  <a:gd name="connsiteX20" fmla="*/ 1445136 w 1473985"/>
                  <a:gd name="connsiteY20" fmla="*/ 217409 h 515804"/>
                  <a:gd name="connsiteX21" fmla="*/ 1461122 w 1473985"/>
                  <a:gd name="connsiteY21" fmla="*/ 230198 h 515804"/>
                  <a:gd name="connsiteX22" fmla="*/ 1467517 w 1473985"/>
                  <a:gd name="connsiteY22" fmla="*/ 236593 h 515804"/>
                  <a:gd name="connsiteX23" fmla="*/ 1470714 w 1473985"/>
                  <a:gd name="connsiteY23" fmla="*/ 265367 h 515804"/>
                  <a:gd name="connsiteX24" fmla="*/ 1457925 w 1473985"/>
                  <a:gd name="connsiteY24" fmla="*/ 268565 h 515804"/>
                  <a:gd name="connsiteX25" fmla="*/ 1438742 w 1473985"/>
                  <a:gd name="connsiteY25" fmla="*/ 271762 h 515804"/>
                  <a:gd name="connsiteX26" fmla="*/ 1409967 w 1473985"/>
                  <a:gd name="connsiteY26" fmla="*/ 268565 h 515804"/>
                  <a:gd name="connsiteX27" fmla="*/ 1400375 w 1473985"/>
                  <a:gd name="connsiteY27" fmla="*/ 265367 h 515804"/>
                  <a:gd name="connsiteX28" fmla="*/ 1424255 w 1473985"/>
                  <a:gd name="connsiteY28" fmla="*/ 247883 h 515804"/>
                  <a:gd name="connsiteX29" fmla="*/ 1362009 w 1473985"/>
                  <a:gd name="connsiteY29" fmla="*/ 258973 h 515804"/>
                  <a:gd name="connsiteX30" fmla="*/ 1349220 w 1473985"/>
                  <a:gd name="connsiteY30" fmla="*/ 262170 h 515804"/>
                  <a:gd name="connsiteX31" fmla="*/ 1320445 w 1473985"/>
                  <a:gd name="connsiteY31" fmla="*/ 278156 h 515804"/>
                  <a:gd name="connsiteX32" fmla="*/ 1307656 w 1473985"/>
                  <a:gd name="connsiteY32" fmla="*/ 290945 h 515804"/>
                  <a:gd name="connsiteX33" fmla="*/ 1304459 w 1473985"/>
                  <a:gd name="connsiteY33" fmla="*/ 300537 h 515804"/>
                  <a:gd name="connsiteX34" fmla="*/ 1291670 w 1473985"/>
                  <a:gd name="connsiteY34" fmla="*/ 303734 h 515804"/>
                  <a:gd name="connsiteX35" fmla="*/ 1282079 w 1473985"/>
                  <a:gd name="connsiteY35" fmla="*/ 310128 h 515804"/>
                  <a:gd name="connsiteX36" fmla="*/ 1262896 w 1473985"/>
                  <a:gd name="connsiteY36" fmla="*/ 316523 h 515804"/>
                  <a:gd name="connsiteX37" fmla="*/ 1253304 w 1473985"/>
                  <a:gd name="connsiteY37" fmla="*/ 322917 h 515804"/>
                  <a:gd name="connsiteX38" fmla="*/ 1224529 w 1473985"/>
                  <a:gd name="connsiteY38" fmla="*/ 332509 h 515804"/>
                  <a:gd name="connsiteX39" fmla="*/ 1211740 w 1473985"/>
                  <a:gd name="connsiteY39" fmla="*/ 338903 h 515804"/>
                  <a:gd name="connsiteX40" fmla="*/ 1195754 w 1473985"/>
                  <a:gd name="connsiteY40" fmla="*/ 358086 h 515804"/>
                  <a:gd name="connsiteX41" fmla="*/ 1176571 w 1473985"/>
                  <a:gd name="connsiteY41" fmla="*/ 364481 h 515804"/>
                  <a:gd name="connsiteX42" fmla="*/ 1166979 w 1473985"/>
                  <a:gd name="connsiteY42" fmla="*/ 367678 h 515804"/>
                  <a:gd name="connsiteX43" fmla="*/ 1141402 w 1473985"/>
                  <a:gd name="connsiteY43" fmla="*/ 361283 h 515804"/>
                  <a:gd name="connsiteX44" fmla="*/ 1119021 w 1473985"/>
                  <a:gd name="connsiteY44" fmla="*/ 354889 h 515804"/>
                  <a:gd name="connsiteX45" fmla="*/ 1109430 w 1473985"/>
                  <a:gd name="connsiteY45" fmla="*/ 358086 h 515804"/>
                  <a:gd name="connsiteX46" fmla="*/ 1115824 w 1473985"/>
                  <a:gd name="connsiteY46" fmla="*/ 402847 h 515804"/>
                  <a:gd name="connsiteX47" fmla="*/ 1112627 w 1473985"/>
                  <a:gd name="connsiteY47" fmla="*/ 425228 h 515804"/>
                  <a:gd name="connsiteX48" fmla="*/ 1080655 w 1473985"/>
                  <a:gd name="connsiteY48" fmla="*/ 441214 h 515804"/>
                  <a:gd name="connsiteX49" fmla="*/ 1074261 w 1473985"/>
                  <a:gd name="connsiteY49" fmla="*/ 450805 h 515804"/>
                  <a:gd name="connsiteX50" fmla="*/ 1055077 w 1473985"/>
                  <a:gd name="connsiteY50" fmla="*/ 463594 h 515804"/>
                  <a:gd name="connsiteX51" fmla="*/ 1045486 w 1473985"/>
                  <a:gd name="connsiteY51" fmla="*/ 469988 h 515804"/>
                  <a:gd name="connsiteX52" fmla="*/ 1039091 w 1473985"/>
                  <a:gd name="connsiteY52" fmla="*/ 476383 h 515804"/>
                  <a:gd name="connsiteX53" fmla="*/ 1019908 w 1473985"/>
                  <a:gd name="connsiteY53" fmla="*/ 482777 h 515804"/>
                  <a:gd name="connsiteX54" fmla="*/ 1010317 w 1473985"/>
                  <a:gd name="connsiteY54" fmla="*/ 485974 h 515804"/>
                  <a:gd name="connsiteX55" fmla="*/ 1003922 w 1473985"/>
                  <a:gd name="connsiteY55" fmla="*/ 492369 h 515804"/>
                  <a:gd name="connsiteX56" fmla="*/ 949570 w 1473985"/>
                  <a:gd name="connsiteY56" fmla="*/ 485974 h 515804"/>
                  <a:gd name="connsiteX57" fmla="*/ 869640 w 1473985"/>
                  <a:gd name="connsiteY57" fmla="*/ 489172 h 515804"/>
                  <a:gd name="connsiteX58" fmla="*/ 860048 w 1473985"/>
                  <a:gd name="connsiteY58" fmla="*/ 495566 h 515804"/>
                  <a:gd name="connsiteX59" fmla="*/ 840865 w 1473985"/>
                  <a:gd name="connsiteY59" fmla="*/ 501960 h 515804"/>
                  <a:gd name="connsiteX60" fmla="*/ 834470 w 1473985"/>
                  <a:gd name="connsiteY60" fmla="*/ 508355 h 515804"/>
                  <a:gd name="connsiteX61" fmla="*/ 792907 w 1473985"/>
                  <a:gd name="connsiteY61" fmla="*/ 511552 h 515804"/>
                  <a:gd name="connsiteX62" fmla="*/ 764132 w 1473985"/>
                  <a:gd name="connsiteY62" fmla="*/ 501960 h 515804"/>
                  <a:gd name="connsiteX63" fmla="*/ 754540 w 1473985"/>
                  <a:gd name="connsiteY63" fmla="*/ 498763 h 515804"/>
                  <a:gd name="connsiteX64" fmla="*/ 719371 w 1473985"/>
                  <a:gd name="connsiteY64" fmla="*/ 489172 h 515804"/>
                  <a:gd name="connsiteX65" fmla="*/ 690596 w 1473985"/>
                  <a:gd name="connsiteY65" fmla="*/ 479580 h 515804"/>
                  <a:gd name="connsiteX66" fmla="*/ 681005 w 1473985"/>
                  <a:gd name="connsiteY66" fmla="*/ 476383 h 515804"/>
                  <a:gd name="connsiteX67" fmla="*/ 671413 w 1473985"/>
                  <a:gd name="connsiteY67" fmla="*/ 479580 h 515804"/>
                  <a:gd name="connsiteX68" fmla="*/ 607469 w 1473985"/>
                  <a:gd name="connsiteY68" fmla="*/ 476383 h 515804"/>
                  <a:gd name="connsiteX69" fmla="*/ 489172 w 1473985"/>
                  <a:gd name="connsiteY69" fmla="*/ 473186 h 515804"/>
                  <a:gd name="connsiteX70" fmla="*/ 479581 w 1473985"/>
                  <a:gd name="connsiteY70" fmla="*/ 469988 h 515804"/>
                  <a:gd name="connsiteX71" fmla="*/ 460398 w 1473985"/>
                  <a:gd name="connsiteY71" fmla="*/ 444411 h 515804"/>
                  <a:gd name="connsiteX72" fmla="*/ 457200 w 1473985"/>
                  <a:gd name="connsiteY72" fmla="*/ 434819 h 515804"/>
                  <a:gd name="connsiteX73" fmla="*/ 450806 w 1473985"/>
                  <a:gd name="connsiteY73" fmla="*/ 425228 h 515804"/>
                  <a:gd name="connsiteX74" fmla="*/ 441214 w 1473985"/>
                  <a:gd name="connsiteY74" fmla="*/ 409241 h 515804"/>
                  <a:gd name="connsiteX75" fmla="*/ 434820 w 1473985"/>
                  <a:gd name="connsiteY75" fmla="*/ 399650 h 515804"/>
                  <a:gd name="connsiteX76" fmla="*/ 418834 w 1473985"/>
                  <a:gd name="connsiteY76" fmla="*/ 386861 h 515804"/>
                  <a:gd name="connsiteX77" fmla="*/ 390059 w 1473985"/>
                  <a:gd name="connsiteY77" fmla="*/ 380467 h 515804"/>
                  <a:gd name="connsiteX78" fmla="*/ 374073 w 1473985"/>
                  <a:gd name="connsiteY78" fmla="*/ 367678 h 515804"/>
                  <a:gd name="connsiteX79" fmla="*/ 364482 w 1473985"/>
                  <a:gd name="connsiteY79" fmla="*/ 361283 h 515804"/>
                  <a:gd name="connsiteX80" fmla="*/ 348496 w 1473985"/>
                  <a:gd name="connsiteY80" fmla="*/ 348495 h 515804"/>
                  <a:gd name="connsiteX81" fmla="*/ 313326 w 1473985"/>
                  <a:gd name="connsiteY81" fmla="*/ 342100 h 515804"/>
                  <a:gd name="connsiteX82" fmla="*/ 274960 w 1473985"/>
                  <a:gd name="connsiteY82" fmla="*/ 335706 h 515804"/>
                  <a:gd name="connsiteX83" fmla="*/ 249382 w 1473985"/>
                  <a:gd name="connsiteY83" fmla="*/ 329311 h 515804"/>
                  <a:gd name="connsiteX84" fmla="*/ 227002 w 1473985"/>
                  <a:gd name="connsiteY84" fmla="*/ 300537 h 515804"/>
                  <a:gd name="connsiteX85" fmla="*/ 223805 w 1473985"/>
                  <a:gd name="connsiteY85" fmla="*/ 255776 h 515804"/>
                  <a:gd name="connsiteX86" fmla="*/ 220607 w 1473985"/>
                  <a:gd name="connsiteY86" fmla="*/ 246184 h 515804"/>
                  <a:gd name="connsiteX87" fmla="*/ 211016 w 1473985"/>
                  <a:gd name="connsiteY87" fmla="*/ 239790 h 515804"/>
                  <a:gd name="connsiteX88" fmla="*/ 211016 w 1473985"/>
                  <a:gd name="connsiteY88" fmla="*/ 211015 h 515804"/>
                  <a:gd name="connsiteX89" fmla="*/ 207819 w 1473985"/>
                  <a:gd name="connsiteY89" fmla="*/ 201423 h 515804"/>
                  <a:gd name="connsiteX90" fmla="*/ 201424 w 1473985"/>
                  <a:gd name="connsiteY90" fmla="*/ 195029 h 515804"/>
                  <a:gd name="connsiteX91" fmla="*/ 153466 w 1473985"/>
                  <a:gd name="connsiteY91" fmla="*/ 185437 h 515804"/>
                  <a:gd name="connsiteX92" fmla="*/ 147072 w 1473985"/>
                  <a:gd name="connsiteY92" fmla="*/ 175846 h 515804"/>
                  <a:gd name="connsiteX93" fmla="*/ 140677 w 1473985"/>
                  <a:gd name="connsiteY93" fmla="*/ 169451 h 515804"/>
                  <a:gd name="connsiteX94" fmla="*/ 137480 w 1473985"/>
                  <a:gd name="connsiteY94" fmla="*/ 159860 h 515804"/>
                  <a:gd name="connsiteX95" fmla="*/ 124691 w 1473985"/>
                  <a:gd name="connsiteY95" fmla="*/ 147071 h 515804"/>
                  <a:gd name="connsiteX96" fmla="*/ 118297 w 1473985"/>
                  <a:gd name="connsiteY96" fmla="*/ 140676 h 515804"/>
                  <a:gd name="connsiteX97" fmla="*/ 108705 w 1473985"/>
                  <a:gd name="connsiteY97" fmla="*/ 124690 h 515804"/>
                  <a:gd name="connsiteX98" fmla="*/ 105508 w 1473985"/>
                  <a:gd name="connsiteY98" fmla="*/ 115099 h 515804"/>
                  <a:gd name="connsiteX99" fmla="*/ 86325 w 1473985"/>
                  <a:gd name="connsiteY99" fmla="*/ 108704 h 515804"/>
                  <a:gd name="connsiteX100" fmla="*/ 76733 w 1473985"/>
                  <a:gd name="connsiteY100" fmla="*/ 105507 h 515804"/>
                  <a:gd name="connsiteX101" fmla="*/ 70339 w 1473985"/>
                  <a:gd name="connsiteY101" fmla="*/ 124690 h 515804"/>
                  <a:gd name="connsiteX102" fmla="*/ 57550 w 1473985"/>
                  <a:gd name="connsiteY102" fmla="*/ 137479 h 515804"/>
                  <a:gd name="connsiteX103" fmla="*/ 51156 w 1473985"/>
                  <a:gd name="connsiteY103" fmla="*/ 143874 h 515804"/>
                  <a:gd name="connsiteX104" fmla="*/ 41564 w 1473985"/>
                  <a:gd name="connsiteY104" fmla="*/ 147071 h 515804"/>
                  <a:gd name="connsiteX105" fmla="*/ 35170 w 1473985"/>
                  <a:gd name="connsiteY105" fmla="*/ 156662 h 515804"/>
                  <a:gd name="connsiteX106" fmla="*/ 28775 w 1473985"/>
                  <a:gd name="connsiteY106" fmla="*/ 163057 h 515804"/>
                  <a:gd name="connsiteX107" fmla="*/ 25578 w 1473985"/>
                  <a:gd name="connsiteY107" fmla="*/ 182240 h 515804"/>
                  <a:gd name="connsiteX108" fmla="*/ 22381 w 1473985"/>
                  <a:gd name="connsiteY108" fmla="*/ 233395 h 515804"/>
                  <a:gd name="connsiteX109" fmla="*/ 15986 w 1473985"/>
                  <a:gd name="connsiteY109" fmla="*/ 239790 h 515804"/>
                  <a:gd name="connsiteX110" fmla="*/ 9592 w 1473985"/>
                  <a:gd name="connsiteY110" fmla="*/ 249381 h 515804"/>
                  <a:gd name="connsiteX111" fmla="*/ 0 w 1473985"/>
                  <a:gd name="connsiteY111" fmla="*/ 262170 h 515804"/>
                  <a:gd name="connsiteX0" fmla="*/ 1467517 w 1473985"/>
                  <a:gd name="connsiteY0" fmla="*/ 0 h 515804"/>
                  <a:gd name="connsiteX1" fmla="*/ 1461122 w 1473985"/>
                  <a:gd name="connsiteY1" fmla="*/ 15986 h 515804"/>
                  <a:gd name="connsiteX2" fmla="*/ 1451531 w 1473985"/>
                  <a:gd name="connsiteY2" fmla="*/ 19183 h 515804"/>
                  <a:gd name="connsiteX3" fmla="*/ 1445136 w 1473985"/>
                  <a:gd name="connsiteY3" fmla="*/ 28774 h 515804"/>
                  <a:gd name="connsiteX4" fmla="*/ 1432347 w 1473985"/>
                  <a:gd name="connsiteY4" fmla="*/ 54352 h 515804"/>
                  <a:gd name="connsiteX5" fmla="*/ 1422756 w 1473985"/>
                  <a:gd name="connsiteY5" fmla="*/ 57549 h 515804"/>
                  <a:gd name="connsiteX6" fmla="*/ 1419559 w 1473985"/>
                  <a:gd name="connsiteY6" fmla="*/ 67141 h 515804"/>
                  <a:gd name="connsiteX7" fmla="*/ 1409967 w 1473985"/>
                  <a:gd name="connsiteY7" fmla="*/ 70338 h 515804"/>
                  <a:gd name="connsiteX8" fmla="*/ 1374798 w 1473985"/>
                  <a:gd name="connsiteY8" fmla="*/ 73535 h 515804"/>
                  <a:gd name="connsiteX9" fmla="*/ 1326840 w 1473985"/>
                  <a:gd name="connsiteY9" fmla="*/ 79930 h 515804"/>
                  <a:gd name="connsiteX10" fmla="*/ 1317248 w 1473985"/>
                  <a:gd name="connsiteY10" fmla="*/ 108704 h 515804"/>
                  <a:gd name="connsiteX11" fmla="*/ 1314051 w 1473985"/>
                  <a:gd name="connsiteY11" fmla="*/ 118296 h 515804"/>
                  <a:gd name="connsiteX12" fmla="*/ 1301262 w 1473985"/>
                  <a:gd name="connsiteY12" fmla="*/ 137479 h 515804"/>
                  <a:gd name="connsiteX13" fmla="*/ 1291670 w 1473985"/>
                  <a:gd name="connsiteY13" fmla="*/ 185437 h 515804"/>
                  <a:gd name="connsiteX14" fmla="*/ 1310854 w 1473985"/>
                  <a:gd name="connsiteY14" fmla="*/ 182240 h 515804"/>
                  <a:gd name="connsiteX15" fmla="*/ 1365206 w 1473985"/>
                  <a:gd name="connsiteY15" fmla="*/ 179043 h 515804"/>
                  <a:gd name="connsiteX16" fmla="*/ 1374798 w 1473985"/>
                  <a:gd name="connsiteY16" fmla="*/ 175846 h 515804"/>
                  <a:gd name="connsiteX17" fmla="*/ 1422756 w 1473985"/>
                  <a:gd name="connsiteY17" fmla="*/ 182240 h 515804"/>
                  <a:gd name="connsiteX18" fmla="*/ 1435545 w 1473985"/>
                  <a:gd name="connsiteY18" fmla="*/ 198226 h 515804"/>
                  <a:gd name="connsiteX19" fmla="*/ 1438742 w 1473985"/>
                  <a:gd name="connsiteY19" fmla="*/ 207818 h 515804"/>
                  <a:gd name="connsiteX20" fmla="*/ 1445136 w 1473985"/>
                  <a:gd name="connsiteY20" fmla="*/ 217409 h 515804"/>
                  <a:gd name="connsiteX21" fmla="*/ 1461122 w 1473985"/>
                  <a:gd name="connsiteY21" fmla="*/ 230198 h 515804"/>
                  <a:gd name="connsiteX22" fmla="*/ 1467517 w 1473985"/>
                  <a:gd name="connsiteY22" fmla="*/ 236593 h 515804"/>
                  <a:gd name="connsiteX23" fmla="*/ 1470714 w 1473985"/>
                  <a:gd name="connsiteY23" fmla="*/ 265367 h 515804"/>
                  <a:gd name="connsiteX24" fmla="*/ 1457925 w 1473985"/>
                  <a:gd name="connsiteY24" fmla="*/ 268565 h 515804"/>
                  <a:gd name="connsiteX25" fmla="*/ 1438742 w 1473985"/>
                  <a:gd name="connsiteY25" fmla="*/ 271762 h 515804"/>
                  <a:gd name="connsiteX26" fmla="*/ 1409967 w 1473985"/>
                  <a:gd name="connsiteY26" fmla="*/ 268565 h 515804"/>
                  <a:gd name="connsiteX27" fmla="*/ 1400375 w 1473985"/>
                  <a:gd name="connsiteY27" fmla="*/ 265367 h 515804"/>
                  <a:gd name="connsiteX28" fmla="*/ 1424255 w 1473985"/>
                  <a:gd name="connsiteY28" fmla="*/ 247883 h 515804"/>
                  <a:gd name="connsiteX29" fmla="*/ 1362009 w 1473985"/>
                  <a:gd name="connsiteY29" fmla="*/ 258973 h 515804"/>
                  <a:gd name="connsiteX30" fmla="*/ 1349220 w 1473985"/>
                  <a:gd name="connsiteY30" fmla="*/ 262170 h 515804"/>
                  <a:gd name="connsiteX31" fmla="*/ 1320445 w 1473985"/>
                  <a:gd name="connsiteY31" fmla="*/ 278156 h 515804"/>
                  <a:gd name="connsiteX32" fmla="*/ 1307656 w 1473985"/>
                  <a:gd name="connsiteY32" fmla="*/ 290945 h 515804"/>
                  <a:gd name="connsiteX33" fmla="*/ 1304459 w 1473985"/>
                  <a:gd name="connsiteY33" fmla="*/ 300537 h 515804"/>
                  <a:gd name="connsiteX34" fmla="*/ 1291670 w 1473985"/>
                  <a:gd name="connsiteY34" fmla="*/ 303734 h 515804"/>
                  <a:gd name="connsiteX35" fmla="*/ 1282079 w 1473985"/>
                  <a:gd name="connsiteY35" fmla="*/ 310128 h 515804"/>
                  <a:gd name="connsiteX36" fmla="*/ 1262896 w 1473985"/>
                  <a:gd name="connsiteY36" fmla="*/ 316523 h 515804"/>
                  <a:gd name="connsiteX37" fmla="*/ 1253304 w 1473985"/>
                  <a:gd name="connsiteY37" fmla="*/ 322917 h 515804"/>
                  <a:gd name="connsiteX38" fmla="*/ 1224529 w 1473985"/>
                  <a:gd name="connsiteY38" fmla="*/ 332509 h 515804"/>
                  <a:gd name="connsiteX39" fmla="*/ 1211740 w 1473985"/>
                  <a:gd name="connsiteY39" fmla="*/ 338903 h 515804"/>
                  <a:gd name="connsiteX40" fmla="*/ 1195754 w 1473985"/>
                  <a:gd name="connsiteY40" fmla="*/ 358086 h 515804"/>
                  <a:gd name="connsiteX41" fmla="*/ 1176571 w 1473985"/>
                  <a:gd name="connsiteY41" fmla="*/ 364481 h 515804"/>
                  <a:gd name="connsiteX42" fmla="*/ 1166979 w 1473985"/>
                  <a:gd name="connsiteY42" fmla="*/ 367678 h 515804"/>
                  <a:gd name="connsiteX43" fmla="*/ 1146164 w 1473985"/>
                  <a:gd name="connsiteY43" fmla="*/ 344615 h 515804"/>
                  <a:gd name="connsiteX44" fmla="*/ 1119021 w 1473985"/>
                  <a:gd name="connsiteY44" fmla="*/ 354889 h 515804"/>
                  <a:gd name="connsiteX45" fmla="*/ 1109430 w 1473985"/>
                  <a:gd name="connsiteY45" fmla="*/ 358086 h 515804"/>
                  <a:gd name="connsiteX46" fmla="*/ 1115824 w 1473985"/>
                  <a:gd name="connsiteY46" fmla="*/ 402847 h 515804"/>
                  <a:gd name="connsiteX47" fmla="*/ 1112627 w 1473985"/>
                  <a:gd name="connsiteY47" fmla="*/ 425228 h 515804"/>
                  <a:gd name="connsiteX48" fmla="*/ 1080655 w 1473985"/>
                  <a:gd name="connsiteY48" fmla="*/ 441214 h 515804"/>
                  <a:gd name="connsiteX49" fmla="*/ 1074261 w 1473985"/>
                  <a:gd name="connsiteY49" fmla="*/ 450805 h 515804"/>
                  <a:gd name="connsiteX50" fmla="*/ 1055077 w 1473985"/>
                  <a:gd name="connsiteY50" fmla="*/ 463594 h 515804"/>
                  <a:gd name="connsiteX51" fmla="*/ 1045486 w 1473985"/>
                  <a:gd name="connsiteY51" fmla="*/ 469988 h 515804"/>
                  <a:gd name="connsiteX52" fmla="*/ 1039091 w 1473985"/>
                  <a:gd name="connsiteY52" fmla="*/ 476383 h 515804"/>
                  <a:gd name="connsiteX53" fmla="*/ 1019908 w 1473985"/>
                  <a:gd name="connsiteY53" fmla="*/ 482777 h 515804"/>
                  <a:gd name="connsiteX54" fmla="*/ 1010317 w 1473985"/>
                  <a:gd name="connsiteY54" fmla="*/ 485974 h 515804"/>
                  <a:gd name="connsiteX55" fmla="*/ 1003922 w 1473985"/>
                  <a:gd name="connsiteY55" fmla="*/ 492369 h 515804"/>
                  <a:gd name="connsiteX56" fmla="*/ 949570 w 1473985"/>
                  <a:gd name="connsiteY56" fmla="*/ 485974 h 515804"/>
                  <a:gd name="connsiteX57" fmla="*/ 869640 w 1473985"/>
                  <a:gd name="connsiteY57" fmla="*/ 489172 h 515804"/>
                  <a:gd name="connsiteX58" fmla="*/ 860048 w 1473985"/>
                  <a:gd name="connsiteY58" fmla="*/ 495566 h 515804"/>
                  <a:gd name="connsiteX59" fmla="*/ 840865 w 1473985"/>
                  <a:gd name="connsiteY59" fmla="*/ 501960 h 515804"/>
                  <a:gd name="connsiteX60" fmla="*/ 834470 w 1473985"/>
                  <a:gd name="connsiteY60" fmla="*/ 508355 h 515804"/>
                  <a:gd name="connsiteX61" fmla="*/ 792907 w 1473985"/>
                  <a:gd name="connsiteY61" fmla="*/ 511552 h 515804"/>
                  <a:gd name="connsiteX62" fmla="*/ 764132 w 1473985"/>
                  <a:gd name="connsiteY62" fmla="*/ 501960 h 515804"/>
                  <a:gd name="connsiteX63" fmla="*/ 754540 w 1473985"/>
                  <a:gd name="connsiteY63" fmla="*/ 498763 h 515804"/>
                  <a:gd name="connsiteX64" fmla="*/ 719371 w 1473985"/>
                  <a:gd name="connsiteY64" fmla="*/ 489172 h 515804"/>
                  <a:gd name="connsiteX65" fmla="*/ 690596 w 1473985"/>
                  <a:gd name="connsiteY65" fmla="*/ 479580 h 515804"/>
                  <a:gd name="connsiteX66" fmla="*/ 681005 w 1473985"/>
                  <a:gd name="connsiteY66" fmla="*/ 476383 h 515804"/>
                  <a:gd name="connsiteX67" fmla="*/ 671413 w 1473985"/>
                  <a:gd name="connsiteY67" fmla="*/ 479580 h 515804"/>
                  <a:gd name="connsiteX68" fmla="*/ 607469 w 1473985"/>
                  <a:gd name="connsiteY68" fmla="*/ 476383 h 515804"/>
                  <a:gd name="connsiteX69" fmla="*/ 489172 w 1473985"/>
                  <a:gd name="connsiteY69" fmla="*/ 473186 h 515804"/>
                  <a:gd name="connsiteX70" fmla="*/ 479581 w 1473985"/>
                  <a:gd name="connsiteY70" fmla="*/ 469988 h 515804"/>
                  <a:gd name="connsiteX71" fmla="*/ 460398 w 1473985"/>
                  <a:gd name="connsiteY71" fmla="*/ 444411 h 515804"/>
                  <a:gd name="connsiteX72" fmla="*/ 457200 w 1473985"/>
                  <a:gd name="connsiteY72" fmla="*/ 434819 h 515804"/>
                  <a:gd name="connsiteX73" fmla="*/ 450806 w 1473985"/>
                  <a:gd name="connsiteY73" fmla="*/ 425228 h 515804"/>
                  <a:gd name="connsiteX74" fmla="*/ 441214 w 1473985"/>
                  <a:gd name="connsiteY74" fmla="*/ 409241 h 515804"/>
                  <a:gd name="connsiteX75" fmla="*/ 434820 w 1473985"/>
                  <a:gd name="connsiteY75" fmla="*/ 399650 h 515804"/>
                  <a:gd name="connsiteX76" fmla="*/ 418834 w 1473985"/>
                  <a:gd name="connsiteY76" fmla="*/ 386861 h 515804"/>
                  <a:gd name="connsiteX77" fmla="*/ 390059 w 1473985"/>
                  <a:gd name="connsiteY77" fmla="*/ 380467 h 515804"/>
                  <a:gd name="connsiteX78" fmla="*/ 374073 w 1473985"/>
                  <a:gd name="connsiteY78" fmla="*/ 367678 h 515804"/>
                  <a:gd name="connsiteX79" fmla="*/ 364482 w 1473985"/>
                  <a:gd name="connsiteY79" fmla="*/ 361283 h 515804"/>
                  <a:gd name="connsiteX80" fmla="*/ 348496 w 1473985"/>
                  <a:gd name="connsiteY80" fmla="*/ 348495 h 515804"/>
                  <a:gd name="connsiteX81" fmla="*/ 313326 w 1473985"/>
                  <a:gd name="connsiteY81" fmla="*/ 342100 h 515804"/>
                  <a:gd name="connsiteX82" fmla="*/ 274960 w 1473985"/>
                  <a:gd name="connsiteY82" fmla="*/ 335706 h 515804"/>
                  <a:gd name="connsiteX83" fmla="*/ 249382 w 1473985"/>
                  <a:gd name="connsiteY83" fmla="*/ 329311 h 515804"/>
                  <a:gd name="connsiteX84" fmla="*/ 227002 w 1473985"/>
                  <a:gd name="connsiteY84" fmla="*/ 300537 h 515804"/>
                  <a:gd name="connsiteX85" fmla="*/ 223805 w 1473985"/>
                  <a:gd name="connsiteY85" fmla="*/ 255776 h 515804"/>
                  <a:gd name="connsiteX86" fmla="*/ 220607 w 1473985"/>
                  <a:gd name="connsiteY86" fmla="*/ 246184 h 515804"/>
                  <a:gd name="connsiteX87" fmla="*/ 211016 w 1473985"/>
                  <a:gd name="connsiteY87" fmla="*/ 239790 h 515804"/>
                  <a:gd name="connsiteX88" fmla="*/ 211016 w 1473985"/>
                  <a:gd name="connsiteY88" fmla="*/ 211015 h 515804"/>
                  <a:gd name="connsiteX89" fmla="*/ 207819 w 1473985"/>
                  <a:gd name="connsiteY89" fmla="*/ 201423 h 515804"/>
                  <a:gd name="connsiteX90" fmla="*/ 201424 w 1473985"/>
                  <a:gd name="connsiteY90" fmla="*/ 195029 h 515804"/>
                  <a:gd name="connsiteX91" fmla="*/ 153466 w 1473985"/>
                  <a:gd name="connsiteY91" fmla="*/ 185437 h 515804"/>
                  <a:gd name="connsiteX92" fmla="*/ 147072 w 1473985"/>
                  <a:gd name="connsiteY92" fmla="*/ 175846 h 515804"/>
                  <a:gd name="connsiteX93" fmla="*/ 140677 w 1473985"/>
                  <a:gd name="connsiteY93" fmla="*/ 169451 h 515804"/>
                  <a:gd name="connsiteX94" fmla="*/ 137480 w 1473985"/>
                  <a:gd name="connsiteY94" fmla="*/ 159860 h 515804"/>
                  <a:gd name="connsiteX95" fmla="*/ 124691 w 1473985"/>
                  <a:gd name="connsiteY95" fmla="*/ 147071 h 515804"/>
                  <a:gd name="connsiteX96" fmla="*/ 118297 w 1473985"/>
                  <a:gd name="connsiteY96" fmla="*/ 140676 h 515804"/>
                  <a:gd name="connsiteX97" fmla="*/ 108705 w 1473985"/>
                  <a:gd name="connsiteY97" fmla="*/ 124690 h 515804"/>
                  <a:gd name="connsiteX98" fmla="*/ 105508 w 1473985"/>
                  <a:gd name="connsiteY98" fmla="*/ 115099 h 515804"/>
                  <a:gd name="connsiteX99" fmla="*/ 86325 w 1473985"/>
                  <a:gd name="connsiteY99" fmla="*/ 108704 h 515804"/>
                  <a:gd name="connsiteX100" fmla="*/ 76733 w 1473985"/>
                  <a:gd name="connsiteY100" fmla="*/ 105507 h 515804"/>
                  <a:gd name="connsiteX101" fmla="*/ 70339 w 1473985"/>
                  <a:gd name="connsiteY101" fmla="*/ 124690 h 515804"/>
                  <a:gd name="connsiteX102" fmla="*/ 57550 w 1473985"/>
                  <a:gd name="connsiteY102" fmla="*/ 137479 h 515804"/>
                  <a:gd name="connsiteX103" fmla="*/ 51156 w 1473985"/>
                  <a:gd name="connsiteY103" fmla="*/ 143874 h 515804"/>
                  <a:gd name="connsiteX104" fmla="*/ 41564 w 1473985"/>
                  <a:gd name="connsiteY104" fmla="*/ 147071 h 515804"/>
                  <a:gd name="connsiteX105" fmla="*/ 35170 w 1473985"/>
                  <a:gd name="connsiteY105" fmla="*/ 156662 h 515804"/>
                  <a:gd name="connsiteX106" fmla="*/ 28775 w 1473985"/>
                  <a:gd name="connsiteY106" fmla="*/ 163057 h 515804"/>
                  <a:gd name="connsiteX107" fmla="*/ 25578 w 1473985"/>
                  <a:gd name="connsiteY107" fmla="*/ 182240 h 515804"/>
                  <a:gd name="connsiteX108" fmla="*/ 22381 w 1473985"/>
                  <a:gd name="connsiteY108" fmla="*/ 233395 h 515804"/>
                  <a:gd name="connsiteX109" fmla="*/ 15986 w 1473985"/>
                  <a:gd name="connsiteY109" fmla="*/ 239790 h 515804"/>
                  <a:gd name="connsiteX110" fmla="*/ 9592 w 1473985"/>
                  <a:gd name="connsiteY110" fmla="*/ 249381 h 515804"/>
                  <a:gd name="connsiteX111" fmla="*/ 0 w 1473985"/>
                  <a:gd name="connsiteY111" fmla="*/ 262170 h 515804"/>
                  <a:gd name="connsiteX0" fmla="*/ 1467517 w 1473985"/>
                  <a:gd name="connsiteY0" fmla="*/ 0 h 515804"/>
                  <a:gd name="connsiteX1" fmla="*/ 1461122 w 1473985"/>
                  <a:gd name="connsiteY1" fmla="*/ 15986 h 515804"/>
                  <a:gd name="connsiteX2" fmla="*/ 1451531 w 1473985"/>
                  <a:gd name="connsiteY2" fmla="*/ 19183 h 515804"/>
                  <a:gd name="connsiteX3" fmla="*/ 1445136 w 1473985"/>
                  <a:gd name="connsiteY3" fmla="*/ 28774 h 515804"/>
                  <a:gd name="connsiteX4" fmla="*/ 1432347 w 1473985"/>
                  <a:gd name="connsiteY4" fmla="*/ 54352 h 515804"/>
                  <a:gd name="connsiteX5" fmla="*/ 1422756 w 1473985"/>
                  <a:gd name="connsiteY5" fmla="*/ 57549 h 515804"/>
                  <a:gd name="connsiteX6" fmla="*/ 1419559 w 1473985"/>
                  <a:gd name="connsiteY6" fmla="*/ 67141 h 515804"/>
                  <a:gd name="connsiteX7" fmla="*/ 1409967 w 1473985"/>
                  <a:gd name="connsiteY7" fmla="*/ 70338 h 515804"/>
                  <a:gd name="connsiteX8" fmla="*/ 1374798 w 1473985"/>
                  <a:gd name="connsiteY8" fmla="*/ 73535 h 515804"/>
                  <a:gd name="connsiteX9" fmla="*/ 1326840 w 1473985"/>
                  <a:gd name="connsiteY9" fmla="*/ 79930 h 515804"/>
                  <a:gd name="connsiteX10" fmla="*/ 1317248 w 1473985"/>
                  <a:gd name="connsiteY10" fmla="*/ 108704 h 515804"/>
                  <a:gd name="connsiteX11" fmla="*/ 1314051 w 1473985"/>
                  <a:gd name="connsiteY11" fmla="*/ 118296 h 515804"/>
                  <a:gd name="connsiteX12" fmla="*/ 1301262 w 1473985"/>
                  <a:gd name="connsiteY12" fmla="*/ 137479 h 515804"/>
                  <a:gd name="connsiteX13" fmla="*/ 1291670 w 1473985"/>
                  <a:gd name="connsiteY13" fmla="*/ 185437 h 515804"/>
                  <a:gd name="connsiteX14" fmla="*/ 1310854 w 1473985"/>
                  <a:gd name="connsiteY14" fmla="*/ 182240 h 515804"/>
                  <a:gd name="connsiteX15" fmla="*/ 1365206 w 1473985"/>
                  <a:gd name="connsiteY15" fmla="*/ 179043 h 515804"/>
                  <a:gd name="connsiteX16" fmla="*/ 1374798 w 1473985"/>
                  <a:gd name="connsiteY16" fmla="*/ 175846 h 515804"/>
                  <a:gd name="connsiteX17" fmla="*/ 1422756 w 1473985"/>
                  <a:gd name="connsiteY17" fmla="*/ 182240 h 515804"/>
                  <a:gd name="connsiteX18" fmla="*/ 1435545 w 1473985"/>
                  <a:gd name="connsiteY18" fmla="*/ 198226 h 515804"/>
                  <a:gd name="connsiteX19" fmla="*/ 1438742 w 1473985"/>
                  <a:gd name="connsiteY19" fmla="*/ 207818 h 515804"/>
                  <a:gd name="connsiteX20" fmla="*/ 1445136 w 1473985"/>
                  <a:gd name="connsiteY20" fmla="*/ 217409 h 515804"/>
                  <a:gd name="connsiteX21" fmla="*/ 1461122 w 1473985"/>
                  <a:gd name="connsiteY21" fmla="*/ 230198 h 515804"/>
                  <a:gd name="connsiteX22" fmla="*/ 1467517 w 1473985"/>
                  <a:gd name="connsiteY22" fmla="*/ 236593 h 515804"/>
                  <a:gd name="connsiteX23" fmla="*/ 1470714 w 1473985"/>
                  <a:gd name="connsiteY23" fmla="*/ 265367 h 515804"/>
                  <a:gd name="connsiteX24" fmla="*/ 1457925 w 1473985"/>
                  <a:gd name="connsiteY24" fmla="*/ 268565 h 515804"/>
                  <a:gd name="connsiteX25" fmla="*/ 1438742 w 1473985"/>
                  <a:gd name="connsiteY25" fmla="*/ 271762 h 515804"/>
                  <a:gd name="connsiteX26" fmla="*/ 1409967 w 1473985"/>
                  <a:gd name="connsiteY26" fmla="*/ 268565 h 515804"/>
                  <a:gd name="connsiteX27" fmla="*/ 1400375 w 1473985"/>
                  <a:gd name="connsiteY27" fmla="*/ 265367 h 515804"/>
                  <a:gd name="connsiteX28" fmla="*/ 1424255 w 1473985"/>
                  <a:gd name="connsiteY28" fmla="*/ 247883 h 515804"/>
                  <a:gd name="connsiteX29" fmla="*/ 1362009 w 1473985"/>
                  <a:gd name="connsiteY29" fmla="*/ 258973 h 515804"/>
                  <a:gd name="connsiteX30" fmla="*/ 1349220 w 1473985"/>
                  <a:gd name="connsiteY30" fmla="*/ 262170 h 515804"/>
                  <a:gd name="connsiteX31" fmla="*/ 1320445 w 1473985"/>
                  <a:gd name="connsiteY31" fmla="*/ 278156 h 515804"/>
                  <a:gd name="connsiteX32" fmla="*/ 1307656 w 1473985"/>
                  <a:gd name="connsiteY32" fmla="*/ 290945 h 515804"/>
                  <a:gd name="connsiteX33" fmla="*/ 1304459 w 1473985"/>
                  <a:gd name="connsiteY33" fmla="*/ 300537 h 515804"/>
                  <a:gd name="connsiteX34" fmla="*/ 1291670 w 1473985"/>
                  <a:gd name="connsiteY34" fmla="*/ 303734 h 515804"/>
                  <a:gd name="connsiteX35" fmla="*/ 1282079 w 1473985"/>
                  <a:gd name="connsiteY35" fmla="*/ 310128 h 515804"/>
                  <a:gd name="connsiteX36" fmla="*/ 1262896 w 1473985"/>
                  <a:gd name="connsiteY36" fmla="*/ 316523 h 515804"/>
                  <a:gd name="connsiteX37" fmla="*/ 1253304 w 1473985"/>
                  <a:gd name="connsiteY37" fmla="*/ 322917 h 515804"/>
                  <a:gd name="connsiteX38" fmla="*/ 1224529 w 1473985"/>
                  <a:gd name="connsiteY38" fmla="*/ 332509 h 515804"/>
                  <a:gd name="connsiteX39" fmla="*/ 1211740 w 1473985"/>
                  <a:gd name="connsiteY39" fmla="*/ 338903 h 515804"/>
                  <a:gd name="connsiteX40" fmla="*/ 1195754 w 1473985"/>
                  <a:gd name="connsiteY40" fmla="*/ 358086 h 515804"/>
                  <a:gd name="connsiteX41" fmla="*/ 1176571 w 1473985"/>
                  <a:gd name="connsiteY41" fmla="*/ 364481 h 515804"/>
                  <a:gd name="connsiteX42" fmla="*/ 1166979 w 1473985"/>
                  <a:gd name="connsiteY42" fmla="*/ 367678 h 515804"/>
                  <a:gd name="connsiteX43" fmla="*/ 1146164 w 1473985"/>
                  <a:gd name="connsiteY43" fmla="*/ 344615 h 515804"/>
                  <a:gd name="connsiteX44" fmla="*/ 1119021 w 1473985"/>
                  <a:gd name="connsiteY44" fmla="*/ 354889 h 515804"/>
                  <a:gd name="connsiteX45" fmla="*/ 1109430 w 1473985"/>
                  <a:gd name="connsiteY45" fmla="*/ 358086 h 515804"/>
                  <a:gd name="connsiteX46" fmla="*/ 1115824 w 1473985"/>
                  <a:gd name="connsiteY46" fmla="*/ 402847 h 515804"/>
                  <a:gd name="connsiteX47" fmla="*/ 1112627 w 1473985"/>
                  <a:gd name="connsiteY47" fmla="*/ 425228 h 515804"/>
                  <a:gd name="connsiteX48" fmla="*/ 1080655 w 1473985"/>
                  <a:gd name="connsiteY48" fmla="*/ 441214 h 515804"/>
                  <a:gd name="connsiteX49" fmla="*/ 1074261 w 1473985"/>
                  <a:gd name="connsiteY49" fmla="*/ 450805 h 515804"/>
                  <a:gd name="connsiteX50" fmla="*/ 1055077 w 1473985"/>
                  <a:gd name="connsiteY50" fmla="*/ 463594 h 515804"/>
                  <a:gd name="connsiteX51" fmla="*/ 1045486 w 1473985"/>
                  <a:gd name="connsiteY51" fmla="*/ 469988 h 515804"/>
                  <a:gd name="connsiteX52" fmla="*/ 1039091 w 1473985"/>
                  <a:gd name="connsiteY52" fmla="*/ 476383 h 515804"/>
                  <a:gd name="connsiteX53" fmla="*/ 1019908 w 1473985"/>
                  <a:gd name="connsiteY53" fmla="*/ 482777 h 515804"/>
                  <a:gd name="connsiteX54" fmla="*/ 1010317 w 1473985"/>
                  <a:gd name="connsiteY54" fmla="*/ 485974 h 515804"/>
                  <a:gd name="connsiteX55" fmla="*/ 1003922 w 1473985"/>
                  <a:gd name="connsiteY55" fmla="*/ 492369 h 515804"/>
                  <a:gd name="connsiteX56" fmla="*/ 949570 w 1473985"/>
                  <a:gd name="connsiteY56" fmla="*/ 485974 h 515804"/>
                  <a:gd name="connsiteX57" fmla="*/ 869640 w 1473985"/>
                  <a:gd name="connsiteY57" fmla="*/ 489172 h 515804"/>
                  <a:gd name="connsiteX58" fmla="*/ 860048 w 1473985"/>
                  <a:gd name="connsiteY58" fmla="*/ 495566 h 515804"/>
                  <a:gd name="connsiteX59" fmla="*/ 840865 w 1473985"/>
                  <a:gd name="connsiteY59" fmla="*/ 501960 h 515804"/>
                  <a:gd name="connsiteX60" fmla="*/ 834470 w 1473985"/>
                  <a:gd name="connsiteY60" fmla="*/ 508355 h 515804"/>
                  <a:gd name="connsiteX61" fmla="*/ 792907 w 1473985"/>
                  <a:gd name="connsiteY61" fmla="*/ 511552 h 515804"/>
                  <a:gd name="connsiteX62" fmla="*/ 764132 w 1473985"/>
                  <a:gd name="connsiteY62" fmla="*/ 501960 h 515804"/>
                  <a:gd name="connsiteX63" fmla="*/ 754540 w 1473985"/>
                  <a:gd name="connsiteY63" fmla="*/ 498763 h 515804"/>
                  <a:gd name="connsiteX64" fmla="*/ 719371 w 1473985"/>
                  <a:gd name="connsiteY64" fmla="*/ 489172 h 515804"/>
                  <a:gd name="connsiteX65" fmla="*/ 690596 w 1473985"/>
                  <a:gd name="connsiteY65" fmla="*/ 479580 h 515804"/>
                  <a:gd name="connsiteX66" fmla="*/ 681005 w 1473985"/>
                  <a:gd name="connsiteY66" fmla="*/ 476383 h 515804"/>
                  <a:gd name="connsiteX67" fmla="*/ 671413 w 1473985"/>
                  <a:gd name="connsiteY67" fmla="*/ 479580 h 515804"/>
                  <a:gd name="connsiteX68" fmla="*/ 607469 w 1473985"/>
                  <a:gd name="connsiteY68" fmla="*/ 476383 h 515804"/>
                  <a:gd name="connsiteX69" fmla="*/ 489172 w 1473985"/>
                  <a:gd name="connsiteY69" fmla="*/ 473186 h 515804"/>
                  <a:gd name="connsiteX70" fmla="*/ 479581 w 1473985"/>
                  <a:gd name="connsiteY70" fmla="*/ 469988 h 515804"/>
                  <a:gd name="connsiteX71" fmla="*/ 460398 w 1473985"/>
                  <a:gd name="connsiteY71" fmla="*/ 444411 h 515804"/>
                  <a:gd name="connsiteX72" fmla="*/ 457200 w 1473985"/>
                  <a:gd name="connsiteY72" fmla="*/ 434819 h 515804"/>
                  <a:gd name="connsiteX73" fmla="*/ 450806 w 1473985"/>
                  <a:gd name="connsiteY73" fmla="*/ 425228 h 515804"/>
                  <a:gd name="connsiteX74" fmla="*/ 441214 w 1473985"/>
                  <a:gd name="connsiteY74" fmla="*/ 409241 h 515804"/>
                  <a:gd name="connsiteX75" fmla="*/ 434820 w 1473985"/>
                  <a:gd name="connsiteY75" fmla="*/ 399650 h 515804"/>
                  <a:gd name="connsiteX76" fmla="*/ 418834 w 1473985"/>
                  <a:gd name="connsiteY76" fmla="*/ 386861 h 515804"/>
                  <a:gd name="connsiteX77" fmla="*/ 390059 w 1473985"/>
                  <a:gd name="connsiteY77" fmla="*/ 380467 h 515804"/>
                  <a:gd name="connsiteX78" fmla="*/ 374073 w 1473985"/>
                  <a:gd name="connsiteY78" fmla="*/ 367678 h 515804"/>
                  <a:gd name="connsiteX79" fmla="*/ 364482 w 1473985"/>
                  <a:gd name="connsiteY79" fmla="*/ 361283 h 515804"/>
                  <a:gd name="connsiteX80" fmla="*/ 348496 w 1473985"/>
                  <a:gd name="connsiteY80" fmla="*/ 348495 h 515804"/>
                  <a:gd name="connsiteX81" fmla="*/ 313326 w 1473985"/>
                  <a:gd name="connsiteY81" fmla="*/ 342100 h 515804"/>
                  <a:gd name="connsiteX82" fmla="*/ 274960 w 1473985"/>
                  <a:gd name="connsiteY82" fmla="*/ 335706 h 515804"/>
                  <a:gd name="connsiteX83" fmla="*/ 249382 w 1473985"/>
                  <a:gd name="connsiteY83" fmla="*/ 329311 h 515804"/>
                  <a:gd name="connsiteX84" fmla="*/ 227002 w 1473985"/>
                  <a:gd name="connsiteY84" fmla="*/ 300537 h 515804"/>
                  <a:gd name="connsiteX85" fmla="*/ 242855 w 1473985"/>
                  <a:gd name="connsiteY85" fmla="*/ 243870 h 515804"/>
                  <a:gd name="connsiteX86" fmla="*/ 220607 w 1473985"/>
                  <a:gd name="connsiteY86" fmla="*/ 246184 h 515804"/>
                  <a:gd name="connsiteX87" fmla="*/ 211016 w 1473985"/>
                  <a:gd name="connsiteY87" fmla="*/ 239790 h 515804"/>
                  <a:gd name="connsiteX88" fmla="*/ 211016 w 1473985"/>
                  <a:gd name="connsiteY88" fmla="*/ 211015 h 515804"/>
                  <a:gd name="connsiteX89" fmla="*/ 207819 w 1473985"/>
                  <a:gd name="connsiteY89" fmla="*/ 201423 h 515804"/>
                  <a:gd name="connsiteX90" fmla="*/ 201424 w 1473985"/>
                  <a:gd name="connsiteY90" fmla="*/ 195029 h 515804"/>
                  <a:gd name="connsiteX91" fmla="*/ 153466 w 1473985"/>
                  <a:gd name="connsiteY91" fmla="*/ 185437 h 515804"/>
                  <a:gd name="connsiteX92" fmla="*/ 147072 w 1473985"/>
                  <a:gd name="connsiteY92" fmla="*/ 175846 h 515804"/>
                  <a:gd name="connsiteX93" fmla="*/ 140677 w 1473985"/>
                  <a:gd name="connsiteY93" fmla="*/ 169451 h 515804"/>
                  <a:gd name="connsiteX94" fmla="*/ 137480 w 1473985"/>
                  <a:gd name="connsiteY94" fmla="*/ 159860 h 515804"/>
                  <a:gd name="connsiteX95" fmla="*/ 124691 w 1473985"/>
                  <a:gd name="connsiteY95" fmla="*/ 147071 h 515804"/>
                  <a:gd name="connsiteX96" fmla="*/ 118297 w 1473985"/>
                  <a:gd name="connsiteY96" fmla="*/ 140676 h 515804"/>
                  <a:gd name="connsiteX97" fmla="*/ 108705 w 1473985"/>
                  <a:gd name="connsiteY97" fmla="*/ 124690 h 515804"/>
                  <a:gd name="connsiteX98" fmla="*/ 105508 w 1473985"/>
                  <a:gd name="connsiteY98" fmla="*/ 115099 h 515804"/>
                  <a:gd name="connsiteX99" fmla="*/ 86325 w 1473985"/>
                  <a:gd name="connsiteY99" fmla="*/ 108704 h 515804"/>
                  <a:gd name="connsiteX100" fmla="*/ 76733 w 1473985"/>
                  <a:gd name="connsiteY100" fmla="*/ 105507 h 515804"/>
                  <a:gd name="connsiteX101" fmla="*/ 70339 w 1473985"/>
                  <a:gd name="connsiteY101" fmla="*/ 124690 h 515804"/>
                  <a:gd name="connsiteX102" fmla="*/ 57550 w 1473985"/>
                  <a:gd name="connsiteY102" fmla="*/ 137479 h 515804"/>
                  <a:gd name="connsiteX103" fmla="*/ 51156 w 1473985"/>
                  <a:gd name="connsiteY103" fmla="*/ 143874 h 515804"/>
                  <a:gd name="connsiteX104" fmla="*/ 41564 w 1473985"/>
                  <a:gd name="connsiteY104" fmla="*/ 147071 h 515804"/>
                  <a:gd name="connsiteX105" fmla="*/ 35170 w 1473985"/>
                  <a:gd name="connsiteY105" fmla="*/ 156662 h 515804"/>
                  <a:gd name="connsiteX106" fmla="*/ 28775 w 1473985"/>
                  <a:gd name="connsiteY106" fmla="*/ 163057 h 515804"/>
                  <a:gd name="connsiteX107" fmla="*/ 25578 w 1473985"/>
                  <a:gd name="connsiteY107" fmla="*/ 182240 h 515804"/>
                  <a:gd name="connsiteX108" fmla="*/ 22381 w 1473985"/>
                  <a:gd name="connsiteY108" fmla="*/ 233395 h 515804"/>
                  <a:gd name="connsiteX109" fmla="*/ 15986 w 1473985"/>
                  <a:gd name="connsiteY109" fmla="*/ 239790 h 515804"/>
                  <a:gd name="connsiteX110" fmla="*/ 9592 w 1473985"/>
                  <a:gd name="connsiteY110" fmla="*/ 249381 h 515804"/>
                  <a:gd name="connsiteX111" fmla="*/ 0 w 1473985"/>
                  <a:gd name="connsiteY111" fmla="*/ 262170 h 515804"/>
                  <a:gd name="connsiteX0" fmla="*/ 1488949 w 1488949"/>
                  <a:gd name="connsiteY0" fmla="*/ 0 h 527711"/>
                  <a:gd name="connsiteX1" fmla="*/ 1461122 w 1488949"/>
                  <a:gd name="connsiteY1" fmla="*/ 27893 h 527711"/>
                  <a:gd name="connsiteX2" fmla="*/ 1451531 w 1488949"/>
                  <a:gd name="connsiteY2" fmla="*/ 31090 h 527711"/>
                  <a:gd name="connsiteX3" fmla="*/ 1445136 w 1488949"/>
                  <a:gd name="connsiteY3" fmla="*/ 40681 h 527711"/>
                  <a:gd name="connsiteX4" fmla="*/ 1432347 w 1488949"/>
                  <a:gd name="connsiteY4" fmla="*/ 66259 h 527711"/>
                  <a:gd name="connsiteX5" fmla="*/ 1422756 w 1488949"/>
                  <a:gd name="connsiteY5" fmla="*/ 69456 h 527711"/>
                  <a:gd name="connsiteX6" fmla="*/ 1419559 w 1488949"/>
                  <a:gd name="connsiteY6" fmla="*/ 79048 h 527711"/>
                  <a:gd name="connsiteX7" fmla="*/ 1409967 w 1488949"/>
                  <a:gd name="connsiteY7" fmla="*/ 82245 h 527711"/>
                  <a:gd name="connsiteX8" fmla="*/ 1374798 w 1488949"/>
                  <a:gd name="connsiteY8" fmla="*/ 85442 h 527711"/>
                  <a:gd name="connsiteX9" fmla="*/ 1326840 w 1488949"/>
                  <a:gd name="connsiteY9" fmla="*/ 91837 h 527711"/>
                  <a:gd name="connsiteX10" fmla="*/ 1317248 w 1488949"/>
                  <a:gd name="connsiteY10" fmla="*/ 120611 h 527711"/>
                  <a:gd name="connsiteX11" fmla="*/ 1314051 w 1488949"/>
                  <a:gd name="connsiteY11" fmla="*/ 130203 h 527711"/>
                  <a:gd name="connsiteX12" fmla="*/ 1301262 w 1488949"/>
                  <a:gd name="connsiteY12" fmla="*/ 149386 h 527711"/>
                  <a:gd name="connsiteX13" fmla="*/ 1291670 w 1488949"/>
                  <a:gd name="connsiteY13" fmla="*/ 197344 h 527711"/>
                  <a:gd name="connsiteX14" fmla="*/ 1310854 w 1488949"/>
                  <a:gd name="connsiteY14" fmla="*/ 194147 h 527711"/>
                  <a:gd name="connsiteX15" fmla="*/ 1365206 w 1488949"/>
                  <a:gd name="connsiteY15" fmla="*/ 190950 h 527711"/>
                  <a:gd name="connsiteX16" fmla="*/ 1374798 w 1488949"/>
                  <a:gd name="connsiteY16" fmla="*/ 187753 h 527711"/>
                  <a:gd name="connsiteX17" fmla="*/ 1422756 w 1488949"/>
                  <a:gd name="connsiteY17" fmla="*/ 194147 h 527711"/>
                  <a:gd name="connsiteX18" fmla="*/ 1435545 w 1488949"/>
                  <a:gd name="connsiteY18" fmla="*/ 210133 h 527711"/>
                  <a:gd name="connsiteX19" fmla="*/ 1438742 w 1488949"/>
                  <a:gd name="connsiteY19" fmla="*/ 219725 h 527711"/>
                  <a:gd name="connsiteX20" fmla="*/ 1445136 w 1488949"/>
                  <a:gd name="connsiteY20" fmla="*/ 229316 h 527711"/>
                  <a:gd name="connsiteX21" fmla="*/ 1461122 w 1488949"/>
                  <a:gd name="connsiteY21" fmla="*/ 242105 h 527711"/>
                  <a:gd name="connsiteX22" fmla="*/ 1467517 w 1488949"/>
                  <a:gd name="connsiteY22" fmla="*/ 248500 h 527711"/>
                  <a:gd name="connsiteX23" fmla="*/ 1470714 w 1488949"/>
                  <a:gd name="connsiteY23" fmla="*/ 277274 h 527711"/>
                  <a:gd name="connsiteX24" fmla="*/ 1457925 w 1488949"/>
                  <a:gd name="connsiteY24" fmla="*/ 280472 h 527711"/>
                  <a:gd name="connsiteX25" fmla="*/ 1438742 w 1488949"/>
                  <a:gd name="connsiteY25" fmla="*/ 283669 h 527711"/>
                  <a:gd name="connsiteX26" fmla="*/ 1409967 w 1488949"/>
                  <a:gd name="connsiteY26" fmla="*/ 280472 h 527711"/>
                  <a:gd name="connsiteX27" fmla="*/ 1400375 w 1488949"/>
                  <a:gd name="connsiteY27" fmla="*/ 277274 h 527711"/>
                  <a:gd name="connsiteX28" fmla="*/ 1424255 w 1488949"/>
                  <a:gd name="connsiteY28" fmla="*/ 259790 h 527711"/>
                  <a:gd name="connsiteX29" fmla="*/ 1362009 w 1488949"/>
                  <a:gd name="connsiteY29" fmla="*/ 270880 h 527711"/>
                  <a:gd name="connsiteX30" fmla="*/ 1349220 w 1488949"/>
                  <a:gd name="connsiteY30" fmla="*/ 274077 h 527711"/>
                  <a:gd name="connsiteX31" fmla="*/ 1320445 w 1488949"/>
                  <a:gd name="connsiteY31" fmla="*/ 290063 h 527711"/>
                  <a:gd name="connsiteX32" fmla="*/ 1307656 w 1488949"/>
                  <a:gd name="connsiteY32" fmla="*/ 302852 h 527711"/>
                  <a:gd name="connsiteX33" fmla="*/ 1304459 w 1488949"/>
                  <a:gd name="connsiteY33" fmla="*/ 312444 h 527711"/>
                  <a:gd name="connsiteX34" fmla="*/ 1291670 w 1488949"/>
                  <a:gd name="connsiteY34" fmla="*/ 315641 h 527711"/>
                  <a:gd name="connsiteX35" fmla="*/ 1282079 w 1488949"/>
                  <a:gd name="connsiteY35" fmla="*/ 322035 h 527711"/>
                  <a:gd name="connsiteX36" fmla="*/ 1262896 w 1488949"/>
                  <a:gd name="connsiteY36" fmla="*/ 328430 h 527711"/>
                  <a:gd name="connsiteX37" fmla="*/ 1253304 w 1488949"/>
                  <a:gd name="connsiteY37" fmla="*/ 334824 h 527711"/>
                  <a:gd name="connsiteX38" fmla="*/ 1224529 w 1488949"/>
                  <a:gd name="connsiteY38" fmla="*/ 344416 h 527711"/>
                  <a:gd name="connsiteX39" fmla="*/ 1211740 w 1488949"/>
                  <a:gd name="connsiteY39" fmla="*/ 350810 h 527711"/>
                  <a:gd name="connsiteX40" fmla="*/ 1195754 w 1488949"/>
                  <a:gd name="connsiteY40" fmla="*/ 369993 h 527711"/>
                  <a:gd name="connsiteX41" fmla="*/ 1176571 w 1488949"/>
                  <a:gd name="connsiteY41" fmla="*/ 376388 h 527711"/>
                  <a:gd name="connsiteX42" fmla="*/ 1166979 w 1488949"/>
                  <a:gd name="connsiteY42" fmla="*/ 379585 h 527711"/>
                  <a:gd name="connsiteX43" fmla="*/ 1146164 w 1488949"/>
                  <a:gd name="connsiteY43" fmla="*/ 356522 h 527711"/>
                  <a:gd name="connsiteX44" fmla="*/ 1119021 w 1488949"/>
                  <a:gd name="connsiteY44" fmla="*/ 366796 h 527711"/>
                  <a:gd name="connsiteX45" fmla="*/ 1109430 w 1488949"/>
                  <a:gd name="connsiteY45" fmla="*/ 369993 h 527711"/>
                  <a:gd name="connsiteX46" fmla="*/ 1115824 w 1488949"/>
                  <a:gd name="connsiteY46" fmla="*/ 414754 h 527711"/>
                  <a:gd name="connsiteX47" fmla="*/ 1112627 w 1488949"/>
                  <a:gd name="connsiteY47" fmla="*/ 437135 h 527711"/>
                  <a:gd name="connsiteX48" fmla="*/ 1080655 w 1488949"/>
                  <a:gd name="connsiteY48" fmla="*/ 453121 h 527711"/>
                  <a:gd name="connsiteX49" fmla="*/ 1074261 w 1488949"/>
                  <a:gd name="connsiteY49" fmla="*/ 462712 h 527711"/>
                  <a:gd name="connsiteX50" fmla="*/ 1055077 w 1488949"/>
                  <a:gd name="connsiteY50" fmla="*/ 475501 h 527711"/>
                  <a:gd name="connsiteX51" fmla="*/ 1045486 w 1488949"/>
                  <a:gd name="connsiteY51" fmla="*/ 481895 h 527711"/>
                  <a:gd name="connsiteX52" fmla="*/ 1039091 w 1488949"/>
                  <a:gd name="connsiteY52" fmla="*/ 488290 h 527711"/>
                  <a:gd name="connsiteX53" fmla="*/ 1019908 w 1488949"/>
                  <a:gd name="connsiteY53" fmla="*/ 494684 h 527711"/>
                  <a:gd name="connsiteX54" fmla="*/ 1010317 w 1488949"/>
                  <a:gd name="connsiteY54" fmla="*/ 497881 h 527711"/>
                  <a:gd name="connsiteX55" fmla="*/ 1003922 w 1488949"/>
                  <a:gd name="connsiteY55" fmla="*/ 504276 h 527711"/>
                  <a:gd name="connsiteX56" fmla="*/ 949570 w 1488949"/>
                  <a:gd name="connsiteY56" fmla="*/ 497881 h 527711"/>
                  <a:gd name="connsiteX57" fmla="*/ 869640 w 1488949"/>
                  <a:gd name="connsiteY57" fmla="*/ 501079 h 527711"/>
                  <a:gd name="connsiteX58" fmla="*/ 860048 w 1488949"/>
                  <a:gd name="connsiteY58" fmla="*/ 507473 h 527711"/>
                  <a:gd name="connsiteX59" fmla="*/ 840865 w 1488949"/>
                  <a:gd name="connsiteY59" fmla="*/ 513867 h 527711"/>
                  <a:gd name="connsiteX60" fmla="*/ 834470 w 1488949"/>
                  <a:gd name="connsiteY60" fmla="*/ 520262 h 527711"/>
                  <a:gd name="connsiteX61" fmla="*/ 792907 w 1488949"/>
                  <a:gd name="connsiteY61" fmla="*/ 523459 h 527711"/>
                  <a:gd name="connsiteX62" fmla="*/ 764132 w 1488949"/>
                  <a:gd name="connsiteY62" fmla="*/ 513867 h 527711"/>
                  <a:gd name="connsiteX63" fmla="*/ 754540 w 1488949"/>
                  <a:gd name="connsiteY63" fmla="*/ 510670 h 527711"/>
                  <a:gd name="connsiteX64" fmla="*/ 719371 w 1488949"/>
                  <a:gd name="connsiteY64" fmla="*/ 501079 h 527711"/>
                  <a:gd name="connsiteX65" fmla="*/ 690596 w 1488949"/>
                  <a:gd name="connsiteY65" fmla="*/ 491487 h 527711"/>
                  <a:gd name="connsiteX66" fmla="*/ 681005 w 1488949"/>
                  <a:gd name="connsiteY66" fmla="*/ 488290 h 527711"/>
                  <a:gd name="connsiteX67" fmla="*/ 671413 w 1488949"/>
                  <a:gd name="connsiteY67" fmla="*/ 491487 h 527711"/>
                  <a:gd name="connsiteX68" fmla="*/ 607469 w 1488949"/>
                  <a:gd name="connsiteY68" fmla="*/ 488290 h 527711"/>
                  <a:gd name="connsiteX69" fmla="*/ 489172 w 1488949"/>
                  <a:gd name="connsiteY69" fmla="*/ 485093 h 527711"/>
                  <a:gd name="connsiteX70" fmla="*/ 479581 w 1488949"/>
                  <a:gd name="connsiteY70" fmla="*/ 481895 h 527711"/>
                  <a:gd name="connsiteX71" fmla="*/ 460398 w 1488949"/>
                  <a:gd name="connsiteY71" fmla="*/ 456318 h 527711"/>
                  <a:gd name="connsiteX72" fmla="*/ 457200 w 1488949"/>
                  <a:gd name="connsiteY72" fmla="*/ 446726 h 527711"/>
                  <a:gd name="connsiteX73" fmla="*/ 450806 w 1488949"/>
                  <a:gd name="connsiteY73" fmla="*/ 437135 h 527711"/>
                  <a:gd name="connsiteX74" fmla="*/ 441214 w 1488949"/>
                  <a:gd name="connsiteY74" fmla="*/ 421148 h 527711"/>
                  <a:gd name="connsiteX75" fmla="*/ 434820 w 1488949"/>
                  <a:gd name="connsiteY75" fmla="*/ 411557 h 527711"/>
                  <a:gd name="connsiteX76" fmla="*/ 418834 w 1488949"/>
                  <a:gd name="connsiteY76" fmla="*/ 398768 h 527711"/>
                  <a:gd name="connsiteX77" fmla="*/ 390059 w 1488949"/>
                  <a:gd name="connsiteY77" fmla="*/ 392374 h 527711"/>
                  <a:gd name="connsiteX78" fmla="*/ 374073 w 1488949"/>
                  <a:gd name="connsiteY78" fmla="*/ 379585 h 527711"/>
                  <a:gd name="connsiteX79" fmla="*/ 364482 w 1488949"/>
                  <a:gd name="connsiteY79" fmla="*/ 373190 h 527711"/>
                  <a:gd name="connsiteX80" fmla="*/ 348496 w 1488949"/>
                  <a:gd name="connsiteY80" fmla="*/ 360402 h 527711"/>
                  <a:gd name="connsiteX81" fmla="*/ 313326 w 1488949"/>
                  <a:gd name="connsiteY81" fmla="*/ 354007 h 527711"/>
                  <a:gd name="connsiteX82" fmla="*/ 274960 w 1488949"/>
                  <a:gd name="connsiteY82" fmla="*/ 347613 h 527711"/>
                  <a:gd name="connsiteX83" fmla="*/ 249382 w 1488949"/>
                  <a:gd name="connsiteY83" fmla="*/ 341218 h 527711"/>
                  <a:gd name="connsiteX84" fmla="*/ 227002 w 1488949"/>
                  <a:gd name="connsiteY84" fmla="*/ 312444 h 527711"/>
                  <a:gd name="connsiteX85" fmla="*/ 242855 w 1488949"/>
                  <a:gd name="connsiteY85" fmla="*/ 255777 h 527711"/>
                  <a:gd name="connsiteX86" fmla="*/ 220607 w 1488949"/>
                  <a:gd name="connsiteY86" fmla="*/ 258091 h 527711"/>
                  <a:gd name="connsiteX87" fmla="*/ 211016 w 1488949"/>
                  <a:gd name="connsiteY87" fmla="*/ 251697 h 527711"/>
                  <a:gd name="connsiteX88" fmla="*/ 211016 w 1488949"/>
                  <a:gd name="connsiteY88" fmla="*/ 222922 h 527711"/>
                  <a:gd name="connsiteX89" fmla="*/ 207819 w 1488949"/>
                  <a:gd name="connsiteY89" fmla="*/ 213330 h 527711"/>
                  <a:gd name="connsiteX90" fmla="*/ 201424 w 1488949"/>
                  <a:gd name="connsiteY90" fmla="*/ 206936 h 527711"/>
                  <a:gd name="connsiteX91" fmla="*/ 153466 w 1488949"/>
                  <a:gd name="connsiteY91" fmla="*/ 197344 h 527711"/>
                  <a:gd name="connsiteX92" fmla="*/ 147072 w 1488949"/>
                  <a:gd name="connsiteY92" fmla="*/ 187753 h 527711"/>
                  <a:gd name="connsiteX93" fmla="*/ 140677 w 1488949"/>
                  <a:gd name="connsiteY93" fmla="*/ 181358 h 527711"/>
                  <a:gd name="connsiteX94" fmla="*/ 137480 w 1488949"/>
                  <a:gd name="connsiteY94" fmla="*/ 171767 h 527711"/>
                  <a:gd name="connsiteX95" fmla="*/ 124691 w 1488949"/>
                  <a:gd name="connsiteY95" fmla="*/ 158978 h 527711"/>
                  <a:gd name="connsiteX96" fmla="*/ 118297 w 1488949"/>
                  <a:gd name="connsiteY96" fmla="*/ 152583 h 527711"/>
                  <a:gd name="connsiteX97" fmla="*/ 108705 w 1488949"/>
                  <a:gd name="connsiteY97" fmla="*/ 136597 h 527711"/>
                  <a:gd name="connsiteX98" fmla="*/ 105508 w 1488949"/>
                  <a:gd name="connsiteY98" fmla="*/ 127006 h 527711"/>
                  <a:gd name="connsiteX99" fmla="*/ 86325 w 1488949"/>
                  <a:gd name="connsiteY99" fmla="*/ 120611 h 527711"/>
                  <a:gd name="connsiteX100" fmla="*/ 76733 w 1488949"/>
                  <a:gd name="connsiteY100" fmla="*/ 117414 h 527711"/>
                  <a:gd name="connsiteX101" fmla="*/ 70339 w 1488949"/>
                  <a:gd name="connsiteY101" fmla="*/ 136597 h 527711"/>
                  <a:gd name="connsiteX102" fmla="*/ 57550 w 1488949"/>
                  <a:gd name="connsiteY102" fmla="*/ 149386 h 527711"/>
                  <a:gd name="connsiteX103" fmla="*/ 51156 w 1488949"/>
                  <a:gd name="connsiteY103" fmla="*/ 155781 h 527711"/>
                  <a:gd name="connsiteX104" fmla="*/ 41564 w 1488949"/>
                  <a:gd name="connsiteY104" fmla="*/ 158978 h 527711"/>
                  <a:gd name="connsiteX105" fmla="*/ 35170 w 1488949"/>
                  <a:gd name="connsiteY105" fmla="*/ 168569 h 527711"/>
                  <a:gd name="connsiteX106" fmla="*/ 28775 w 1488949"/>
                  <a:gd name="connsiteY106" fmla="*/ 174964 h 527711"/>
                  <a:gd name="connsiteX107" fmla="*/ 25578 w 1488949"/>
                  <a:gd name="connsiteY107" fmla="*/ 194147 h 527711"/>
                  <a:gd name="connsiteX108" fmla="*/ 22381 w 1488949"/>
                  <a:gd name="connsiteY108" fmla="*/ 245302 h 527711"/>
                  <a:gd name="connsiteX109" fmla="*/ 15986 w 1488949"/>
                  <a:gd name="connsiteY109" fmla="*/ 251697 h 527711"/>
                  <a:gd name="connsiteX110" fmla="*/ 9592 w 1488949"/>
                  <a:gd name="connsiteY110" fmla="*/ 261288 h 527711"/>
                  <a:gd name="connsiteX111" fmla="*/ 0 w 1488949"/>
                  <a:gd name="connsiteY111" fmla="*/ 274077 h 527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488949" h="527711">
                    <a:moveTo>
                      <a:pt x="1488949" y="0"/>
                    </a:moveTo>
                    <a:cubicBezTo>
                      <a:pt x="1486817" y="5329"/>
                      <a:pt x="1467358" y="22711"/>
                      <a:pt x="1461122" y="27893"/>
                    </a:cubicBezTo>
                    <a:cubicBezTo>
                      <a:pt x="1454886" y="33075"/>
                      <a:pt x="1454163" y="28985"/>
                      <a:pt x="1451531" y="31090"/>
                    </a:cubicBezTo>
                    <a:cubicBezTo>
                      <a:pt x="1448530" y="33490"/>
                      <a:pt x="1447268" y="37484"/>
                      <a:pt x="1445136" y="40681"/>
                    </a:cubicBezTo>
                    <a:cubicBezTo>
                      <a:pt x="1441947" y="50250"/>
                      <a:pt x="1441649" y="60678"/>
                      <a:pt x="1432347" y="66259"/>
                    </a:cubicBezTo>
                    <a:cubicBezTo>
                      <a:pt x="1429457" y="67993"/>
                      <a:pt x="1425953" y="68390"/>
                      <a:pt x="1422756" y="69456"/>
                    </a:cubicBezTo>
                    <a:cubicBezTo>
                      <a:pt x="1421690" y="72653"/>
                      <a:pt x="1421942" y="76665"/>
                      <a:pt x="1419559" y="79048"/>
                    </a:cubicBezTo>
                    <a:cubicBezTo>
                      <a:pt x="1417176" y="81431"/>
                      <a:pt x="1413303" y="81768"/>
                      <a:pt x="1409967" y="82245"/>
                    </a:cubicBezTo>
                    <a:cubicBezTo>
                      <a:pt x="1398314" y="83910"/>
                      <a:pt x="1386505" y="84210"/>
                      <a:pt x="1374798" y="85442"/>
                    </a:cubicBezTo>
                    <a:cubicBezTo>
                      <a:pt x="1359073" y="87097"/>
                      <a:pt x="1342526" y="89596"/>
                      <a:pt x="1326840" y="91837"/>
                    </a:cubicBezTo>
                    <a:lnTo>
                      <a:pt x="1317248" y="120611"/>
                    </a:lnTo>
                    <a:cubicBezTo>
                      <a:pt x="1316182" y="123808"/>
                      <a:pt x="1315921" y="127399"/>
                      <a:pt x="1314051" y="130203"/>
                    </a:cubicBezTo>
                    <a:lnTo>
                      <a:pt x="1301262" y="149386"/>
                    </a:lnTo>
                    <a:cubicBezTo>
                      <a:pt x="1291816" y="177725"/>
                      <a:pt x="1295613" y="161870"/>
                      <a:pt x="1291670" y="197344"/>
                    </a:cubicBezTo>
                    <a:cubicBezTo>
                      <a:pt x="1316529" y="205630"/>
                      <a:pt x="1285207" y="197994"/>
                      <a:pt x="1310854" y="194147"/>
                    </a:cubicBezTo>
                    <a:cubicBezTo>
                      <a:pt x="1328802" y="191455"/>
                      <a:pt x="1347089" y="192016"/>
                      <a:pt x="1365206" y="190950"/>
                    </a:cubicBezTo>
                    <a:cubicBezTo>
                      <a:pt x="1368403" y="189884"/>
                      <a:pt x="1371428" y="187753"/>
                      <a:pt x="1374798" y="187753"/>
                    </a:cubicBezTo>
                    <a:cubicBezTo>
                      <a:pt x="1406091" y="187753"/>
                      <a:pt x="1403729" y="187805"/>
                      <a:pt x="1422756" y="194147"/>
                    </a:cubicBezTo>
                    <a:cubicBezTo>
                      <a:pt x="1430792" y="218257"/>
                      <a:pt x="1419017" y="189473"/>
                      <a:pt x="1435545" y="210133"/>
                    </a:cubicBezTo>
                    <a:cubicBezTo>
                      <a:pt x="1437650" y="212765"/>
                      <a:pt x="1437235" y="216711"/>
                      <a:pt x="1438742" y="219725"/>
                    </a:cubicBezTo>
                    <a:cubicBezTo>
                      <a:pt x="1440460" y="223162"/>
                      <a:pt x="1442736" y="226316"/>
                      <a:pt x="1445136" y="229316"/>
                    </a:cubicBezTo>
                    <a:cubicBezTo>
                      <a:pt x="1451999" y="237895"/>
                      <a:pt x="1451889" y="234719"/>
                      <a:pt x="1461122" y="242105"/>
                    </a:cubicBezTo>
                    <a:cubicBezTo>
                      <a:pt x="1463476" y="243988"/>
                      <a:pt x="1465385" y="246368"/>
                      <a:pt x="1467517" y="248500"/>
                    </a:cubicBezTo>
                    <a:cubicBezTo>
                      <a:pt x="1468807" y="252370"/>
                      <a:pt x="1479127" y="270543"/>
                      <a:pt x="1470714" y="277274"/>
                    </a:cubicBezTo>
                    <a:cubicBezTo>
                      <a:pt x="1467283" y="280019"/>
                      <a:pt x="1462234" y="279610"/>
                      <a:pt x="1457925" y="280472"/>
                    </a:cubicBezTo>
                    <a:cubicBezTo>
                      <a:pt x="1451568" y="281743"/>
                      <a:pt x="1445136" y="282603"/>
                      <a:pt x="1438742" y="283669"/>
                    </a:cubicBezTo>
                    <a:cubicBezTo>
                      <a:pt x="1429150" y="282603"/>
                      <a:pt x="1419486" y="282059"/>
                      <a:pt x="1409967" y="280472"/>
                    </a:cubicBezTo>
                    <a:cubicBezTo>
                      <a:pt x="1406643" y="279918"/>
                      <a:pt x="1397994" y="280721"/>
                      <a:pt x="1400375" y="277274"/>
                    </a:cubicBezTo>
                    <a:cubicBezTo>
                      <a:pt x="1402756" y="273827"/>
                      <a:pt x="1421058" y="260856"/>
                      <a:pt x="1424255" y="259790"/>
                    </a:cubicBezTo>
                    <a:cubicBezTo>
                      <a:pt x="1395917" y="250344"/>
                      <a:pt x="1397483" y="266939"/>
                      <a:pt x="1362009" y="270880"/>
                    </a:cubicBezTo>
                    <a:cubicBezTo>
                      <a:pt x="1357746" y="271946"/>
                      <a:pt x="1353150" y="272112"/>
                      <a:pt x="1349220" y="274077"/>
                    </a:cubicBezTo>
                    <a:cubicBezTo>
                      <a:pt x="1305248" y="296063"/>
                      <a:pt x="1346969" y="281223"/>
                      <a:pt x="1320445" y="290063"/>
                    </a:cubicBezTo>
                    <a:cubicBezTo>
                      <a:pt x="1316182" y="294326"/>
                      <a:pt x="1309562" y="297133"/>
                      <a:pt x="1307656" y="302852"/>
                    </a:cubicBezTo>
                    <a:cubicBezTo>
                      <a:pt x="1306590" y="306049"/>
                      <a:pt x="1307091" y="310339"/>
                      <a:pt x="1304459" y="312444"/>
                    </a:cubicBezTo>
                    <a:cubicBezTo>
                      <a:pt x="1301028" y="315189"/>
                      <a:pt x="1295933" y="314575"/>
                      <a:pt x="1291670" y="315641"/>
                    </a:cubicBezTo>
                    <a:cubicBezTo>
                      <a:pt x="1288473" y="317772"/>
                      <a:pt x="1285590" y="320474"/>
                      <a:pt x="1282079" y="322035"/>
                    </a:cubicBezTo>
                    <a:cubicBezTo>
                      <a:pt x="1275920" y="324773"/>
                      <a:pt x="1268504" y="324691"/>
                      <a:pt x="1262896" y="328430"/>
                    </a:cubicBezTo>
                    <a:cubicBezTo>
                      <a:pt x="1259699" y="330561"/>
                      <a:pt x="1256851" y="333346"/>
                      <a:pt x="1253304" y="334824"/>
                    </a:cubicBezTo>
                    <a:cubicBezTo>
                      <a:pt x="1243971" y="338713"/>
                      <a:pt x="1233572" y="339895"/>
                      <a:pt x="1224529" y="344416"/>
                    </a:cubicBezTo>
                    <a:lnTo>
                      <a:pt x="1211740" y="350810"/>
                    </a:lnTo>
                    <a:cubicBezTo>
                      <a:pt x="1207759" y="356782"/>
                      <a:pt x="1202273" y="366371"/>
                      <a:pt x="1195754" y="369993"/>
                    </a:cubicBezTo>
                    <a:cubicBezTo>
                      <a:pt x="1189862" y="373266"/>
                      <a:pt x="1182965" y="374256"/>
                      <a:pt x="1176571" y="376388"/>
                    </a:cubicBezTo>
                    <a:cubicBezTo>
                      <a:pt x="1173374" y="377454"/>
                      <a:pt x="1172047" y="382896"/>
                      <a:pt x="1166979" y="379585"/>
                    </a:cubicBezTo>
                    <a:cubicBezTo>
                      <a:pt x="1161911" y="376274"/>
                      <a:pt x="1169111" y="363079"/>
                      <a:pt x="1146164" y="356522"/>
                    </a:cubicBezTo>
                    <a:cubicBezTo>
                      <a:pt x="1118027" y="348482"/>
                      <a:pt x="1142046" y="374470"/>
                      <a:pt x="1119021" y="366796"/>
                    </a:cubicBezTo>
                    <a:cubicBezTo>
                      <a:pt x="1115824" y="367862"/>
                      <a:pt x="1109984" y="366669"/>
                      <a:pt x="1109430" y="369993"/>
                    </a:cubicBezTo>
                    <a:cubicBezTo>
                      <a:pt x="1106317" y="388671"/>
                      <a:pt x="1110799" y="399677"/>
                      <a:pt x="1115824" y="414754"/>
                    </a:cubicBezTo>
                    <a:cubicBezTo>
                      <a:pt x="1114758" y="422214"/>
                      <a:pt x="1116673" y="430777"/>
                      <a:pt x="1112627" y="437135"/>
                    </a:cubicBezTo>
                    <a:cubicBezTo>
                      <a:pt x="1105427" y="448450"/>
                      <a:pt x="1091957" y="450295"/>
                      <a:pt x="1080655" y="453121"/>
                    </a:cubicBezTo>
                    <a:cubicBezTo>
                      <a:pt x="1078524" y="456318"/>
                      <a:pt x="1077153" y="460182"/>
                      <a:pt x="1074261" y="462712"/>
                    </a:cubicBezTo>
                    <a:cubicBezTo>
                      <a:pt x="1068477" y="467773"/>
                      <a:pt x="1061472" y="471238"/>
                      <a:pt x="1055077" y="475501"/>
                    </a:cubicBezTo>
                    <a:cubicBezTo>
                      <a:pt x="1051880" y="477632"/>
                      <a:pt x="1048203" y="479178"/>
                      <a:pt x="1045486" y="481895"/>
                    </a:cubicBezTo>
                    <a:cubicBezTo>
                      <a:pt x="1043354" y="484027"/>
                      <a:pt x="1041787" y="486942"/>
                      <a:pt x="1039091" y="488290"/>
                    </a:cubicBezTo>
                    <a:cubicBezTo>
                      <a:pt x="1033062" y="491304"/>
                      <a:pt x="1026302" y="492553"/>
                      <a:pt x="1019908" y="494684"/>
                    </a:cubicBezTo>
                    <a:lnTo>
                      <a:pt x="1010317" y="497881"/>
                    </a:lnTo>
                    <a:cubicBezTo>
                      <a:pt x="1008185" y="500013"/>
                      <a:pt x="1006930" y="504075"/>
                      <a:pt x="1003922" y="504276"/>
                    </a:cubicBezTo>
                    <a:cubicBezTo>
                      <a:pt x="978808" y="505951"/>
                      <a:pt x="969252" y="502803"/>
                      <a:pt x="949570" y="497881"/>
                    </a:cubicBezTo>
                    <a:cubicBezTo>
                      <a:pt x="922927" y="498947"/>
                      <a:pt x="896153" y="498238"/>
                      <a:pt x="869640" y="501079"/>
                    </a:cubicBezTo>
                    <a:cubicBezTo>
                      <a:pt x="865819" y="501488"/>
                      <a:pt x="863559" y="505912"/>
                      <a:pt x="860048" y="507473"/>
                    </a:cubicBezTo>
                    <a:cubicBezTo>
                      <a:pt x="853889" y="510210"/>
                      <a:pt x="840865" y="513867"/>
                      <a:pt x="840865" y="513867"/>
                    </a:cubicBezTo>
                    <a:cubicBezTo>
                      <a:pt x="838733" y="515999"/>
                      <a:pt x="836824" y="518379"/>
                      <a:pt x="834470" y="520262"/>
                    </a:cubicBezTo>
                    <a:cubicBezTo>
                      <a:pt x="818709" y="532871"/>
                      <a:pt x="821061" y="526274"/>
                      <a:pt x="792907" y="523459"/>
                    </a:cubicBezTo>
                    <a:lnTo>
                      <a:pt x="764132" y="513867"/>
                    </a:lnTo>
                    <a:cubicBezTo>
                      <a:pt x="760935" y="512801"/>
                      <a:pt x="757845" y="511331"/>
                      <a:pt x="754540" y="510670"/>
                    </a:cubicBezTo>
                    <a:cubicBezTo>
                      <a:pt x="731949" y="506152"/>
                      <a:pt x="743704" y="509190"/>
                      <a:pt x="719371" y="501079"/>
                    </a:cubicBezTo>
                    <a:lnTo>
                      <a:pt x="690596" y="491487"/>
                    </a:lnTo>
                    <a:lnTo>
                      <a:pt x="681005" y="488290"/>
                    </a:lnTo>
                    <a:cubicBezTo>
                      <a:pt x="677808" y="489356"/>
                      <a:pt x="674783" y="491487"/>
                      <a:pt x="671413" y="491487"/>
                    </a:cubicBezTo>
                    <a:cubicBezTo>
                      <a:pt x="650072" y="491487"/>
                      <a:pt x="628797" y="489038"/>
                      <a:pt x="607469" y="488290"/>
                    </a:cubicBezTo>
                    <a:lnTo>
                      <a:pt x="489172" y="485093"/>
                    </a:lnTo>
                    <a:cubicBezTo>
                      <a:pt x="485975" y="484027"/>
                      <a:pt x="482471" y="483629"/>
                      <a:pt x="479581" y="481895"/>
                    </a:cubicBezTo>
                    <a:cubicBezTo>
                      <a:pt x="473267" y="478106"/>
                      <a:pt x="460797" y="457514"/>
                      <a:pt x="460398" y="456318"/>
                    </a:cubicBezTo>
                    <a:cubicBezTo>
                      <a:pt x="459332" y="453121"/>
                      <a:pt x="458707" y="449741"/>
                      <a:pt x="457200" y="446726"/>
                    </a:cubicBezTo>
                    <a:cubicBezTo>
                      <a:pt x="455482" y="443289"/>
                      <a:pt x="452937" y="440332"/>
                      <a:pt x="450806" y="437135"/>
                    </a:cubicBezTo>
                    <a:cubicBezTo>
                      <a:pt x="445254" y="420478"/>
                      <a:pt x="451246" y="433688"/>
                      <a:pt x="441214" y="421148"/>
                    </a:cubicBezTo>
                    <a:cubicBezTo>
                      <a:pt x="438814" y="418148"/>
                      <a:pt x="437220" y="414557"/>
                      <a:pt x="434820" y="411557"/>
                    </a:cubicBezTo>
                    <a:cubicBezTo>
                      <a:pt x="431231" y="407071"/>
                      <a:pt x="423895" y="400937"/>
                      <a:pt x="418834" y="398768"/>
                    </a:cubicBezTo>
                    <a:cubicBezTo>
                      <a:pt x="414883" y="397075"/>
                      <a:pt x="392904" y="392943"/>
                      <a:pt x="390059" y="392374"/>
                    </a:cubicBezTo>
                    <a:cubicBezTo>
                      <a:pt x="360539" y="372691"/>
                      <a:pt x="396852" y="397808"/>
                      <a:pt x="374073" y="379585"/>
                    </a:cubicBezTo>
                    <a:cubicBezTo>
                      <a:pt x="371073" y="377185"/>
                      <a:pt x="367482" y="375590"/>
                      <a:pt x="364482" y="373190"/>
                    </a:cubicBezTo>
                    <a:cubicBezTo>
                      <a:pt x="354573" y="365262"/>
                      <a:pt x="361611" y="366960"/>
                      <a:pt x="348496" y="360402"/>
                    </a:cubicBezTo>
                    <a:cubicBezTo>
                      <a:pt x="338636" y="355472"/>
                      <a:pt x="322151" y="355110"/>
                      <a:pt x="313326" y="354007"/>
                    </a:cubicBezTo>
                    <a:cubicBezTo>
                      <a:pt x="289904" y="346200"/>
                      <a:pt x="320473" y="355645"/>
                      <a:pt x="274960" y="347613"/>
                    </a:cubicBezTo>
                    <a:cubicBezTo>
                      <a:pt x="266305" y="346086"/>
                      <a:pt x="249382" y="341218"/>
                      <a:pt x="249382" y="341218"/>
                    </a:cubicBezTo>
                    <a:cubicBezTo>
                      <a:pt x="225677" y="325416"/>
                      <a:pt x="231706" y="335966"/>
                      <a:pt x="227002" y="312444"/>
                    </a:cubicBezTo>
                    <a:cubicBezTo>
                      <a:pt x="225936" y="297524"/>
                      <a:pt x="244603" y="270633"/>
                      <a:pt x="242855" y="255777"/>
                    </a:cubicBezTo>
                    <a:cubicBezTo>
                      <a:pt x="242461" y="252430"/>
                      <a:pt x="225913" y="258771"/>
                      <a:pt x="220607" y="258091"/>
                    </a:cubicBezTo>
                    <a:cubicBezTo>
                      <a:pt x="215301" y="257411"/>
                      <a:pt x="214213" y="253828"/>
                      <a:pt x="211016" y="251697"/>
                    </a:cubicBezTo>
                    <a:cubicBezTo>
                      <a:pt x="222788" y="239923"/>
                      <a:pt x="218516" y="247923"/>
                      <a:pt x="211016" y="222922"/>
                    </a:cubicBezTo>
                    <a:cubicBezTo>
                      <a:pt x="210048" y="219694"/>
                      <a:pt x="209553" y="216220"/>
                      <a:pt x="207819" y="213330"/>
                    </a:cubicBezTo>
                    <a:cubicBezTo>
                      <a:pt x="206268" y="210745"/>
                      <a:pt x="204120" y="208284"/>
                      <a:pt x="201424" y="206936"/>
                    </a:cubicBezTo>
                    <a:cubicBezTo>
                      <a:pt x="185228" y="198838"/>
                      <a:pt x="171555" y="199354"/>
                      <a:pt x="153466" y="197344"/>
                    </a:cubicBezTo>
                    <a:cubicBezTo>
                      <a:pt x="151335" y="194147"/>
                      <a:pt x="149472" y="190753"/>
                      <a:pt x="147072" y="187753"/>
                    </a:cubicBezTo>
                    <a:cubicBezTo>
                      <a:pt x="145189" y="185399"/>
                      <a:pt x="142228" y="183943"/>
                      <a:pt x="140677" y="181358"/>
                    </a:cubicBezTo>
                    <a:cubicBezTo>
                      <a:pt x="138943" y="178468"/>
                      <a:pt x="139439" y="174509"/>
                      <a:pt x="137480" y="171767"/>
                    </a:cubicBezTo>
                    <a:cubicBezTo>
                      <a:pt x="133976" y="166861"/>
                      <a:pt x="128954" y="163241"/>
                      <a:pt x="124691" y="158978"/>
                    </a:cubicBezTo>
                    <a:lnTo>
                      <a:pt x="118297" y="152583"/>
                    </a:lnTo>
                    <a:cubicBezTo>
                      <a:pt x="109241" y="125416"/>
                      <a:pt x="121871" y="158540"/>
                      <a:pt x="108705" y="136597"/>
                    </a:cubicBezTo>
                    <a:cubicBezTo>
                      <a:pt x="106971" y="133707"/>
                      <a:pt x="108250" y="128965"/>
                      <a:pt x="105508" y="127006"/>
                    </a:cubicBezTo>
                    <a:cubicBezTo>
                      <a:pt x="100023" y="123088"/>
                      <a:pt x="92719" y="122743"/>
                      <a:pt x="86325" y="120611"/>
                    </a:cubicBezTo>
                    <a:lnTo>
                      <a:pt x="76733" y="117414"/>
                    </a:lnTo>
                    <a:cubicBezTo>
                      <a:pt x="74602" y="123808"/>
                      <a:pt x="75105" y="131831"/>
                      <a:pt x="70339" y="136597"/>
                    </a:cubicBezTo>
                    <a:lnTo>
                      <a:pt x="57550" y="149386"/>
                    </a:lnTo>
                    <a:cubicBezTo>
                      <a:pt x="55419" y="151518"/>
                      <a:pt x="54016" y="154828"/>
                      <a:pt x="51156" y="155781"/>
                    </a:cubicBezTo>
                    <a:lnTo>
                      <a:pt x="41564" y="158978"/>
                    </a:lnTo>
                    <a:cubicBezTo>
                      <a:pt x="39433" y="162175"/>
                      <a:pt x="37570" y="165569"/>
                      <a:pt x="35170" y="168569"/>
                    </a:cubicBezTo>
                    <a:cubicBezTo>
                      <a:pt x="33287" y="170923"/>
                      <a:pt x="29834" y="172141"/>
                      <a:pt x="28775" y="174964"/>
                    </a:cubicBezTo>
                    <a:cubicBezTo>
                      <a:pt x="26499" y="181034"/>
                      <a:pt x="26644" y="187753"/>
                      <a:pt x="25578" y="194147"/>
                    </a:cubicBezTo>
                    <a:cubicBezTo>
                      <a:pt x="24512" y="211199"/>
                      <a:pt x="25190" y="228450"/>
                      <a:pt x="22381" y="245302"/>
                    </a:cubicBezTo>
                    <a:cubicBezTo>
                      <a:pt x="21885" y="248276"/>
                      <a:pt x="17869" y="249343"/>
                      <a:pt x="15986" y="251697"/>
                    </a:cubicBezTo>
                    <a:cubicBezTo>
                      <a:pt x="13586" y="254697"/>
                      <a:pt x="11723" y="258091"/>
                      <a:pt x="9592" y="261288"/>
                    </a:cubicBezTo>
                    <a:cubicBezTo>
                      <a:pt x="5641" y="273141"/>
                      <a:pt x="9410" y="269373"/>
                      <a:pt x="0" y="274077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2" name="Freeform 48261"/>
              <p:cNvSpPr/>
              <p:nvPr/>
            </p:nvSpPr>
            <p:spPr>
              <a:xfrm>
                <a:off x="3291714" y="4108406"/>
                <a:ext cx="1124792" cy="543524"/>
              </a:xfrm>
              <a:custGeom>
                <a:avLst/>
                <a:gdLst>
                  <a:gd name="connsiteX0" fmla="*/ 1198951 w 1218134"/>
                  <a:gd name="connsiteY0" fmla="*/ 0 h 543524"/>
                  <a:gd name="connsiteX1" fmla="*/ 1211740 w 1218134"/>
                  <a:gd name="connsiteY1" fmla="*/ 15986 h 543524"/>
                  <a:gd name="connsiteX2" fmla="*/ 1218134 w 1218134"/>
                  <a:gd name="connsiteY2" fmla="*/ 35169 h 543524"/>
                  <a:gd name="connsiteX3" fmla="*/ 1211740 w 1218134"/>
                  <a:gd name="connsiteY3" fmla="*/ 54352 h 543524"/>
                  <a:gd name="connsiteX4" fmla="*/ 1186162 w 1218134"/>
                  <a:gd name="connsiteY4" fmla="*/ 47958 h 543524"/>
                  <a:gd name="connsiteX5" fmla="*/ 1176571 w 1218134"/>
                  <a:gd name="connsiteY5" fmla="*/ 41563 h 543524"/>
                  <a:gd name="connsiteX6" fmla="*/ 1170176 w 1218134"/>
                  <a:gd name="connsiteY6" fmla="*/ 31972 h 543524"/>
                  <a:gd name="connsiteX7" fmla="*/ 1163782 w 1218134"/>
                  <a:gd name="connsiteY7" fmla="*/ 25577 h 543524"/>
                  <a:gd name="connsiteX8" fmla="*/ 1103035 w 1218134"/>
                  <a:gd name="connsiteY8" fmla="*/ 28774 h 543524"/>
                  <a:gd name="connsiteX9" fmla="*/ 1106232 w 1218134"/>
                  <a:gd name="connsiteY9" fmla="*/ 41563 h 543524"/>
                  <a:gd name="connsiteX10" fmla="*/ 1112627 w 1218134"/>
                  <a:gd name="connsiteY10" fmla="*/ 47958 h 543524"/>
                  <a:gd name="connsiteX11" fmla="*/ 1125416 w 1218134"/>
                  <a:gd name="connsiteY11" fmla="*/ 63944 h 543524"/>
                  <a:gd name="connsiteX12" fmla="*/ 1128613 w 1218134"/>
                  <a:gd name="connsiteY12" fmla="*/ 79930 h 543524"/>
                  <a:gd name="connsiteX13" fmla="*/ 1122218 w 1218134"/>
                  <a:gd name="connsiteY13" fmla="*/ 156663 h 543524"/>
                  <a:gd name="connsiteX14" fmla="*/ 1109429 w 1218134"/>
                  <a:gd name="connsiteY14" fmla="*/ 179043 h 543524"/>
                  <a:gd name="connsiteX15" fmla="*/ 1103035 w 1218134"/>
                  <a:gd name="connsiteY15" fmla="*/ 198226 h 543524"/>
                  <a:gd name="connsiteX16" fmla="*/ 1099838 w 1218134"/>
                  <a:gd name="connsiteY16" fmla="*/ 207818 h 543524"/>
                  <a:gd name="connsiteX17" fmla="*/ 1077457 w 1218134"/>
                  <a:gd name="connsiteY17" fmla="*/ 227001 h 543524"/>
                  <a:gd name="connsiteX18" fmla="*/ 1058274 w 1218134"/>
                  <a:gd name="connsiteY18" fmla="*/ 233395 h 543524"/>
                  <a:gd name="connsiteX19" fmla="*/ 1032697 w 1218134"/>
                  <a:gd name="connsiteY19" fmla="*/ 239790 h 543524"/>
                  <a:gd name="connsiteX20" fmla="*/ 1007119 w 1218134"/>
                  <a:gd name="connsiteY20" fmla="*/ 242987 h 543524"/>
                  <a:gd name="connsiteX21" fmla="*/ 971950 w 1218134"/>
                  <a:gd name="connsiteY21" fmla="*/ 252579 h 543524"/>
                  <a:gd name="connsiteX22" fmla="*/ 965555 w 1218134"/>
                  <a:gd name="connsiteY22" fmla="*/ 258973 h 543524"/>
                  <a:gd name="connsiteX23" fmla="*/ 955964 w 1218134"/>
                  <a:gd name="connsiteY23" fmla="*/ 262170 h 543524"/>
                  <a:gd name="connsiteX24" fmla="*/ 949569 w 1218134"/>
                  <a:gd name="connsiteY24" fmla="*/ 271762 h 543524"/>
                  <a:gd name="connsiteX25" fmla="*/ 946372 w 1218134"/>
                  <a:gd name="connsiteY25" fmla="*/ 281353 h 543524"/>
                  <a:gd name="connsiteX26" fmla="*/ 936781 w 1218134"/>
                  <a:gd name="connsiteY26" fmla="*/ 284551 h 543524"/>
                  <a:gd name="connsiteX27" fmla="*/ 930386 w 1218134"/>
                  <a:gd name="connsiteY27" fmla="*/ 290945 h 543524"/>
                  <a:gd name="connsiteX28" fmla="*/ 850456 w 1218134"/>
                  <a:gd name="connsiteY28" fmla="*/ 290945 h 543524"/>
                  <a:gd name="connsiteX29" fmla="*/ 844062 w 1218134"/>
                  <a:gd name="connsiteY29" fmla="*/ 300537 h 543524"/>
                  <a:gd name="connsiteX30" fmla="*/ 840864 w 1218134"/>
                  <a:gd name="connsiteY30" fmla="*/ 310128 h 543524"/>
                  <a:gd name="connsiteX31" fmla="*/ 831273 w 1218134"/>
                  <a:gd name="connsiteY31" fmla="*/ 329311 h 543524"/>
                  <a:gd name="connsiteX32" fmla="*/ 840864 w 1218134"/>
                  <a:gd name="connsiteY32" fmla="*/ 348495 h 543524"/>
                  <a:gd name="connsiteX33" fmla="*/ 853653 w 1218134"/>
                  <a:gd name="connsiteY33" fmla="*/ 361284 h 543524"/>
                  <a:gd name="connsiteX34" fmla="*/ 860048 w 1218134"/>
                  <a:gd name="connsiteY34" fmla="*/ 367678 h 543524"/>
                  <a:gd name="connsiteX35" fmla="*/ 882428 w 1218134"/>
                  <a:gd name="connsiteY35" fmla="*/ 374072 h 543524"/>
                  <a:gd name="connsiteX36" fmla="*/ 888822 w 1218134"/>
                  <a:gd name="connsiteY36" fmla="*/ 380467 h 543524"/>
                  <a:gd name="connsiteX37" fmla="*/ 892020 w 1218134"/>
                  <a:gd name="connsiteY37" fmla="*/ 390058 h 543524"/>
                  <a:gd name="connsiteX38" fmla="*/ 898414 w 1218134"/>
                  <a:gd name="connsiteY38" fmla="*/ 399650 h 543524"/>
                  <a:gd name="connsiteX39" fmla="*/ 892020 w 1218134"/>
                  <a:gd name="connsiteY39" fmla="*/ 434819 h 543524"/>
                  <a:gd name="connsiteX40" fmla="*/ 869639 w 1218134"/>
                  <a:gd name="connsiteY40" fmla="*/ 431622 h 543524"/>
                  <a:gd name="connsiteX41" fmla="*/ 840864 w 1218134"/>
                  <a:gd name="connsiteY41" fmla="*/ 425228 h 543524"/>
                  <a:gd name="connsiteX42" fmla="*/ 802498 w 1218134"/>
                  <a:gd name="connsiteY42" fmla="*/ 434819 h 543524"/>
                  <a:gd name="connsiteX43" fmla="*/ 780118 w 1218134"/>
                  <a:gd name="connsiteY43" fmla="*/ 444411 h 543524"/>
                  <a:gd name="connsiteX44" fmla="*/ 764132 w 1218134"/>
                  <a:gd name="connsiteY44" fmla="*/ 454002 h 543524"/>
                  <a:gd name="connsiteX45" fmla="*/ 757737 w 1218134"/>
                  <a:gd name="connsiteY45" fmla="*/ 460397 h 543524"/>
                  <a:gd name="connsiteX46" fmla="*/ 738554 w 1218134"/>
                  <a:gd name="connsiteY46" fmla="*/ 466791 h 543524"/>
                  <a:gd name="connsiteX47" fmla="*/ 728962 w 1218134"/>
                  <a:gd name="connsiteY47" fmla="*/ 463594 h 543524"/>
                  <a:gd name="connsiteX48" fmla="*/ 725765 w 1218134"/>
                  <a:gd name="connsiteY48" fmla="*/ 454002 h 543524"/>
                  <a:gd name="connsiteX49" fmla="*/ 722568 w 1218134"/>
                  <a:gd name="connsiteY49" fmla="*/ 396453 h 543524"/>
                  <a:gd name="connsiteX50" fmla="*/ 716174 w 1218134"/>
                  <a:gd name="connsiteY50" fmla="*/ 386861 h 543524"/>
                  <a:gd name="connsiteX51" fmla="*/ 709779 w 1218134"/>
                  <a:gd name="connsiteY51" fmla="*/ 393256 h 543524"/>
                  <a:gd name="connsiteX52" fmla="*/ 706582 w 1218134"/>
                  <a:gd name="connsiteY52" fmla="*/ 402847 h 543524"/>
                  <a:gd name="connsiteX53" fmla="*/ 696990 w 1218134"/>
                  <a:gd name="connsiteY53" fmla="*/ 406044 h 543524"/>
                  <a:gd name="connsiteX54" fmla="*/ 693793 w 1218134"/>
                  <a:gd name="connsiteY54" fmla="*/ 425228 h 543524"/>
                  <a:gd name="connsiteX55" fmla="*/ 681004 w 1218134"/>
                  <a:gd name="connsiteY55" fmla="*/ 428425 h 543524"/>
                  <a:gd name="connsiteX56" fmla="*/ 661821 w 1218134"/>
                  <a:gd name="connsiteY56" fmla="*/ 434819 h 543524"/>
                  <a:gd name="connsiteX57" fmla="*/ 639441 w 1218134"/>
                  <a:gd name="connsiteY57" fmla="*/ 454002 h 543524"/>
                  <a:gd name="connsiteX58" fmla="*/ 629849 w 1218134"/>
                  <a:gd name="connsiteY58" fmla="*/ 457200 h 543524"/>
                  <a:gd name="connsiteX59" fmla="*/ 620257 w 1218134"/>
                  <a:gd name="connsiteY59" fmla="*/ 454002 h 543524"/>
                  <a:gd name="connsiteX60" fmla="*/ 607469 w 1218134"/>
                  <a:gd name="connsiteY60" fmla="*/ 444411 h 543524"/>
                  <a:gd name="connsiteX61" fmla="*/ 594680 w 1218134"/>
                  <a:gd name="connsiteY61" fmla="*/ 441214 h 543524"/>
                  <a:gd name="connsiteX62" fmla="*/ 575497 w 1218134"/>
                  <a:gd name="connsiteY62" fmla="*/ 434819 h 543524"/>
                  <a:gd name="connsiteX63" fmla="*/ 482778 w 1218134"/>
                  <a:gd name="connsiteY63" fmla="*/ 438016 h 543524"/>
                  <a:gd name="connsiteX64" fmla="*/ 463595 w 1218134"/>
                  <a:gd name="connsiteY64" fmla="*/ 444411 h 543524"/>
                  <a:gd name="connsiteX65" fmla="*/ 460397 w 1218134"/>
                  <a:gd name="connsiteY65" fmla="*/ 454002 h 543524"/>
                  <a:gd name="connsiteX66" fmla="*/ 444411 w 1218134"/>
                  <a:gd name="connsiteY66" fmla="*/ 466791 h 543524"/>
                  <a:gd name="connsiteX67" fmla="*/ 438017 w 1218134"/>
                  <a:gd name="connsiteY67" fmla="*/ 489172 h 543524"/>
                  <a:gd name="connsiteX68" fmla="*/ 422031 w 1218134"/>
                  <a:gd name="connsiteY68" fmla="*/ 501960 h 543524"/>
                  <a:gd name="connsiteX69" fmla="*/ 402848 w 1218134"/>
                  <a:gd name="connsiteY69" fmla="*/ 508355 h 543524"/>
                  <a:gd name="connsiteX70" fmla="*/ 393256 w 1218134"/>
                  <a:gd name="connsiteY70" fmla="*/ 511552 h 543524"/>
                  <a:gd name="connsiteX71" fmla="*/ 383664 w 1218134"/>
                  <a:gd name="connsiteY71" fmla="*/ 517946 h 543524"/>
                  <a:gd name="connsiteX72" fmla="*/ 377270 w 1218134"/>
                  <a:gd name="connsiteY72" fmla="*/ 524341 h 543524"/>
                  <a:gd name="connsiteX73" fmla="*/ 367678 w 1218134"/>
                  <a:gd name="connsiteY73" fmla="*/ 527538 h 543524"/>
                  <a:gd name="connsiteX74" fmla="*/ 358087 w 1218134"/>
                  <a:gd name="connsiteY74" fmla="*/ 537130 h 543524"/>
                  <a:gd name="connsiteX75" fmla="*/ 338904 w 1218134"/>
                  <a:gd name="connsiteY75" fmla="*/ 543524 h 543524"/>
                  <a:gd name="connsiteX76" fmla="*/ 329312 w 1218134"/>
                  <a:gd name="connsiteY76" fmla="*/ 540327 h 543524"/>
                  <a:gd name="connsiteX77" fmla="*/ 316523 w 1218134"/>
                  <a:gd name="connsiteY77" fmla="*/ 527538 h 543524"/>
                  <a:gd name="connsiteX78" fmla="*/ 303734 w 1218134"/>
                  <a:gd name="connsiteY78" fmla="*/ 524341 h 543524"/>
                  <a:gd name="connsiteX79" fmla="*/ 294143 w 1218134"/>
                  <a:gd name="connsiteY79" fmla="*/ 508355 h 543524"/>
                  <a:gd name="connsiteX80" fmla="*/ 290946 w 1218134"/>
                  <a:gd name="connsiteY80" fmla="*/ 479580 h 543524"/>
                  <a:gd name="connsiteX81" fmla="*/ 287748 w 1218134"/>
                  <a:gd name="connsiteY81" fmla="*/ 469988 h 543524"/>
                  <a:gd name="connsiteX82" fmla="*/ 278157 w 1218134"/>
                  <a:gd name="connsiteY82" fmla="*/ 466791 h 543524"/>
                  <a:gd name="connsiteX83" fmla="*/ 258974 w 1218134"/>
                  <a:gd name="connsiteY83" fmla="*/ 457200 h 543524"/>
                  <a:gd name="connsiteX84" fmla="*/ 242988 w 1218134"/>
                  <a:gd name="connsiteY84" fmla="*/ 444411 h 543524"/>
                  <a:gd name="connsiteX85" fmla="*/ 236593 w 1218134"/>
                  <a:gd name="connsiteY85" fmla="*/ 438016 h 543524"/>
                  <a:gd name="connsiteX86" fmla="*/ 230199 w 1218134"/>
                  <a:gd name="connsiteY86" fmla="*/ 428425 h 543524"/>
                  <a:gd name="connsiteX87" fmla="*/ 220607 w 1218134"/>
                  <a:gd name="connsiteY87" fmla="*/ 425228 h 543524"/>
                  <a:gd name="connsiteX88" fmla="*/ 211016 w 1218134"/>
                  <a:gd name="connsiteY88" fmla="*/ 418833 h 543524"/>
                  <a:gd name="connsiteX89" fmla="*/ 201424 w 1218134"/>
                  <a:gd name="connsiteY89" fmla="*/ 415636 h 543524"/>
                  <a:gd name="connsiteX90" fmla="*/ 195029 w 1218134"/>
                  <a:gd name="connsiteY90" fmla="*/ 409242 h 543524"/>
                  <a:gd name="connsiteX91" fmla="*/ 175846 w 1218134"/>
                  <a:gd name="connsiteY91" fmla="*/ 402847 h 543524"/>
                  <a:gd name="connsiteX92" fmla="*/ 166255 w 1218134"/>
                  <a:gd name="connsiteY92" fmla="*/ 399650 h 543524"/>
                  <a:gd name="connsiteX93" fmla="*/ 156663 w 1218134"/>
                  <a:gd name="connsiteY93" fmla="*/ 396453 h 543524"/>
                  <a:gd name="connsiteX94" fmla="*/ 51155 w 1218134"/>
                  <a:gd name="connsiteY94" fmla="*/ 399650 h 543524"/>
                  <a:gd name="connsiteX95" fmla="*/ 44761 w 1218134"/>
                  <a:gd name="connsiteY95" fmla="*/ 409242 h 543524"/>
                  <a:gd name="connsiteX96" fmla="*/ 0 w 1218134"/>
                  <a:gd name="connsiteY96" fmla="*/ 412439 h 54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1218134" h="543524">
                    <a:moveTo>
                      <a:pt x="1198951" y="0"/>
                    </a:moveTo>
                    <a:cubicBezTo>
                      <a:pt x="1203214" y="5329"/>
                      <a:pt x="1208472" y="9995"/>
                      <a:pt x="1211740" y="15986"/>
                    </a:cubicBezTo>
                    <a:cubicBezTo>
                      <a:pt x="1214968" y="21903"/>
                      <a:pt x="1218134" y="35169"/>
                      <a:pt x="1218134" y="35169"/>
                    </a:cubicBezTo>
                    <a:cubicBezTo>
                      <a:pt x="1216003" y="41563"/>
                      <a:pt x="1217225" y="50434"/>
                      <a:pt x="1211740" y="54352"/>
                    </a:cubicBezTo>
                    <a:cubicBezTo>
                      <a:pt x="1209285" y="56105"/>
                      <a:pt x="1190468" y="49393"/>
                      <a:pt x="1186162" y="47958"/>
                    </a:cubicBezTo>
                    <a:cubicBezTo>
                      <a:pt x="1182965" y="45826"/>
                      <a:pt x="1179288" y="44280"/>
                      <a:pt x="1176571" y="41563"/>
                    </a:cubicBezTo>
                    <a:cubicBezTo>
                      <a:pt x="1173854" y="38846"/>
                      <a:pt x="1172576" y="34972"/>
                      <a:pt x="1170176" y="31972"/>
                    </a:cubicBezTo>
                    <a:cubicBezTo>
                      <a:pt x="1168293" y="29618"/>
                      <a:pt x="1165913" y="27709"/>
                      <a:pt x="1163782" y="25577"/>
                    </a:cubicBezTo>
                    <a:lnTo>
                      <a:pt x="1103035" y="28774"/>
                    </a:lnTo>
                    <a:cubicBezTo>
                      <a:pt x="1098801" y="29950"/>
                      <a:pt x="1104267" y="37633"/>
                      <a:pt x="1106232" y="41563"/>
                    </a:cubicBezTo>
                    <a:cubicBezTo>
                      <a:pt x="1107580" y="44259"/>
                      <a:pt x="1110744" y="45604"/>
                      <a:pt x="1112627" y="47958"/>
                    </a:cubicBezTo>
                    <a:cubicBezTo>
                      <a:pt x="1128761" y="68125"/>
                      <a:pt x="1109974" y="48502"/>
                      <a:pt x="1125416" y="63944"/>
                    </a:cubicBezTo>
                    <a:cubicBezTo>
                      <a:pt x="1126482" y="69273"/>
                      <a:pt x="1128613" y="74496"/>
                      <a:pt x="1128613" y="79930"/>
                    </a:cubicBezTo>
                    <a:cubicBezTo>
                      <a:pt x="1128613" y="97057"/>
                      <a:pt x="1131998" y="133845"/>
                      <a:pt x="1122218" y="156663"/>
                    </a:cubicBezTo>
                    <a:cubicBezTo>
                      <a:pt x="1117349" y="168022"/>
                      <a:pt x="1115852" y="169409"/>
                      <a:pt x="1109429" y="179043"/>
                    </a:cubicBezTo>
                    <a:lnTo>
                      <a:pt x="1103035" y="198226"/>
                    </a:lnTo>
                    <a:cubicBezTo>
                      <a:pt x="1101969" y="201423"/>
                      <a:pt x="1102221" y="205435"/>
                      <a:pt x="1099838" y="207818"/>
                    </a:cubicBezTo>
                    <a:cubicBezTo>
                      <a:pt x="1093498" y="214158"/>
                      <a:pt x="1086223" y="223105"/>
                      <a:pt x="1077457" y="227001"/>
                    </a:cubicBezTo>
                    <a:cubicBezTo>
                      <a:pt x="1071298" y="229738"/>
                      <a:pt x="1064668" y="231263"/>
                      <a:pt x="1058274" y="233395"/>
                    </a:cubicBezTo>
                    <a:cubicBezTo>
                      <a:pt x="1046597" y="237288"/>
                      <a:pt x="1047039" y="237584"/>
                      <a:pt x="1032697" y="239790"/>
                    </a:cubicBezTo>
                    <a:cubicBezTo>
                      <a:pt x="1024205" y="241096"/>
                      <a:pt x="1015564" y="241404"/>
                      <a:pt x="1007119" y="242987"/>
                    </a:cubicBezTo>
                    <a:cubicBezTo>
                      <a:pt x="990624" y="246080"/>
                      <a:pt x="985141" y="248180"/>
                      <a:pt x="971950" y="252579"/>
                    </a:cubicBezTo>
                    <a:cubicBezTo>
                      <a:pt x="969818" y="254710"/>
                      <a:pt x="968140" y="257422"/>
                      <a:pt x="965555" y="258973"/>
                    </a:cubicBezTo>
                    <a:cubicBezTo>
                      <a:pt x="962665" y="260707"/>
                      <a:pt x="958595" y="260065"/>
                      <a:pt x="955964" y="262170"/>
                    </a:cubicBezTo>
                    <a:cubicBezTo>
                      <a:pt x="952963" y="264571"/>
                      <a:pt x="951701" y="268565"/>
                      <a:pt x="949569" y="271762"/>
                    </a:cubicBezTo>
                    <a:cubicBezTo>
                      <a:pt x="948503" y="274959"/>
                      <a:pt x="948755" y="278970"/>
                      <a:pt x="946372" y="281353"/>
                    </a:cubicBezTo>
                    <a:cubicBezTo>
                      <a:pt x="943989" y="283736"/>
                      <a:pt x="939671" y="282817"/>
                      <a:pt x="936781" y="284551"/>
                    </a:cubicBezTo>
                    <a:cubicBezTo>
                      <a:pt x="934196" y="286102"/>
                      <a:pt x="932518" y="288814"/>
                      <a:pt x="930386" y="290945"/>
                    </a:cubicBezTo>
                    <a:cubicBezTo>
                      <a:pt x="899740" y="286567"/>
                      <a:pt x="888113" y="283413"/>
                      <a:pt x="850456" y="290945"/>
                    </a:cubicBezTo>
                    <a:cubicBezTo>
                      <a:pt x="846688" y="291699"/>
                      <a:pt x="845781" y="297100"/>
                      <a:pt x="844062" y="300537"/>
                    </a:cubicBezTo>
                    <a:cubicBezTo>
                      <a:pt x="842555" y="303551"/>
                      <a:pt x="842371" y="307114"/>
                      <a:pt x="840864" y="310128"/>
                    </a:cubicBezTo>
                    <a:cubicBezTo>
                      <a:pt x="828472" y="334911"/>
                      <a:pt x="839306" y="305211"/>
                      <a:pt x="831273" y="329311"/>
                    </a:cubicBezTo>
                    <a:cubicBezTo>
                      <a:pt x="851556" y="349597"/>
                      <a:pt x="821218" y="317062"/>
                      <a:pt x="840864" y="348495"/>
                    </a:cubicBezTo>
                    <a:cubicBezTo>
                      <a:pt x="844059" y="353607"/>
                      <a:pt x="849390" y="357021"/>
                      <a:pt x="853653" y="361284"/>
                    </a:cubicBezTo>
                    <a:cubicBezTo>
                      <a:pt x="855785" y="363415"/>
                      <a:pt x="857124" y="366947"/>
                      <a:pt x="860048" y="367678"/>
                    </a:cubicBezTo>
                    <a:cubicBezTo>
                      <a:pt x="876106" y="371692"/>
                      <a:pt x="868668" y="369486"/>
                      <a:pt x="882428" y="374072"/>
                    </a:cubicBezTo>
                    <a:cubicBezTo>
                      <a:pt x="884559" y="376204"/>
                      <a:pt x="887271" y="377882"/>
                      <a:pt x="888822" y="380467"/>
                    </a:cubicBezTo>
                    <a:cubicBezTo>
                      <a:pt x="890556" y="383357"/>
                      <a:pt x="890513" y="387044"/>
                      <a:pt x="892020" y="390058"/>
                    </a:cubicBezTo>
                    <a:cubicBezTo>
                      <a:pt x="893739" y="393495"/>
                      <a:pt x="896283" y="396453"/>
                      <a:pt x="898414" y="399650"/>
                    </a:cubicBezTo>
                    <a:cubicBezTo>
                      <a:pt x="896283" y="411373"/>
                      <a:pt x="899991" y="425963"/>
                      <a:pt x="892020" y="434819"/>
                    </a:cubicBezTo>
                    <a:cubicBezTo>
                      <a:pt x="886979" y="440420"/>
                      <a:pt x="877073" y="432861"/>
                      <a:pt x="869639" y="431622"/>
                    </a:cubicBezTo>
                    <a:cubicBezTo>
                      <a:pt x="857463" y="429593"/>
                      <a:pt x="852360" y="428102"/>
                      <a:pt x="840864" y="425228"/>
                    </a:cubicBezTo>
                    <a:cubicBezTo>
                      <a:pt x="827217" y="427502"/>
                      <a:pt x="815162" y="428487"/>
                      <a:pt x="802498" y="434819"/>
                    </a:cubicBezTo>
                    <a:cubicBezTo>
                      <a:pt x="786695" y="442721"/>
                      <a:pt x="794231" y="439707"/>
                      <a:pt x="780118" y="444411"/>
                    </a:cubicBezTo>
                    <a:cubicBezTo>
                      <a:pt x="763911" y="460615"/>
                      <a:pt x="784888" y="441548"/>
                      <a:pt x="764132" y="454002"/>
                    </a:cubicBezTo>
                    <a:cubicBezTo>
                      <a:pt x="761547" y="455553"/>
                      <a:pt x="760433" y="459049"/>
                      <a:pt x="757737" y="460397"/>
                    </a:cubicBezTo>
                    <a:cubicBezTo>
                      <a:pt x="751708" y="463411"/>
                      <a:pt x="738554" y="466791"/>
                      <a:pt x="738554" y="466791"/>
                    </a:cubicBezTo>
                    <a:cubicBezTo>
                      <a:pt x="735357" y="465725"/>
                      <a:pt x="731345" y="465977"/>
                      <a:pt x="728962" y="463594"/>
                    </a:cubicBezTo>
                    <a:cubicBezTo>
                      <a:pt x="726579" y="461211"/>
                      <a:pt x="726085" y="457357"/>
                      <a:pt x="725765" y="454002"/>
                    </a:cubicBezTo>
                    <a:cubicBezTo>
                      <a:pt x="723944" y="434876"/>
                      <a:pt x="725285" y="415473"/>
                      <a:pt x="722568" y="396453"/>
                    </a:cubicBezTo>
                    <a:cubicBezTo>
                      <a:pt x="722025" y="392649"/>
                      <a:pt x="718305" y="390058"/>
                      <a:pt x="716174" y="386861"/>
                    </a:cubicBezTo>
                    <a:cubicBezTo>
                      <a:pt x="714042" y="388993"/>
                      <a:pt x="711330" y="390671"/>
                      <a:pt x="709779" y="393256"/>
                    </a:cubicBezTo>
                    <a:cubicBezTo>
                      <a:pt x="708045" y="396146"/>
                      <a:pt x="708965" y="400464"/>
                      <a:pt x="706582" y="402847"/>
                    </a:cubicBezTo>
                    <a:cubicBezTo>
                      <a:pt x="704199" y="405230"/>
                      <a:pt x="700187" y="404978"/>
                      <a:pt x="696990" y="406044"/>
                    </a:cubicBezTo>
                    <a:cubicBezTo>
                      <a:pt x="695924" y="412439"/>
                      <a:pt x="697561" y="419953"/>
                      <a:pt x="693793" y="425228"/>
                    </a:cubicBezTo>
                    <a:cubicBezTo>
                      <a:pt x="691239" y="428804"/>
                      <a:pt x="685213" y="427162"/>
                      <a:pt x="681004" y="428425"/>
                    </a:cubicBezTo>
                    <a:cubicBezTo>
                      <a:pt x="674548" y="430362"/>
                      <a:pt x="661821" y="434819"/>
                      <a:pt x="661821" y="434819"/>
                    </a:cubicBezTo>
                    <a:cubicBezTo>
                      <a:pt x="653954" y="442686"/>
                      <a:pt x="649180" y="449132"/>
                      <a:pt x="639441" y="454002"/>
                    </a:cubicBezTo>
                    <a:cubicBezTo>
                      <a:pt x="636426" y="455509"/>
                      <a:pt x="633046" y="456134"/>
                      <a:pt x="629849" y="457200"/>
                    </a:cubicBezTo>
                    <a:cubicBezTo>
                      <a:pt x="626652" y="456134"/>
                      <a:pt x="622362" y="456634"/>
                      <a:pt x="620257" y="454002"/>
                    </a:cubicBezTo>
                    <a:cubicBezTo>
                      <a:pt x="609270" y="440269"/>
                      <a:pt x="626576" y="438042"/>
                      <a:pt x="607469" y="444411"/>
                    </a:cubicBezTo>
                    <a:cubicBezTo>
                      <a:pt x="603206" y="443345"/>
                      <a:pt x="598889" y="442477"/>
                      <a:pt x="594680" y="441214"/>
                    </a:cubicBezTo>
                    <a:cubicBezTo>
                      <a:pt x="588224" y="439277"/>
                      <a:pt x="575497" y="434819"/>
                      <a:pt x="575497" y="434819"/>
                    </a:cubicBezTo>
                    <a:cubicBezTo>
                      <a:pt x="544591" y="435885"/>
                      <a:pt x="513590" y="435375"/>
                      <a:pt x="482778" y="438016"/>
                    </a:cubicBezTo>
                    <a:cubicBezTo>
                      <a:pt x="476062" y="438592"/>
                      <a:pt x="463595" y="444411"/>
                      <a:pt x="463595" y="444411"/>
                    </a:cubicBezTo>
                    <a:cubicBezTo>
                      <a:pt x="462529" y="447608"/>
                      <a:pt x="462131" y="451112"/>
                      <a:pt x="460397" y="454002"/>
                    </a:cubicBezTo>
                    <a:cubicBezTo>
                      <a:pt x="457358" y="459067"/>
                      <a:pt x="448771" y="463885"/>
                      <a:pt x="444411" y="466791"/>
                    </a:cubicBezTo>
                    <a:cubicBezTo>
                      <a:pt x="443814" y="469179"/>
                      <a:pt x="439982" y="485897"/>
                      <a:pt x="438017" y="489172"/>
                    </a:cubicBezTo>
                    <a:cubicBezTo>
                      <a:pt x="435602" y="493197"/>
                      <a:pt x="425594" y="500377"/>
                      <a:pt x="422031" y="501960"/>
                    </a:cubicBezTo>
                    <a:cubicBezTo>
                      <a:pt x="415872" y="504698"/>
                      <a:pt x="409242" y="506223"/>
                      <a:pt x="402848" y="508355"/>
                    </a:cubicBezTo>
                    <a:cubicBezTo>
                      <a:pt x="399651" y="509421"/>
                      <a:pt x="396060" y="509683"/>
                      <a:pt x="393256" y="511552"/>
                    </a:cubicBezTo>
                    <a:cubicBezTo>
                      <a:pt x="390059" y="513683"/>
                      <a:pt x="386665" y="515546"/>
                      <a:pt x="383664" y="517946"/>
                    </a:cubicBezTo>
                    <a:cubicBezTo>
                      <a:pt x="381310" y="519829"/>
                      <a:pt x="379855" y="522790"/>
                      <a:pt x="377270" y="524341"/>
                    </a:cubicBezTo>
                    <a:cubicBezTo>
                      <a:pt x="374380" y="526075"/>
                      <a:pt x="370875" y="526472"/>
                      <a:pt x="367678" y="527538"/>
                    </a:cubicBezTo>
                    <a:cubicBezTo>
                      <a:pt x="364481" y="530735"/>
                      <a:pt x="362039" y="534934"/>
                      <a:pt x="358087" y="537130"/>
                    </a:cubicBezTo>
                    <a:cubicBezTo>
                      <a:pt x="352195" y="540403"/>
                      <a:pt x="338904" y="543524"/>
                      <a:pt x="338904" y="543524"/>
                    </a:cubicBezTo>
                    <a:cubicBezTo>
                      <a:pt x="335707" y="542458"/>
                      <a:pt x="332055" y="542286"/>
                      <a:pt x="329312" y="540327"/>
                    </a:cubicBezTo>
                    <a:cubicBezTo>
                      <a:pt x="324406" y="536823"/>
                      <a:pt x="322372" y="529000"/>
                      <a:pt x="316523" y="527538"/>
                    </a:cubicBezTo>
                    <a:lnTo>
                      <a:pt x="303734" y="524341"/>
                    </a:lnTo>
                    <a:cubicBezTo>
                      <a:pt x="297185" y="517791"/>
                      <a:pt x="295803" y="518315"/>
                      <a:pt x="294143" y="508355"/>
                    </a:cubicBezTo>
                    <a:cubicBezTo>
                      <a:pt x="292557" y="498836"/>
                      <a:pt x="292533" y="489099"/>
                      <a:pt x="290946" y="479580"/>
                    </a:cubicBezTo>
                    <a:cubicBezTo>
                      <a:pt x="290392" y="476256"/>
                      <a:pt x="290131" y="472371"/>
                      <a:pt x="287748" y="469988"/>
                    </a:cubicBezTo>
                    <a:cubicBezTo>
                      <a:pt x="285365" y="467605"/>
                      <a:pt x="281171" y="468298"/>
                      <a:pt x="278157" y="466791"/>
                    </a:cubicBezTo>
                    <a:cubicBezTo>
                      <a:pt x="253366" y="454396"/>
                      <a:pt x="283081" y="465236"/>
                      <a:pt x="258974" y="457200"/>
                    </a:cubicBezTo>
                    <a:cubicBezTo>
                      <a:pt x="243532" y="441758"/>
                      <a:pt x="263155" y="460545"/>
                      <a:pt x="242988" y="444411"/>
                    </a:cubicBezTo>
                    <a:cubicBezTo>
                      <a:pt x="240634" y="442528"/>
                      <a:pt x="238476" y="440370"/>
                      <a:pt x="236593" y="438016"/>
                    </a:cubicBezTo>
                    <a:cubicBezTo>
                      <a:pt x="234193" y="435016"/>
                      <a:pt x="233199" y="430825"/>
                      <a:pt x="230199" y="428425"/>
                    </a:cubicBezTo>
                    <a:cubicBezTo>
                      <a:pt x="227567" y="426320"/>
                      <a:pt x="223804" y="426294"/>
                      <a:pt x="220607" y="425228"/>
                    </a:cubicBezTo>
                    <a:cubicBezTo>
                      <a:pt x="217410" y="423096"/>
                      <a:pt x="214453" y="420551"/>
                      <a:pt x="211016" y="418833"/>
                    </a:cubicBezTo>
                    <a:cubicBezTo>
                      <a:pt x="208002" y="417326"/>
                      <a:pt x="204314" y="417370"/>
                      <a:pt x="201424" y="415636"/>
                    </a:cubicBezTo>
                    <a:cubicBezTo>
                      <a:pt x="198839" y="414085"/>
                      <a:pt x="197725" y="410590"/>
                      <a:pt x="195029" y="409242"/>
                    </a:cubicBezTo>
                    <a:cubicBezTo>
                      <a:pt x="189000" y="406228"/>
                      <a:pt x="182240" y="404979"/>
                      <a:pt x="175846" y="402847"/>
                    </a:cubicBezTo>
                    <a:lnTo>
                      <a:pt x="166255" y="399650"/>
                    </a:lnTo>
                    <a:lnTo>
                      <a:pt x="156663" y="396453"/>
                    </a:lnTo>
                    <a:cubicBezTo>
                      <a:pt x="121494" y="397519"/>
                      <a:pt x="86113" y="395655"/>
                      <a:pt x="51155" y="399650"/>
                    </a:cubicBezTo>
                    <a:cubicBezTo>
                      <a:pt x="47337" y="400086"/>
                      <a:pt x="47958" y="407110"/>
                      <a:pt x="44761" y="409242"/>
                    </a:cubicBezTo>
                    <a:cubicBezTo>
                      <a:pt x="36089" y="415024"/>
                      <a:pt x="1306" y="412439"/>
                      <a:pt x="0" y="412439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5" name="Freeform 48264"/>
              <p:cNvSpPr/>
              <p:nvPr/>
            </p:nvSpPr>
            <p:spPr>
              <a:xfrm>
                <a:off x="2798695" y="4319422"/>
                <a:ext cx="295222" cy="172649"/>
              </a:xfrm>
              <a:custGeom>
                <a:avLst/>
                <a:gdLst>
                  <a:gd name="connsiteX0" fmla="*/ 319721 w 319721"/>
                  <a:gd name="connsiteY0" fmla="*/ 172649 h 172649"/>
                  <a:gd name="connsiteX1" fmla="*/ 294143 w 319721"/>
                  <a:gd name="connsiteY1" fmla="*/ 163057 h 172649"/>
                  <a:gd name="connsiteX2" fmla="*/ 287749 w 319721"/>
                  <a:gd name="connsiteY2" fmla="*/ 143874 h 172649"/>
                  <a:gd name="connsiteX3" fmla="*/ 294143 w 319721"/>
                  <a:gd name="connsiteY3" fmla="*/ 124691 h 172649"/>
                  <a:gd name="connsiteX4" fmla="*/ 249382 w 319721"/>
                  <a:gd name="connsiteY4" fmla="*/ 115099 h 172649"/>
                  <a:gd name="connsiteX5" fmla="*/ 239790 w 319721"/>
                  <a:gd name="connsiteY5" fmla="*/ 118296 h 172649"/>
                  <a:gd name="connsiteX6" fmla="*/ 223804 w 319721"/>
                  <a:gd name="connsiteY6" fmla="*/ 134282 h 172649"/>
                  <a:gd name="connsiteX7" fmla="*/ 204621 w 319721"/>
                  <a:gd name="connsiteY7" fmla="*/ 140677 h 172649"/>
                  <a:gd name="connsiteX8" fmla="*/ 175846 w 319721"/>
                  <a:gd name="connsiteY8" fmla="*/ 137480 h 172649"/>
                  <a:gd name="connsiteX9" fmla="*/ 156663 w 319721"/>
                  <a:gd name="connsiteY9" fmla="*/ 131085 h 172649"/>
                  <a:gd name="connsiteX10" fmla="*/ 150269 w 319721"/>
                  <a:gd name="connsiteY10" fmla="*/ 121494 h 172649"/>
                  <a:gd name="connsiteX11" fmla="*/ 147072 w 319721"/>
                  <a:gd name="connsiteY11" fmla="*/ 111902 h 172649"/>
                  <a:gd name="connsiteX12" fmla="*/ 137480 w 319721"/>
                  <a:gd name="connsiteY12" fmla="*/ 108705 h 172649"/>
                  <a:gd name="connsiteX13" fmla="*/ 124691 w 319721"/>
                  <a:gd name="connsiteY13" fmla="*/ 92719 h 172649"/>
                  <a:gd name="connsiteX14" fmla="*/ 99114 w 319721"/>
                  <a:gd name="connsiteY14" fmla="*/ 60747 h 172649"/>
                  <a:gd name="connsiteX15" fmla="*/ 83128 w 319721"/>
                  <a:gd name="connsiteY15" fmla="*/ 31972 h 172649"/>
                  <a:gd name="connsiteX16" fmla="*/ 73536 w 319721"/>
                  <a:gd name="connsiteY16" fmla="*/ 28775 h 172649"/>
                  <a:gd name="connsiteX17" fmla="*/ 70339 w 319721"/>
                  <a:gd name="connsiteY17" fmla="*/ 19183 h 172649"/>
                  <a:gd name="connsiteX18" fmla="*/ 47958 w 319721"/>
                  <a:gd name="connsiteY18" fmla="*/ 0 h 172649"/>
                  <a:gd name="connsiteX19" fmla="*/ 28775 w 319721"/>
                  <a:gd name="connsiteY19" fmla="*/ 6394 h 172649"/>
                  <a:gd name="connsiteX20" fmla="*/ 19183 w 319721"/>
                  <a:gd name="connsiteY20" fmla="*/ 9592 h 172649"/>
                  <a:gd name="connsiteX21" fmla="*/ 6395 w 319721"/>
                  <a:gd name="connsiteY21" fmla="*/ 12789 h 172649"/>
                  <a:gd name="connsiteX22" fmla="*/ 0 w 319721"/>
                  <a:gd name="connsiteY22" fmla="*/ 22380 h 172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9721" h="172649">
                    <a:moveTo>
                      <a:pt x="319721" y="172649"/>
                    </a:moveTo>
                    <a:cubicBezTo>
                      <a:pt x="310440" y="171102"/>
                      <a:pt x="299133" y="173039"/>
                      <a:pt x="294143" y="163057"/>
                    </a:cubicBezTo>
                    <a:cubicBezTo>
                      <a:pt x="291129" y="157028"/>
                      <a:pt x="287749" y="143874"/>
                      <a:pt x="287749" y="143874"/>
                    </a:cubicBezTo>
                    <a:cubicBezTo>
                      <a:pt x="289880" y="137480"/>
                      <a:pt x="300537" y="126823"/>
                      <a:pt x="294143" y="124691"/>
                    </a:cubicBezTo>
                    <a:cubicBezTo>
                      <a:pt x="266809" y="115579"/>
                      <a:pt x="281648" y="119132"/>
                      <a:pt x="249382" y="115099"/>
                    </a:cubicBezTo>
                    <a:cubicBezTo>
                      <a:pt x="246185" y="116165"/>
                      <a:pt x="242486" y="116274"/>
                      <a:pt x="239790" y="118296"/>
                    </a:cubicBezTo>
                    <a:cubicBezTo>
                      <a:pt x="233761" y="122817"/>
                      <a:pt x="230953" y="131899"/>
                      <a:pt x="223804" y="134282"/>
                    </a:cubicBezTo>
                    <a:lnTo>
                      <a:pt x="204621" y="140677"/>
                    </a:lnTo>
                    <a:cubicBezTo>
                      <a:pt x="195029" y="139611"/>
                      <a:pt x="185309" y="139373"/>
                      <a:pt x="175846" y="137480"/>
                    </a:cubicBezTo>
                    <a:cubicBezTo>
                      <a:pt x="169237" y="136158"/>
                      <a:pt x="156663" y="131085"/>
                      <a:pt x="156663" y="131085"/>
                    </a:cubicBezTo>
                    <a:cubicBezTo>
                      <a:pt x="154532" y="127888"/>
                      <a:pt x="151987" y="124931"/>
                      <a:pt x="150269" y="121494"/>
                    </a:cubicBezTo>
                    <a:cubicBezTo>
                      <a:pt x="148762" y="118480"/>
                      <a:pt x="149455" y="114285"/>
                      <a:pt x="147072" y="111902"/>
                    </a:cubicBezTo>
                    <a:cubicBezTo>
                      <a:pt x="144689" y="109519"/>
                      <a:pt x="140677" y="109771"/>
                      <a:pt x="137480" y="108705"/>
                    </a:cubicBezTo>
                    <a:cubicBezTo>
                      <a:pt x="115701" y="86922"/>
                      <a:pt x="148907" y="120969"/>
                      <a:pt x="124691" y="92719"/>
                    </a:cubicBezTo>
                    <a:cubicBezTo>
                      <a:pt x="115164" y="81605"/>
                      <a:pt x="104161" y="75884"/>
                      <a:pt x="99114" y="60747"/>
                    </a:cubicBezTo>
                    <a:cubicBezTo>
                      <a:pt x="96299" y="52303"/>
                      <a:pt x="91371" y="34719"/>
                      <a:pt x="83128" y="31972"/>
                    </a:cubicBezTo>
                    <a:lnTo>
                      <a:pt x="73536" y="28775"/>
                    </a:lnTo>
                    <a:cubicBezTo>
                      <a:pt x="72470" y="25578"/>
                      <a:pt x="72298" y="21926"/>
                      <a:pt x="70339" y="19183"/>
                    </a:cubicBezTo>
                    <a:cubicBezTo>
                      <a:pt x="63290" y="9315"/>
                      <a:pt x="57176" y="6145"/>
                      <a:pt x="47958" y="0"/>
                    </a:cubicBezTo>
                    <a:lnTo>
                      <a:pt x="28775" y="6394"/>
                    </a:lnTo>
                    <a:cubicBezTo>
                      <a:pt x="25578" y="7460"/>
                      <a:pt x="22453" y="8775"/>
                      <a:pt x="19183" y="9592"/>
                    </a:cubicBezTo>
                    <a:lnTo>
                      <a:pt x="6395" y="12789"/>
                    </a:lnTo>
                    <a:cubicBezTo>
                      <a:pt x="2860" y="23391"/>
                      <a:pt x="6567" y="22380"/>
                      <a:pt x="0" y="22380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7" name="Freeform 48266"/>
              <p:cNvSpPr/>
              <p:nvPr/>
            </p:nvSpPr>
            <p:spPr>
              <a:xfrm>
                <a:off x="1960268" y="3568078"/>
                <a:ext cx="407405" cy="578694"/>
              </a:xfrm>
              <a:custGeom>
                <a:avLst/>
                <a:gdLst>
                  <a:gd name="connsiteX0" fmla="*/ 425228 w 441214"/>
                  <a:gd name="connsiteY0" fmla="*/ 578694 h 578694"/>
                  <a:gd name="connsiteX1" fmla="*/ 399650 w 441214"/>
                  <a:gd name="connsiteY1" fmla="*/ 569102 h 578694"/>
                  <a:gd name="connsiteX2" fmla="*/ 364481 w 441214"/>
                  <a:gd name="connsiteY2" fmla="*/ 565905 h 578694"/>
                  <a:gd name="connsiteX3" fmla="*/ 361284 w 441214"/>
                  <a:gd name="connsiteY3" fmla="*/ 556314 h 578694"/>
                  <a:gd name="connsiteX4" fmla="*/ 364481 w 441214"/>
                  <a:gd name="connsiteY4" fmla="*/ 546722 h 578694"/>
                  <a:gd name="connsiteX5" fmla="*/ 383664 w 441214"/>
                  <a:gd name="connsiteY5" fmla="*/ 521144 h 578694"/>
                  <a:gd name="connsiteX6" fmla="*/ 396453 w 441214"/>
                  <a:gd name="connsiteY6" fmla="*/ 505158 h 578694"/>
                  <a:gd name="connsiteX7" fmla="*/ 412439 w 441214"/>
                  <a:gd name="connsiteY7" fmla="*/ 508356 h 578694"/>
                  <a:gd name="connsiteX8" fmla="*/ 422030 w 441214"/>
                  <a:gd name="connsiteY8" fmla="*/ 511553 h 578694"/>
                  <a:gd name="connsiteX9" fmla="*/ 438016 w 441214"/>
                  <a:gd name="connsiteY9" fmla="*/ 508356 h 578694"/>
                  <a:gd name="connsiteX10" fmla="*/ 441214 w 441214"/>
                  <a:gd name="connsiteY10" fmla="*/ 498764 h 578694"/>
                  <a:gd name="connsiteX11" fmla="*/ 434819 w 441214"/>
                  <a:gd name="connsiteY11" fmla="*/ 469989 h 578694"/>
                  <a:gd name="connsiteX12" fmla="*/ 428425 w 441214"/>
                  <a:gd name="connsiteY12" fmla="*/ 460398 h 578694"/>
                  <a:gd name="connsiteX13" fmla="*/ 409242 w 441214"/>
                  <a:gd name="connsiteY13" fmla="*/ 454003 h 578694"/>
                  <a:gd name="connsiteX14" fmla="*/ 399650 w 441214"/>
                  <a:gd name="connsiteY14" fmla="*/ 450806 h 578694"/>
                  <a:gd name="connsiteX15" fmla="*/ 393256 w 441214"/>
                  <a:gd name="connsiteY15" fmla="*/ 431623 h 578694"/>
                  <a:gd name="connsiteX16" fmla="*/ 390058 w 441214"/>
                  <a:gd name="connsiteY16" fmla="*/ 422031 h 578694"/>
                  <a:gd name="connsiteX17" fmla="*/ 380467 w 441214"/>
                  <a:gd name="connsiteY17" fmla="*/ 418834 h 578694"/>
                  <a:gd name="connsiteX18" fmla="*/ 374072 w 441214"/>
                  <a:gd name="connsiteY18" fmla="*/ 409242 h 578694"/>
                  <a:gd name="connsiteX19" fmla="*/ 354889 w 441214"/>
                  <a:gd name="connsiteY19" fmla="*/ 399651 h 578694"/>
                  <a:gd name="connsiteX20" fmla="*/ 335706 w 441214"/>
                  <a:gd name="connsiteY20" fmla="*/ 390059 h 578694"/>
                  <a:gd name="connsiteX21" fmla="*/ 316523 w 441214"/>
                  <a:gd name="connsiteY21" fmla="*/ 393256 h 578694"/>
                  <a:gd name="connsiteX22" fmla="*/ 297340 w 441214"/>
                  <a:gd name="connsiteY22" fmla="*/ 399651 h 578694"/>
                  <a:gd name="connsiteX23" fmla="*/ 287748 w 441214"/>
                  <a:gd name="connsiteY23" fmla="*/ 402848 h 578694"/>
                  <a:gd name="connsiteX24" fmla="*/ 281354 w 441214"/>
                  <a:gd name="connsiteY24" fmla="*/ 412439 h 578694"/>
                  <a:gd name="connsiteX25" fmla="*/ 268565 w 441214"/>
                  <a:gd name="connsiteY25" fmla="*/ 415637 h 578694"/>
                  <a:gd name="connsiteX26" fmla="*/ 258973 w 441214"/>
                  <a:gd name="connsiteY26" fmla="*/ 418834 h 578694"/>
                  <a:gd name="connsiteX27" fmla="*/ 217409 w 441214"/>
                  <a:gd name="connsiteY27" fmla="*/ 415637 h 578694"/>
                  <a:gd name="connsiteX28" fmla="*/ 207818 w 441214"/>
                  <a:gd name="connsiteY28" fmla="*/ 412439 h 578694"/>
                  <a:gd name="connsiteX29" fmla="*/ 182240 w 441214"/>
                  <a:gd name="connsiteY29" fmla="*/ 406045 h 578694"/>
                  <a:gd name="connsiteX30" fmla="*/ 156663 w 441214"/>
                  <a:gd name="connsiteY30" fmla="*/ 402848 h 578694"/>
                  <a:gd name="connsiteX31" fmla="*/ 121493 w 441214"/>
                  <a:gd name="connsiteY31" fmla="*/ 380467 h 578694"/>
                  <a:gd name="connsiteX32" fmla="*/ 111902 w 441214"/>
                  <a:gd name="connsiteY32" fmla="*/ 370876 h 578694"/>
                  <a:gd name="connsiteX33" fmla="*/ 115099 w 441214"/>
                  <a:gd name="connsiteY33" fmla="*/ 358087 h 578694"/>
                  <a:gd name="connsiteX34" fmla="*/ 124691 w 441214"/>
                  <a:gd name="connsiteY34" fmla="*/ 342101 h 578694"/>
                  <a:gd name="connsiteX35" fmla="*/ 134282 w 441214"/>
                  <a:gd name="connsiteY35" fmla="*/ 338904 h 578694"/>
                  <a:gd name="connsiteX36" fmla="*/ 153465 w 441214"/>
                  <a:gd name="connsiteY36" fmla="*/ 326115 h 578694"/>
                  <a:gd name="connsiteX37" fmla="*/ 159860 w 441214"/>
                  <a:gd name="connsiteY37" fmla="*/ 319721 h 578694"/>
                  <a:gd name="connsiteX38" fmla="*/ 169451 w 441214"/>
                  <a:gd name="connsiteY38" fmla="*/ 313326 h 578694"/>
                  <a:gd name="connsiteX39" fmla="*/ 175846 w 441214"/>
                  <a:gd name="connsiteY39" fmla="*/ 306932 h 578694"/>
                  <a:gd name="connsiteX40" fmla="*/ 185437 w 441214"/>
                  <a:gd name="connsiteY40" fmla="*/ 300537 h 578694"/>
                  <a:gd name="connsiteX41" fmla="*/ 198226 w 441214"/>
                  <a:gd name="connsiteY41" fmla="*/ 284551 h 578694"/>
                  <a:gd name="connsiteX42" fmla="*/ 201423 w 441214"/>
                  <a:gd name="connsiteY42" fmla="*/ 274960 h 578694"/>
                  <a:gd name="connsiteX43" fmla="*/ 195029 w 441214"/>
                  <a:gd name="connsiteY43" fmla="*/ 252579 h 578694"/>
                  <a:gd name="connsiteX44" fmla="*/ 179043 w 441214"/>
                  <a:gd name="connsiteY44" fmla="*/ 233396 h 578694"/>
                  <a:gd name="connsiteX45" fmla="*/ 166254 w 441214"/>
                  <a:gd name="connsiteY45" fmla="*/ 207819 h 578694"/>
                  <a:gd name="connsiteX46" fmla="*/ 156663 w 441214"/>
                  <a:gd name="connsiteY46" fmla="*/ 179044 h 578694"/>
                  <a:gd name="connsiteX47" fmla="*/ 153465 w 441214"/>
                  <a:gd name="connsiteY47" fmla="*/ 169452 h 578694"/>
                  <a:gd name="connsiteX48" fmla="*/ 156663 w 441214"/>
                  <a:gd name="connsiteY48" fmla="*/ 143874 h 578694"/>
                  <a:gd name="connsiteX49" fmla="*/ 166254 w 441214"/>
                  <a:gd name="connsiteY49" fmla="*/ 137480 h 578694"/>
                  <a:gd name="connsiteX50" fmla="*/ 172649 w 441214"/>
                  <a:gd name="connsiteY50" fmla="*/ 127888 h 578694"/>
                  <a:gd name="connsiteX51" fmla="*/ 179043 w 441214"/>
                  <a:gd name="connsiteY51" fmla="*/ 108705 h 578694"/>
                  <a:gd name="connsiteX52" fmla="*/ 172649 w 441214"/>
                  <a:gd name="connsiteY52" fmla="*/ 83128 h 578694"/>
                  <a:gd name="connsiteX53" fmla="*/ 159860 w 441214"/>
                  <a:gd name="connsiteY53" fmla="*/ 63944 h 578694"/>
                  <a:gd name="connsiteX54" fmla="*/ 150268 w 441214"/>
                  <a:gd name="connsiteY54" fmla="*/ 47958 h 578694"/>
                  <a:gd name="connsiteX55" fmla="*/ 147071 w 441214"/>
                  <a:gd name="connsiteY55" fmla="*/ 38367 h 578694"/>
                  <a:gd name="connsiteX56" fmla="*/ 131085 w 441214"/>
                  <a:gd name="connsiteY56" fmla="*/ 22381 h 578694"/>
                  <a:gd name="connsiteX57" fmla="*/ 121493 w 441214"/>
                  <a:gd name="connsiteY57" fmla="*/ 19184 h 578694"/>
                  <a:gd name="connsiteX58" fmla="*/ 38366 w 441214"/>
                  <a:gd name="connsiteY58" fmla="*/ 12789 h 578694"/>
                  <a:gd name="connsiteX59" fmla="*/ 12788 w 441214"/>
                  <a:gd name="connsiteY59" fmla="*/ 9592 h 578694"/>
                  <a:gd name="connsiteX60" fmla="*/ 3197 w 441214"/>
                  <a:gd name="connsiteY60" fmla="*/ 6395 h 578694"/>
                  <a:gd name="connsiteX61" fmla="*/ 0 w 441214"/>
                  <a:gd name="connsiteY61" fmla="*/ 0 h 578694"/>
                  <a:gd name="connsiteX0" fmla="*/ 425228 w 441214"/>
                  <a:gd name="connsiteY0" fmla="*/ 578694 h 578694"/>
                  <a:gd name="connsiteX1" fmla="*/ 399650 w 441214"/>
                  <a:gd name="connsiteY1" fmla="*/ 569102 h 578694"/>
                  <a:gd name="connsiteX2" fmla="*/ 364481 w 441214"/>
                  <a:gd name="connsiteY2" fmla="*/ 565905 h 578694"/>
                  <a:gd name="connsiteX3" fmla="*/ 361284 w 441214"/>
                  <a:gd name="connsiteY3" fmla="*/ 556314 h 578694"/>
                  <a:gd name="connsiteX4" fmla="*/ 364481 w 441214"/>
                  <a:gd name="connsiteY4" fmla="*/ 546722 h 578694"/>
                  <a:gd name="connsiteX5" fmla="*/ 383664 w 441214"/>
                  <a:gd name="connsiteY5" fmla="*/ 521144 h 578694"/>
                  <a:gd name="connsiteX6" fmla="*/ 396453 w 441214"/>
                  <a:gd name="connsiteY6" fmla="*/ 505158 h 578694"/>
                  <a:gd name="connsiteX7" fmla="*/ 412439 w 441214"/>
                  <a:gd name="connsiteY7" fmla="*/ 508356 h 578694"/>
                  <a:gd name="connsiteX8" fmla="*/ 422030 w 441214"/>
                  <a:gd name="connsiteY8" fmla="*/ 511553 h 578694"/>
                  <a:gd name="connsiteX9" fmla="*/ 438016 w 441214"/>
                  <a:gd name="connsiteY9" fmla="*/ 508356 h 578694"/>
                  <a:gd name="connsiteX10" fmla="*/ 441214 w 441214"/>
                  <a:gd name="connsiteY10" fmla="*/ 498764 h 578694"/>
                  <a:gd name="connsiteX11" fmla="*/ 434819 w 441214"/>
                  <a:gd name="connsiteY11" fmla="*/ 469989 h 578694"/>
                  <a:gd name="connsiteX12" fmla="*/ 428425 w 441214"/>
                  <a:gd name="connsiteY12" fmla="*/ 460398 h 578694"/>
                  <a:gd name="connsiteX13" fmla="*/ 409242 w 441214"/>
                  <a:gd name="connsiteY13" fmla="*/ 454003 h 578694"/>
                  <a:gd name="connsiteX14" fmla="*/ 399650 w 441214"/>
                  <a:gd name="connsiteY14" fmla="*/ 450806 h 578694"/>
                  <a:gd name="connsiteX15" fmla="*/ 393256 w 441214"/>
                  <a:gd name="connsiteY15" fmla="*/ 431623 h 578694"/>
                  <a:gd name="connsiteX16" fmla="*/ 390058 w 441214"/>
                  <a:gd name="connsiteY16" fmla="*/ 422031 h 578694"/>
                  <a:gd name="connsiteX17" fmla="*/ 380467 w 441214"/>
                  <a:gd name="connsiteY17" fmla="*/ 418834 h 578694"/>
                  <a:gd name="connsiteX18" fmla="*/ 374072 w 441214"/>
                  <a:gd name="connsiteY18" fmla="*/ 409242 h 578694"/>
                  <a:gd name="connsiteX19" fmla="*/ 354889 w 441214"/>
                  <a:gd name="connsiteY19" fmla="*/ 399651 h 578694"/>
                  <a:gd name="connsiteX20" fmla="*/ 335706 w 441214"/>
                  <a:gd name="connsiteY20" fmla="*/ 390059 h 578694"/>
                  <a:gd name="connsiteX21" fmla="*/ 316523 w 441214"/>
                  <a:gd name="connsiteY21" fmla="*/ 393256 h 578694"/>
                  <a:gd name="connsiteX22" fmla="*/ 297340 w 441214"/>
                  <a:gd name="connsiteY22" fmla="*/ 399651 h 578694"/>
                  <a:gd name="connsiteX23" fmla="*/ 287748 w 441214"/>
                  <a:gd name="connsiteY23" fmla="*/ 402848 h 578694"/>
                  <a:gd name="connsiteX24" fmla="*/ 281354 w 441214"/>
                  <a:gd name="connsiteY24" fmla="*/ 412439 h 578694"/>
                  <a:gd name="connsiteX25" fmla="*/ 268565 w 441214"/>
                  <a:gd name="connsiteY25" fmla="*/ 415637 h 578694"/>
                  <a:gd name="connsiteX26" fmla="*/ 258973 w 441214"/>
                  <a:gd name="connsiteY26" fmla="*/ 418834 h 578694"/>
                  <a:gd name="connsiteX27" fmla="*/ 217409 w 441214"/>
                  <a:gd name="connsiteY27" fmla="*/ 415637 h 578694"/>
                  <a:gd name="connsiteX28" fmla="*/ 207818 w 441214"/>
                  <a:gd name="connsiteY28" fmla="*/ 412439 h 578694"/>
                  <a:gd name="connsiteX29" fmla="*/ 182240 w 441214"/>
                  <a:gd name="connsiteY29" fmla="*/ 406045 h 578694"/>
                  <a:gd name="connsiteX30" fmla="*/ 156663 w 441214"/>
                  <a:gd name="connsiteY30" fmla="*/ 402848 h 578694"/>
                  <a:gd name="connsiteX31" fmla="*/ 121493 w 441214"/>
                  <a:gd name="connsiteY31" fmla="*/ 380467 h 578694"/>
                  <a:gd name="connsiteX32" fmla="*/ 111902 w 441214"/>
                  <a:gd name="connsiteY32" fmla="*/ 370876 h 578694"/>
                  <a:gd name="connsiteX33" fmla="*/ 115099 w 441214"/>
                  <a:gd name="connsiteY33" fmla="*/ 358087 h 578694"/>
                  <a:gd name="connsiteX34" fmla="*/ 124691 w 441214"/>
                  <a:gd name="connsiteY34" fmla="*/ 342101 h 578694"/>
                  <a:gd name="connsiteX35" fmla="*/ 134282 w 441214"/>
                  <a:gd name="connsiteY35" fmla="*/ 338904 h 578694"/>
                  <a:gd name="connsiteX36" fmla="*/ 153465 w 441214"/>
                  <a:gd name="connsiteY36" fmla="*/ 326115 h 578694"/>
                  <a:gd name="connsiteX37" fmla="*/ 145573 w 441214"/>
                  <a:gd name="connsiteY37" fmla="*/ 312577 h 578694"/>
                  <a:gd name="connsiteX38" fmla="*/ 169451 w 441214"/>
                  <a:gd name="connsiteY38" fmla="*/ 313326 h 578694"/>
                  <a:gd name="connsiteX39" fmla="*/ 175846 w 441214"/>
                  <a:gd name="connsiteY39" fmla="*/ 306932 h 578694"/>
                  <a:gd name="connsiteX40" fmla="*/ 185437 w 441214"/>
                  <a:gd name="connsiteY40" fmla="*/ 300537 h 578694"/>
                  <a:gd name="connsiteX41" fmla="*/ 198226 w 441214"/>
                  <a:gd name="connsiteY41" fmla="*/ 284551 h 578694"/>
                  <a:gd name="connsiteX42" fmla="*/ 201423 w 441214"/>
                  <a:gd name="connsiteY42" fmla="*/ 274960 h 578694"/>
                  <a:gd name="connsiteX43" fmla="*/ 195029 w 441214"/>
                  <a:gd name="connsiteY43" fmla="*/ 252579 h 578694"/>
                  <a:gd name="connsiteX44" fmla="*/ 179043 w 441214"/>
                  <a:gd name="connsiteY44" fmla="*/ 233396 h 578694"/>
                  <a:gd name="connsiteX45" fmla="*/ 166254 w 441214"/>
                  <a:gd name="connsiteY45" fmla="*/ 207819 h 578694"/>
                  <a:gd name="connsiteX46" fmla="*/ 156663 w 441214"/>
                  <a:gd name="connsiteY46" fmla="*/ 179044 h 578694"/>
                  <a:gd name="connsiteX47" fmla="*/ 153465 w 441214"/>
                  <a:gd name="connsiteY47" fmla="*/ 169452 h 578694"/>
                  <a:gd name="connsiteX48" fmla="*/ 156663 w 441214"/>
                  <a:gd name="connsiteY48" fmla="*/ 143874 h 578694"/>
                  <a:gd name="connsiteX49" fmla="*/ 166254 w 441214"/>
                  <a:gd name="connsiteY49" fmla="*/ 137480 h 578694"/>
                  <a:gd name="connsiteX50" fmla="*/ 172649 w 441214"/>
                  <a:gd name="connsiteY50" fmla="*/ 127888 h 578694"/>
                  <a:gd name="connsiteX51" fmla="*/ 179043 w 441214"/>
                  <a:gd name="connsiteY51" fmla="*/ 108705 h 578694"/>
                  <a:gd name="connsiteX52" fmla="*/ 172649 w 441214"/>
                  <a:gd name="connsiteY52" fmla="*/ 83128 h 578694"/>
                  <a:gd name="connsiteX53" fmla="*/ 159860 w 441214"/>
                  <a:gd name="connsiteY53" fmla="*/ 63944 h 578694"/>
                  <a:gd name="connsiteX54" fmla="*/ 150268 w 441214"/>
                  <a:gd name="connsiteY54" fmla="*/ 47958 h 578694"/>
                  <a:gd name="connsiteX55" fmla="*/ 147071 w 441214"/>
                  <a:gd name="connsiteY55" fmla="*/ 38367 h 578694"/>
                  <a:gd name="connsiteX56" fmla="*/ 131085 w 441214"/>
                  <a:gd name="connsiteY56" fmla="*/ 22381 h 578694"/>
                  <a:gd name="connsiteX57" fmla="*/ 121493 w 441214"/>
                  <a:gd name="connsiteY57" fmla="*/ 19184 h 578694"/>
                  <a:gd name="connsiteX58" fmla="*/ 38366 w 441214"/>
                  <a:gd name="connsiteY58" fmla="*/ 12789 h 578694"/>
                  <a:gd name="connsiteX59" fmla="*/ 12788 w 441214"/>
                  <a:gd name="connsiteY59" fmla="*/ 9592 h 578694"/>
                  <a:gd name="connsiteX60" fmla="*/ 3197 w 441214"/>
                  <a:gd name="connsiteY60" fmla="*/ 6395 h 578694"/>
                  <a:gd name="connsiteX61" fmla="*/ 0 w 441214"/>
                  <a:gd name="connsiteY61" fmla="*/ 0 h 578694"/>
                  <a:gd name="connsiteX0" fmla="*/ 425228 w 441214"/>
                  <a:gd name="connsiteY0" fmla="*/ 578694 h 578694"/>
                  <a:gd name="connsiteX1" fmla="*/ 399650 w 441214"/>
                  <a:gd name="connsiteY1" fmla="*/ 569102 h 578694"/>
                  <a:gd name="connsiteX2" fmla="*/ 364481 w 441214"/>
                  <a:gd name="connsiteY2" fmla="*/ 565905 h 578694"/>
                  <a:gd name="connsiteX3" fmla="*/ 361284 w 441214"/>
                  <a:gd name="connsiteY3" fmla="*/ 556314 h 578694"/>
                  <a:gd name="connsiteX4" fmla="*/ 364481 w 441214"/>
                  <a:gd name="connsiteY4" fmla="*/ 546722 h 578694"/>
                  <a:gd name="connsiteX5" fmla="*/ 383664 w 441214"/>
                  <a:gd name="connsiteY5" fmla="*/ 521144 h 578694"/>
                  <a:gd name="connsiteX6" fmla="*/ 396453 w 441214"/>
                  <a:gd name="connsiteY6" fmla="*/ 505158 h 578694"/>
                  <a:gd name="connsiteX7" fmla="*/ 412439 w 441214"/>
                  <a:gd name="connsiteY7" fmla="*/ 508356 h 578694"/>
                  <a:gd name="connsiteX8" fmla="*/ 422030 w 441214"/>
                  <a:gd name="connsiteY8" fmla="*/ 511553 h 578694"/>
                  <a:gd name="connsiteX9" fmla="*/ 438016 w 441214"/>
                  <a:gd name="connsiteY9" fmla="*/ 508356 h 578694"/>
                  <a:gd name="connsiteX10" fmla="*/ 441214 w 441214"/>
                  <a:gd name="connsiteY10" fmla="*/ 498764 h 578694"/>
                  <a:gd name="connsiteX11" fmla="*/ 434819 w 441214"/>
                  <a:gd name="connsiteY11" fmla="*/ 469989 h 578694"/>
                  <a:gd name="connsiteX12" fmla="*/ 428425 w 441214"/>
                  <a:gd name="connsiteY12" fmla="*/ 460398 h 578694"/>
                  <a:gd name="connsiteX13" fmla="*/ 409242 w 441214"/>
                  <a:gd name="connsiteY13" fmla="*/ 454003 h 578694"/>
                  <a:gd name="connsiteX14" fmla="*/ 399650 w 441214"/>
                  <a:gd name="connsiteY14" fmla="*/ 450806 h 578694"/>
                  <a:gd name="connsiteX15" fmla="*/ 393256 w 441214"/>
                  <a:gd name="connsiteY15" fmla="*/ 431623 h 578694"/>
                  <a:gd name="connsiteX16" fmla="*/ 390058 w 441214"/>
                  <a:gd name="connsiteY16" fmla="*/ 422031 h 578694"/>
                  <a:gd name="connsiteX17" fmla="*/ 380467 w 441214"/>
                  <a:gd name="connsiteY17" fmla="*/ 418834 h 578694"/>
                  <a:gd name="connsiteX18" fmla="*/ 374072 w 441214"/>
                  <a:gd name="connsiteY18" fmla="*/ 409242 h 578694"/>
                  <a:gd name="connsiteX19" fmla="*/ 354889 w 441214"/>
                  <a:gd name="connsiteY19" fmla="*/ 399651 h 578694"/>
                  <a:gd name="connsiteX20" fmla="*/ 335706 w 441214"/>
                  <a:gd name="connsiteY20" fmla="*/ 390059 h 578694"/>
                  <a:gd name="connsiteX21" fmla="*/ 316523 w 441214"/>
                  <a:gd name="connsiteY21" fmla="*/ 393256 h 578694"/>
                  <a:gd name="connsiteX22" fmla="*/ 297340 w 441214"/>
                  <a:gd name="connsiteY22" fmla="*/ 399651 h 578694"/>
                  <a:gd name="connsiteX23" fmla="*/ 287748 w 441214"/>
                  <a:gd name="connsiteY23" fmla="*/ 402848 h 578694"/>
                  <a:gd name="connsiteX24" fmla="*/ 281354 w 441214"/>
                  <a:gd name="connsiteY24" fmla="*/ 412439 h 578694"/>
                  <a:gd name="connsiteX25" fmla="*/ 268565 w 441214"/>
                  <a:gd name="connsiteY25" fmla="*/ 415637 h 578694"/>
                  <a:gd name="connsiteX26" fmla="*/ 258973 w 441214"/>
                  <a:gd name="connsiteY26" fmla="*/ 418834 h 578694"/>
                  <a:gd name="connsiteX27" fmla="*/ 217409 w 441214"/>
                  <a:gd name="connsiteY27" fmla="*/ 415637 h 578694"/>
                  <a:gd name="connsiteX28" fmla="*/ 207818 w 441214"/>
                  <a:gd name="connsiteY28" fmla="*/ 412439 h 578694"/>
                  <a:gd name="connsiteX29" fmla="*/ 182240 w 441214"/>
                  <a:gd name="connsiteY29" fmla="*/ 406045 h 578694"/>
                  <a:gd name="connsiteX30" fmla="*/ 156663 w 441214"/>
                  <a:gd name="connsiteY30" fmla="*/ 402848 h 578694"/>
                  <a:gd name="connsiteX31" fmla="*/ 121493 w 441214"/>
                  <a:gd name="connsiteY31" fmla="*/ 380467 h 578694"/>
                  <a:gd name="connsiteX32" fmla="*/ 111902 w 441214"/>
                  <a:gd name="connsiteY32" fmla="*/ 370876 h 578694"/>
                  <a:gd name="connsiteX33" fmla="*/ 115099 w 441214"/>
                  <a:gd name="connsiteY33" fmla="*/ 358087 h 578694"/>
                  <a:gd name="connsiteX34" fmla="*/ 124691 w 441214"/>
                  <a:gd name="connsiteY34" fmla="*/ 342101 h 578694"/>
                  <a:gd name="connsiteX35" fmla="*/ 134282 w 441214"/>
                  <a:gd name="connsiteY35" fmla="*/ 338904 h 578694"/>
                  <a:gd name="connsiteX36" fmla="*/ 153465 w 441214"/>
                  <a:gd name="connsiteY36" fmla="*/ 326115 h 578694"/>
                  <a:gd name="connsiteX37" fmla="*/ 145573 w 441214"/>
                  <a:gd name="connsiteY37" fmla="*/ 312577 h 578694"/>
                  <a:gd name="connsiteX38" fmla="*/ 169451 w 441214"/>
                  <a:gd name="connsiteY38" fmla="*/ 313326 h 578694"/>
                  <a:gd name="connsiteX39" fmla="*/ 175846 w 441214"/>
                  <a:gd name="connsiteY39" fmla="*/ 306932 h 578694"/>
                  <a:gd name="connsiteX40" fmla="*/ 159243 w 441214"/>
                  <a:gd name="connsiteY40" fmla="*/ 291012 h 578694"/>
                  <a:gd name="connsiteX41" fmla="*/ 198226 w 441214"/>
                  <a:gd name="connsiteY41" fmla="*/ 284551 h 578694"/>
                  <a:gd name="connsiteX42" fmla="*/ 201423 w 441214"/>
                  <a:gd name="connsiteY42" fmla="*/ 274960 h 578694"/>
                  <a:gd name="connsiteX43" fmla="*/ 195029 w 441214"/>
                  <a:gd name="connsiteY43" fmla="*/ 252579 h 578694"/>
                  <a:gd name="connsiteX44" fmla="*/ 179043 w 441214"/>
                  <a:gd name="connsiteY44" fmla="*/ 233396 h 578694"/>
                  <a:gd name="connsiteX45" fmla="*/ 166254 w 441214"/>
                  <a:gd name="connsiteY45" fmla="*/ 207819 h 578694"/>
                  <a:gd name="connsiteX46" fmla="*/ 156663 w 441214"/>
                  <a:gd name="connsiteY46" fmla="*/ 179044 h 578694"/>
                  <a:gd name="connsiteX47" fmla="*/ 153465 w 441214"/>
                  <a:gd name="connsiteY47" fmla="*/ 169452 h 578694"/>
                  <a:gd name="connsiteX48" fmla="*/ 156663 w 441214"/>
                  <a:gd name="connsiteY48" fmla="*/ 143874 h 578694"/>
                  <a:gd name="connsiteX49" fmla="*/ 166254 w 441214"/>
                  <a:gd name="connsiteY49" fmla="*/ 137480 h 578694"/>
                  <a:gd name="connsiteX50" fmla="*/ 172649 w 441214"/>
                  <a:gd name="connsiteY50" fmla="*/ 127888 h 578694"/>
                  <a:gd name="connsiteX51" fmla="*/ 179043 w 441214"/>
                  <a:gd name="connsiteY51" fmla="*/ 108705 h 578694"/>
                  <a:gd name="connsiteX52" fmla="*/ 172649 w 441214"/>
                  <a:gd name="connsiteY52" fmla="*/ 83128 h 578694"/>
                  <a:gd name="connsiteX53" fmla="*/ 159860 w 441214"/>
                  <a:gd name="connsiteY53" fmla="*/ 63944 h 578694"/>
                  <a:gd name="connsiteX54" fmla="*/ 150268 w 441214"/>
                  <a:gd name="connsiteY54" fmla="*/ 47958 h 578694"/>
                  <a:gd name="connsiteX55" fmla="*/ 147071 w 441214"/>
                  <a:gd name="connsiteY55" fmla="*/ 38367 h 578694"/>
                  <a:gd name="connsiteX56" fmla="*/ 131085 w 441214"/>
                  <a:gd name="connsiteY56" fmla="*/ 22381 h 578694"/>
                  <a:gd name="connsiteX57" fmla="*/ 121493 w 441214"/>
                  <a:gd name="connsiteY57" fmla="*/ 19184 h 578694"/>
                  <a:gd name="connsiteX58" fmla="*/ 38366 w 441214"/>
                  <a:gd name="connsiteY58" fmla="*/ 12789 h 578694"/>
                  <a:gd name="connsiteX59" fmla="*/ 12788 w 441214"/>
                  <a:gd name="connsiteY59" fmla="*/ 9592 h 578694"/>
                  <a:gd name="connsiteX60" fmla="*/ 3197 w 441214"/>
                  <a:gd name="connsiteY60" fmla="*/ 6395 h 578694"/>
                  <a:gd name="connsiteX61" fmla="*/ 0 w 441214"/>
                  <a:gd name="connsiteY61" fmla="*/ 0 h 578694"/>
                  <a:gd name="connsiteX0" fmla="*/ 425228 w 441214"/>
                  <a:gd name="connsiteY0" fmla="*/ 578694 h 578694"/>
                  <a:gd name="connsiteX1" fmla="*/ 399650 w 441214"/>
                  <a:gd name="connsiteY1" fmla="*/ 569102 h 578694"/>
                  <a:gd name="connsiteX2" fmla="*/ 364481 w 441214"/>
                  <a:gd name="connsiteY2" fmla="*/ 565905 h 578694"/>
                  <a:gd name="connsiteX3" fmla="*/ 361284 w 441214"/>
                  <a:gd name="connsiteY3" fmla="*/ 556314 h 578694"/>
                  <a:gd name="connsiteX4" fmla="*/ 364481 w 441214"/>
                  <a:gd name="connsiteY4" fmla="*/ 546722 h 578694"/>
                  <a:gd name="connsiteX5" fmla="*/ 383664 w 441214"/>
                  <a:gd name="connsiteY5" fmla="*/ 521144 h 578694"/>
                  <a:gd name="connsiteX6" fmla="*/ 396453 w 441214"/>
                  <a:gd name="connsiteY6" fmla="*/ 505158 h 578694"/>
                  <a:gd name="connsiteX7" fmla="*/ 412439 w 441214"/>
                  <a:gd name="connsiteY7" fmla="*/ 508356 h 578694"/>
                  <a:gd name="connsiteX8" fmla="*/ 422030 w 441214"/>
                  <a:gd name="connsiteY8" fmla="*/ 511553 h 578694"/>
                  <a:gd name="connsiteX9" fmla="*/ 438016 w 441214"/>
                  <a:gd name="connsiteY9" fmla="*/ 508356 h 578694"/>
                  <a:gd name="connsiteX10" fmla="*/ 441214 w 441214"/>
                  <a:gd name="connsiteY10" fmla="*/ 498764 h 578694"/>
                  <a:gd name="connsiteX11" fmla="*/ 434819 w 441214"/>
                  <a:gd name="connsiteY11" fmla="*/ 469989 h 578694"/>
                  <a:gd name="connsiteX12" fmla="*/ 428425 w 441214"/>
                  <a:gd name="connsiteY12" fmla="*/ 460398 h 578694"/>
                  <a:gd name="connsiteX13" fmla="*/ 409242 w 441214"/>
                  <a:gd name="connsiteY13" fmla="*/ 454003 h 578694"/>
                  <a:gd name="connsiteX14" fmla="*/ 399650 w 441214"/>
                  <a:gd name="connsiteY14" fmla="*/ 450806 h 578694"/>
                  <a:gd name="connsiteX15" fmla="*/ 393256 w 441214"/>
                  <a:gd name="connsiteY15" fmla="*/ 431623 h 578694"/>
                  <a:gd name="connsiteX16" fmla="*/ 390058 w 441214"/>
                  <a:gd name="connsiteY16" fmla="*/ 422031 h 578694"/>
                  <a:gd name="connsiteX17" fmla="*/ 380467 w 441214"/>
                  <a:gd name="connsiteY17" fmla="*/ 418834 h 578694"/>
                  <a:gd name="connsiteX18" fmla="*/ 374072 w 441214"/>
                  <a:gd name="connsiteY18" fmla="*/ 409242 h 578694"/>
                  <a:gd name="connsiteX19" fmla="*/ 354889 w 441214"/>
                  <a:gd name="connsiteY19" fmla="*/ 399651 h 578694"/>
                  <a:gd name="connsiteX20" fmla="*/ 335706 w 441214"/>
                  <a:gd name="connsiteY20" fmla="*/ 390059 h 578694"/>
                  <a:gd name="connsiteX21" fmla="*/ 316523 w 441214"/>
                  <a:gd name="connsiteY21" fmla="*/ 393256 h 578694"/>
                  <a:gd name="connsiteX22" fmla="*/ 297340 w 441214"/>
                  <a:gd name="connsiteY22" fmla="*/ 399651 h 578694"/>
                  <a:gd name="connsiteX23" fmla="*/ 287748 w 441214"/>
                  <a:gd name="connsiteY23" fmla="*/ 402848 h 578694"/>
                  <a:gd name="connsiteX24" fmla="*/ 281354 w 441214"/>
                  <a:gd name="connsiteY24" fmla="*/ 412439 h 578694"/>
                  <a:gd name="connsiteX25" fmla="*/ 268565 w 441214"/>
                  <a:gd name="connsiteY25" fmla="*/ 415637 h 578694"/>
                  <a:gd name="connsiteX26" fmla="*/ 258973 w 441214"/>
                  <a:gd name="connsiteY26" fmla="*/ 418834 h 578694"/>
                  <a:gd name="connsiteX27" fmla="*/ 217409 w 441214"/>
                  <a:gd name="connsiteY27" fmla="*/ 415637 h 578694"/>
                  <a:gd name="connsiteX28" fmla="*/ 207818 w 441214"/>
                  <a:gd name="connsiteY28" fmla="*/ 412439 h 578694"/>
                  <a:gd name="connsiteX29" fmla="*/ 182240 w 441214"/>
                  <a:gd name="connsiteY29" fmla="*/ 406045 h 578694"/>
                  <a:gd name="connsiteX30" fmla="*/ 156663 w 441214"/>
                  <a:gd name="connsiteY30" fmla="*/ 402848 h 578694"/>
                  <a:gd name="connsiteX31" fmla="*/ 121493 w 441214"/>
                  <a:gd name="connsiteY31" fmla="*/ 380467 h 578694"/>
                  <a:gd name="connsiteX32" fmla="*/ 111902 w 441214"/>
                  <a:gd name="connsiteY32" fmla="*/ 370876 h 578694"/>
                  <a:gd name="connsiteX33" fmla="*/ 115099 w 441214"/>
                  <a:gd name="connsiteY33" fmla="*/ 358087 h 578694"/>
                  <a:gd name="connsiteX34" fmla="*/ 124691 w 441214"/>
                  <a:gd name="connsiteY34" fmla="*/ 342101 h 578694"/>
                  <a:gd name="connsiteX35" fmla="*/ 134282 w 441214"/>
                  <a:gd name="connsiteY35" fmla="*/ 338904 h 578694"/>
                  <a:gd name="connsiteX36" fmla="*/ 153465 w 441214"/>
                  <a:gd name="connsiteY36" fmla="*/ 326115 h 578694"/>
                  <a:gd name="connsiteX37" fmla="*/ 145573 w 441214"/>
                  <a:gd name="connsiteY37" fmla="*/ 312577 h 578694"/>
                  <a:gd name="connsiteX38" fmla="*/ 169451 w 441214"/>
                  <a:gd name="connsiteY38" fmla="*/ 313326 h 578694"/>
                  <a:gd name="connsiteX39" fmla="*/ 175846 w 441214"/>
                  <a:gd name="connsiteY39" fmla="*/ 306932 h 578694"/>
                  <a:gd name="connsiteX40" fmla="*/ 159243 w 441214"/>
                  <a:gd name="connsiteY40" fmla="*/ 291012 h 578694"/>
                  <a:gd name="connsiteX41" fmla="*/ 193463 w 441214"/>
                  <a:gd name="connsiteY41" fmla="*/ 270264 h 578694"/>
                  <a:gd name="connsiteX42" fmla="*/ 201423 w 441214"/>
                  <a:gd name="connsiteY42" fmla="*/ 274960 h 578694"/>
                  <a:gd name="connsiteX43" fmla="*/ 195029 w 441214"/>
                  <a:gd name="connsiteY43" fmla="*/ 252579 h 578694"/>
                  <a:gd name="connsiteX44" fmla="*/ 179043 w 441214"/>
                  <a:gd name="connsiteY44" fmla="*/ 233396 h 578694"/>
                  <a:gd name="connsiteX45" fmla="*/ 166254 w 441214"/>
                  <a:gd name="connsiteY45" fmla="*/ 207819 h 578694"/>
                  <a:gd name="connsiteX46" fmla="*/ 156663 w 441214"/>
                  <a:gd name="connsiteY46" fmla="*/ 179044 h 578694"/>
                  <a:gd name="connsiteX47" fmla="*/ 153465 w 441214"/>
                  <a:gd name="connsiteY47" fmla="*/ 169452 h 578694"/>
                  <a:gd name="connsiteX48" fmla="*/ 156663 w 441214"/>
                  <a:gd name="connsiteY48" fmla="*/ 143874 h 578694"/>
                  <a:gd name="connsiteX49" fmla="*/ 166254 w 441214"/>
                  <a:gd name="connsiteY49" fmla="*/ 137480 h 578694"/>
                  <a:gd name="connsiteX50" fmla="*/ 172649 w 441214"/>
                  <a:gd name="connsiteY50" fmla="*/ 127888 h 578694"/>
                  <a:gd name="connsiteX51" fmla="*/ 179043 w 441214"/>
                  <a:gd name="connsiteY51" fmla="*/ 108705 h 578694"/>
                  <a:gd name="connsiteX52" fmla="*/ 172649 w 441214"/>
                  <a:gd name="connsiteY52" fmla="*/ 83128 h 578694"/>
                  <a:gd name="connsiteX53" fmla="*/ 159860 w 441214"/>
                  <a:gd name="connsiteY53" fmla="*/ 63944 h 578694"/>
                  <a:gd name="connsiteX54" fmla="*/ 150268 w 441214"/>
                  <a:gd name="connsiteY54" fmla="*/ 47958 h 578694"/>
                  <a:gd name="connsiteX55" fmla="*/ 147071 w 441214"/>
                  <a:gd name="connsiteY55" fmla="*/ 38367 h 578694"/>
                  <a:gd name="connsiteX56" fmla="*/ 131085 w 441214"/>
                  <a:gd name="connsiteY56" fmla="*/ 22381 h 578694"/>
                  <a:gd name="connsiteX57" fmla="*/ 121493 w 441214"/>
                  <a:gd name="connsiteY57" fmla="*/ 19184 h 578694"/>
                  <a:gd name="connsiteX58" fmla="*/ 38366 w 441214"/>
                  <a:gd name="connsiteY58" fmla="*/ 12789 h 578694"/>
                  <a:gd name="connsiteX59" fmla="*/ 12788 w 441214"/>
                  <a:gd name="connsiteY59" fmla="*/ 9592 h 578694"/>
                  <a:gd name="connsiteX60" fmla="*/ 3197 w 441214"/>
                  <a:gd name="connsiteY60" fmla="*/ 6395 h 578694"/>
                  <a:gd name="connsiteX61" fmla="*/ 0 w 441214"/>
                  <a:gd name="connsiteY61" fmla="*/ 0 h 578694"/>
                  <a:gd name="connsiteX0" fmla="*/ 425228 w 441214"/>
                  <a:gd name="connsiteY0" fmla="*/ 578694 h 578694"/>
                  <a:gd name="connsiteX1" fmla="*/ 399650 w 441214"/>
                  <a:gd name="connsiteY1" fmla="*/ 569102 h 578694"/>
                  <a:gd name="connsiteX2" fmla="*/ 364481 w 441214"/>
                  <a:gd name="connsiteY2" fmla="*/ 565905 h 578694"/>
                  <a:gd name="connsiteX3" fmla="*/ 361284 w 441214"/>
                  <a:gd name="connsiteY3" fmla="*/ 556314 h 578694"/>
                  <a:gd name="connsiteX4" fmla="*/ 364481 w 441214"/>
                  <a:gd name="connsiteY4" fmla="*/ 546722 h 578694"/>
                  <a:gd name="connsiteX5" fmla="*/ 383664 w 441214"/>
                  <a:gd name="connsiteY5" fmla="*/ 521144 h 578694"/>
                  <a:gd name="connsiteX6" fmla="*/ 396453 w 441214"/>
                  <a:gd name="connsiteY6" fmla="*/ 505158 h 578694"/>
                  <a:gd name="connsiteX7" fmla="*/ 412439 w 441214"/>
                  <a:gd name="connsiteY7" fmla="*/ 508356 h 578694"/>
                  <a:gd name="connsiteX8" fmla="*/ 422030 w 441214"/>
                  <a:gd name="connsiteY8" fmla="*/ 511553 h 578694"/>
                  <a:gd name="connsiteX9" fmla="*/ 438016 w 441214"/>
                  <a:gd name="connsiteY9" fmla="*/ 508356 h 578694"/>
                  <a:gd name="connsiteX10" fmla="*/ 441214 w 441214"/>
                  <a:gd name="connsiteY10" fmla="*/ 498764 h 578694"/>
                  <a:gd name="connsiteX11" fmla="*/ 434819 w 441214"/>
                  <a:gd name="connsiteY11" fmla="*/ 469989 h 578694"/>
                  <a:gd name="connsiteX12" fmla="*/ 428425 w 441214"/>
                  <a:gd name="connsiteY12" fmla="*/ 460398 h 578694"/>
                  <a:gd name="connsiteX13" fmla="*/ 409242 w 441214"/>
                  <a:gd name="connsiteY13" fmla="*/ 454003 h 578694"/>
                  <a:gd name="connsiteX14" fmla="*/ 399650 w 441214"/>
                  <a:gd name="connsiteY14" fmla="*/ 450806 h 578694"/>
                  <a:gd name="connsiteX15" fmla="*/ 393256 w 441214"/>
                  <a:gd name="connsiteY15" fmla="*/ 431623 h 578694"/>
                  <a:gd name="connsiteX16" fmla="*/ 390058 w 441214"/>
                  <a:gd name="connsiteY16" fmla="*/ 422031 h 578694"/>
                  <a:gd name="connsiteX17" fmla="*/ 380467 w 441214"/>
                  <a:gd name="connsiteY17" fmla="*/ 418834 h 578694"/>
                  <a:gd name="connsiteX18" fmla="*/ 374072 w 441214"/>
                  <a:gd name="connsiteY18" fmla="*/ 409242 h 578694"/>
                  <a:gd name="connsiteX19" fmla="*/ 354889 w 441214"/>
                  <a:gd name="connsiteY19" fmla="*/ 399651 h 578694"/>
                  <a:gd name="connsiteX20" fmla="*/ 335706 w 441214"/>
                  <a:gd name="connsiteY20" fmla="*/ 390059 h 578694"/>
                  <a:gd name="connsiteX21" fmla="*/ 316523 w 441214"/>
                  <a:gd name="connsiteY21" fmla="*/ 393256 h 578694"/>
                  <a:gd name="connsiteX22" fmla="*/ 297340 w 441214"/>
                  <a:gd name="connsiteY22" fmla="*/ 399651 h 578694"/>
                  <a:gd name="connsiteX23" fmla="*/ 287748 w 441214"/>
                  <a:gd name="connsiteY23" fmla="*/ 402848 h 578694"/>
                  <a:gd name="connsiteX24" fmla="*/ 281354 w 441214"/>
                  <a:gd name="connsiteY24" fmla="*/ 412439 h 578694"/>
                  <a:gd name="connsiteX25" fmla="*/ 268565 w 441214"/>
                  <a:gd name="connsiteY25" fmla="*/ 415637 h 578694"/>
                  <a:gd name="connsiteX26" fmla="*/ 258973 w 441214"/>
                  <a:gd name="connsiteY26" fmla="*/ 418834 h 578694"/>
                  <a:gd name="connsiteX27" fmla="*/ 217409 w 441214"/>
                  <a:gd name="connsiteY27" fmla="*/ 415637 h 578694"/>
                  <a:gd name="connsiteX28" fmla="*/ 207818 w 441214"/>
                  <a:gd name="connsiteY28" fmla="*/ 412439 h 578694"/>
                  <a:gd name="connsiteX29" fmla="*/ 182240 w 441214"/>
                  <a:gd name="connsiteY29" fmla="*/ 406045 h 578694"/>
                  <a:gd name="connsiteX30" fmla="*/ 156663 w 441214"/>
                  <a:gd name="connsiteY30" fmla="*/ 402848 h 578694"/>
                  <a:gd name="connsiteX31" fmla="*/ 121493 w 441214"/>
                  <a:gd name="connsiteY31" fmla="*/ 380467 h 578694"/>
                  <a:gd name="connsiteX32" fmla="*/ 111902 w 441214"/>
                  <a:gd name="connsiteY32" fmla="*/ 370876 h 578694"/>
                  <a:gd name="connsiteX33" fmla="*/ 115099 w 441214"/>
                  <a:gd name="connsiteY33" fmla="*/ 358087 h 578694"/>
                  <a:gd name="connsiteX34" fmla="*/ 124691 w 441214"/>
                  <a:gd name="connsiteY34" fmla="*/ 342101 h 578694"/>
                  <a:gd name="connsiteX35" fmla="*/ 134282 w 441214"/>
                  <a:gd name="connsiteY35" fmla="*/ 338904 h 578694"/>
                  <a:gd name="connsiteX36" fmla="*/ 153465 w 441214"/>
                  <a:gd name="connsiteY36" fmla="*/ 326115 h 578694"/>
                  <a:gd name="connsiteX37" fmla="*/ 145573 w 441214"/>
                  <a:gd name="connsiteY37" fmla="*/ 312577 h 578694"/>
                  <a:gd name="connsiteX38" fmla="*/ 169451 w 441214"/>
                  <a:gd name="connsiteY38" fmla="*/ 313326 h 578694"/>
                  <a:gd name="connsiteX39" fmla="*/ 175846 w 441214"/>
                  <a:gd name="connsiteY39" fmla="*/ 306932 h 578694"/>
                  <a:gd name="connsiteX40" fmla="*/ 159243 w 441214"/>
                  <a:gd name="connsiteY40" fmla="*/ 291012 h 578694"/>
                  <a:gd name="connsiteX41" fmla="*/ 193463 w 441214"/>
                  <a:gd name="connsiteY41" fmla="*/ 270264 h 578694"/>
                  <a:gd name="connsiteX42" fmla="*/ 191898 w 441214"/>
                  <a:gd name="connsiteY42" fmla="*/ 260673 h 578694"/>
                  <a:gd name="connsiteX43" fmla="*/ 195029 w 441214"/>
                  <a:gd name="connsiteY43" fmla="*/ 252579 h 578694"/>
                  <a:gd name="connsiteX44" fmla="*/ 179043 w 441214"/>
                  <a:gd name="connsiteY44" fmla="*/ 233396 h 578694"/>
                  <a:gd name="connsiteX45" fmla="*/ 166254 w 441214"/>
                  <a:gd name="connsiteY45" fmla="*/ 207819 h 578694"/>
                  <a:gd name="connsiteX46" fmla="*/ 156663 w 441214"/>
                  <a:gd name="connsiteY46" fmla="*/ 179044 h 578694"/>
                  <a:gd name="connsiteX47" fmla="*/ 153465 w 441214"/>
                  <a:gd name="connsiteY47" fmla="*/ 169452 h 578694"/>
                  <a:gd name="connsiteX48" fmla="*/ 156663 w 441214"/>
                  <a:gd name="connsiteY48" fmla="*/ 143874 h 578694"/>
                  <a:gd name="connsiteX49" fmla="*/ 166254 w 441214"/>
                  <a:gd name="connsiteY49" fmla="*/ 137480 h 578694"/>
                  <a:gd name="connsiteX50" fmla="*/ 172649 w 441214"/>
                  <a:gd name="connsiteY50" fmla="*/ 127888 h 578694"/>
                  <a:gd name="connsiteX51" fmla="*/ 179043 w 441214"/>
                  <a:gd name="connsiteY51" fmla="*/ 108705 h 578694"/>
                  <a:gd name="connsiteX52" fmla="*/ 172649 w 441214"/>
                  <a:gd name="connsiteY52" fmla="*/ 83128 h 578694"/>
                  <a:gd name="connsiteX53" fmla="*/ 159860 w 441214"/>
                  <a:gd name="connsiteY53" fmla="*/ 63944 h 578694"/>
                  <a:gd name="connsiteX54" fmla="*/ 150268 w 441214"/>
                  <a:gd name="connsiteY54" fmla="*/ 47958 h 578694"/>
                  <a:gd name="connsiteX55" fmla="*/ 147071 w 441214"/>
                  <a:gd name="connsiteY55" fmla="*/ 38367 h 578694"/>
                  <a:gd name="connsiteX56" fmla="*/ 131085 w 441214"/>
                  <a:gd name="connsiteY56" fmla="*/ 22381 h 578694"/>
                  <a:gd name="connsiteX57" fmla="*/ 121493 w 441214"/>
                  <a:gd name="connsiteY57" fmla="*/ 19184 h 578694"/>
                  <a:gd name="connsiteX58" fmla="*/ 38366 w 441214"/>
                  <a:gd name="connsiteY58" fmla="*/ 12789 h 578694"/>
                  <a:gd name="connsiteX59" fmla="*/ 12788 w 441214"/>
                  <a:gd name="connsiteY59" fmla="*/ 9592 h 578694"/>
                  <a:gd name="connsiteX60" fmla="*/ 3197 w 441214"/>
                  <a:gd name="connsiteY60" fmla="*/ 6395 h 578694"/>
                  <a:gd name="connsiteX61" fmla="*/ 0 w 441214"/>
                  <a:gd name="connsiteY61" fmla="*/ 0 h 57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441214" h="578694">
                    <a:moveTo>
                      <a:pt x="425228" y="578694"/>
                    </a:moveTo>
                    <a:cubicBezTo>
                      <a:pt x="425087" y="578638"/>
                      <a:pt x="403543" y="569658"/>
                      <a:pt x="399650" y="569102"/>
                    </a:cubicBezTo>
                    <a:cubicBezTo>
                      <a:pt x="387997" y="567437"/>
                      <a:pt x="376204" y="566971"/>
                      <a:pt x="364481" y="565905"/>
                    </a:cubicBezTo>
                    <a:cubicBezTo>
                      <a:pt x="363415" y="562708"/>
                      <a:pt x="361284" y="559684"/>
                      <a:pt x="361284" y="556314"/>
                    </a:cubicBezTo>
                    <a:cubicBezTo>
                      <a:pt x="361284" y="552944"/>
                      <a:pt x="362844" y="549668"/>
                      <a:pt x="364481" y="546722"/>
                    </a:cubicBezTo>
                    <a:cubicBezTo>
                      <a:pt x="384756" y="510227"/>
                      <a:pt x="369556" y="538780"/>
                      <a:pt x="383664" y="521144"/>
                    </a:cubicBezTo>
                    <a:cubicBezTo>
                      <a:pt x="399791" y="500984"/>
                      <a:pt x="381016" y="520595"/>
                      <a:pt x="396453" y="505158"/>
                    </a:cubicBezTo>
                    <a:cubicBezTo>
                      <a:pt x="401782" y="506224"/>
                      <a:pt x="407167" y="507038"/>
                      <a:pt x="412439" y="508356"/>
                    </a:cubicBezTo>
                    <a:cubicBezTo>
                      <a:pt x="415708" y="509173"/>
                      <a:pt x="418660" y="511553"/>
                      <a:pt x="422030" y="511553"/>
                    </a:cubicBezTo>
                    <a:cubicBezTo>
                      <a:pt x="427464" y="511553"/>
                      <a:pt x="432687" y="509422"/>
                      <a:pt x="438016" y="508356"/>
                    </a:cubicBezTo>
                    <a:cubicBezTo>
                      <a:pt x="439082" y="505159"/>
                      <a:pt x="441214" y="502134"/>
                      <a:pt x="441214" y="498764"/>
                    </a:cubicBezTo>
                    <a:cubicBezTo>
                      <a:pt x="441214" y="493856"/>
                      <a:pt x="438115" y="476581"/>
                      <a:pt x="434819" y="469989"/>
                    </a:cubicBezTo>
                    <a:cubicBezTo>
                      <a:pt x="433101" y="466552"/>
                      <a:pt x="431683" y="462434"/>
                      <a:pt x="428425" y="460398"/>
                    </a:cubicBezTo>
                    <a:cubicBezTo>
                      <a:pt x="422709" y="456826"/>
                      <a:pt x="415636" y="456135"/>
                      <a:pt x="409242" y="454003"/>
                    </a:cubicBezTo>
                    <a:lnTo>
                      <a:pt x="399650" y="450806"/>
                    </a:lnTo>
                    <a:lnTo>
                      <a:pt x="393256" y="431623"/>
                    </a:lnTo>
                    <a:cubicBezTo>
                      <a:pt x="392190" y="428426"/>
                      <a:pt x="393255" y="423097"/>
                      <a:pt x="390058" y="422031"/>
                    </a:cubicBezTo>
                    <a:lnTo>
                      <a:pt x="380467" y="418834"/>
                    </a:lnTo>
                    <a:cubicBezTo>
                      <a:pt x="378335" y="415637"/>
                      <a:pt x="376789" y="411959"/>
                      <a:pt x="374072" y="409242"/>
                    </a:cubicBezTo>
                    <a:cubicBezTo>
                      <a:pt x="367874" y="403044"/>
                      <a:pt x="362690" y="402251"/>
                      <a:pt x="354889" y="399651"/>
                    </a:cubicBezTo>
                    <a:cubicBezTo>
                      <a:pt x="350038" y="396417"/>
                      <a:pt x="342326" y="390059"/>
                      <a:pt x="335706" y="390059"/>
                    </a:cubicBezTo>
                    <a:cubicBezTo>
                      <a:pt x="329223" y="390059"/>
                      <a:pt x="322812" y="391684"/>
                      <a:pt x="316523" y="393256"/>
                    </a:cubicBezTo>
                    <a:cubicBezTo>
                      <a:pt x="309984" y="394891"/>
                      <a:pt x="303734" y="397519"/>
                      <a:pt x="297340" y="399651"/>
                    </a:cubicBezTo>
                    <a:lnTo>
                      <a:pt x="287748" y="402848"/>
                    </a:lnTo>
                    <a:cubicBezTo>
                      <a:pt x="285617" y="406045"/>
                      <a:pt x="284551" y="410308"/>
                      <a:pt x="281354" y="412439"/>
                    </a:cubicBezTo>
                    <a:cubicBezTo>
                      <a:pt x="277698" y="414877"/>
                      <a:pt x="272790" y="414430"/>
                      <a:pt x="268565" y="415637"/>
                    </a:cubicBezTo>
                    <a:cubicBezTo>
                      <a:pt x="265324" y="416563"/>
                      <a:pt x="262170" y="417768"/>
                      <a:pt x="258973" y="418834"/>
                    </a:cubicBezTo>
                    <a:cubicBezTo>
                      <a:pt x="245118" y="417768"/>
                      <a:pt x="231197" y="417361"/>
                      <a:pt x="217409" y="415637"/>
                    </a:cubicBezTo>
                    <a:cubicBezTo>
                      <a:pt x="214065" y="415219"/>
                      <a:pt x="211069" y="413326"/>
                      <a:pt x="207818" y="412439"/>
                    </a:cubicBezTo>
                    <a:cubicBezTo>
                      <a:pt x="199339" y="410127"/>
                      <a:pt x="190960" y="407135"/>
                      <a:pt x="182240" y="406045"/>
                    </a:cubicBezTo>
                    <a:lnTo>
                      <a:pt x="156663" y="402848"/>
                    </a:lnTo>
                    <a:cubicBezTo>
                      <a:pt x="130330" y="394070"/>
                      <a:pt x="142245" y="401219"/>
                      <a:pt x="121493" y="380467"/>
                    </a:cubicBezTo>
                    <a:lnTo>
                      <a:pt x="111902" y="370876"/>
                    </a:lnTo>
                    <a:cubicBezTo>
                      <a:pt x="112968" y="366613"/>
                      <a:pt x="113892" y="362312"/>
                      <a:pt x="115099" y="358087"/>
                    </a:cubicBezTo>
                    <a:cubicBezTo>
                      <a:pt x="117181" y="350801"/>
                      <a:pt x="117763" y="346258"/>
                      <a:pt x="124691" y="342101"/>
                    </a:cubicBezTo>
                    <a:cubicBezTo>
                      <a:pt x="127581" y="340367"/>
                      <a:pt x="131085" y="339970"/>
                      <a:pt x="134282" y="338904"/>
                    </a:cubicBezTo>
                    <a:cubicBezTo>
                      <a:pt x="140676" y="334641"/>
                      <a:pt x="151583" y="330503"/>
                      <a:pt x="153465" y="326115"/>
                    </a:cubicBezTo>
                    <a:cubicBezTo>
                      <a:pt x="155347" y="321727"/>
                      <a:pt x="143219" y="314460"/>
                      <a:pt x="145573" y="312577"/>
                    </a:cubicBezTo>
                    <a:cubicBezTo>
                      <a:pt x="148573" y="310177"/>
                      <a:pt x="164406" y="314267"/>
                      <a:pt x="169451" y="313326"/>
                    </a:cubicBezTo>
                    <a:cubicBezTo>
                      <a:pt x="174496" y="312385"/>
                      <a:pt x="177547" y="310651"/>
                      <a:pt x="175846" y="306932"/>
                    </a:cubicBezTo>
                    <a:cubicBezTo>
                      <a:pt x="174145" y="303213"/>
                      <a:pt x="156307" y="297123"/>
                      <a:pt x="159243" y="291012"/>
                    </a:cubicBezTo>
                    <a:cubicBezTo>
                      <a:pt x="162179" y="284901"/>
                      <a:pt x="188021" y="275320"/>
                      <a:pt x="193463" y="270264"/>
                    </a:cubicBezTo>
                    <a:cubicBezTo>
                      <a:pt x="198905" y="265208"/>
                      <a:pt x="190832" y="263870"/>
                      <a:pt x="191898" y="260673"/>
                    </a:cubicBezTo>
                    <a:cubicBezTo>
                      <a:pt x="191472" y="258968"/>
                      <a:pt x="197172" y="257125"/>
                      <a:pt x="195029" y="252579"/>
                    </a:cubicBezTo>
                    <a:cubicBezTo>
                      <a:pt x="192887" y="248033"/>
                      <a:pt x="186018" y="249092"/>
                      <a:pt x="179043" y="233396"/>
                    </a:cubicBezTo>
                    <a:cubicBezTo>
                      <a:pt x="167289" y="206947"/>
                      <a:pt x="179386" y="220949"/>
                      <a:pt x="166254" y="207819"/>
                    </a:cubicBezTo>
                    <a:lnTo>
                      <a:pt x="156663" y="179044"/>
                    </a:lnTo>
                    <a:lnTo>
                      <a:pt x="153465" y="169452"/>
                    </a:lnTo>
                    <a:cubicBezTo>
                      <a:pt x="154531" y="160926"/>
                      <a:pt x="153472" y="151852"/>
                      <a:pt x="156663" y="143874"/>
                    </a:cubicBezTo>
                    <a:cubicBezTo>
                      <a:pt x="158090" y="140307"/>
                      <a:pt x="163537" y="140197"/>
                      <a:pt x="166254" y="137480"/>
                    </a:cubicBezTo>
                    <a:cubicBezTo>
                      <a:pt x="168971" y="134763"/>
                      <a:pt x="170517" y="131085"/>
                      <a:pt x="172649" y="127888"/>
                    </a:cubicBezTo>
                    <a:cubicBezTo>
                      <a:pt x="174780" y="121494"/>
                      <a:pt x="180365" y="115314"/>
                      <a:pt x="179043" y="108705"/>
                    </a:cubicBezTo>
                    <a:cubicBezTo>
                      <a:pt x="178157" y="104276"/>
                      <a:pt x="175721" y="88658"/>
                      <a:pt x="172649" y="83128"/>
                    </a:cubicBezTo>
                    <a:cubicBezTo>
                      <a:pt x="168917" y="76410"/>
                      <a:pt x="162290" y="71235"/>
                      <a:pt x="159860" y="63944"/>
                    </a:cubicBezTo>
                    <a:cubicBezTo>
                      <a:pt x="155710" y="51493"/>
                      <a:pt x="159046" y="56736"/>
                      <a:pt x="150268" y="47958"/>
                    </a:cubicBezTo>
                    <a:cubicBezTo>
                      <a:pt x="149202" y="44761"/>
                      <a:pt x="149093" y="41063"/>
                      <a:pt x="147071" y="38367"/>
                    </a:cubicBezTo>
                    <a:cubicBezTo>
                      <a:pt x="142549" y="32338"/>
                      <a:pt x="138234" y="24764"/>
                      <a:pt x="131085" y="22381"/>
                    </a:cubicBezTo>
                    <a:cubicBezTo>
                      <a:pt x="127888" y="21315"/>
                      <a:pt x="124763" y="20001"/>
                      <a:pt x="121493" y="19184"/>
                    </a:cubicBezTo>
                    <a:cubicBezTo>
                      <a:pt x="92907" y="12037"/>
                      <a:pt x="72299" y="14405"/>
                      <a:pt x="38366" y="12789"/>
                    </a:cubicBezTo>
                    <a:cubicBezTo>
                      <a:pt x="29840" y="11723"/>
                      <a:pt x="21242" y="11129"/>
                      <a:pt x="12788" y="9592"/>
                    </a:cubicBezTo>
                    <a:cubicBezTo>
                      <a:pt x="9472" y="8989"/>
                      <a:pt x="5893" y="8417"/>
                      <a:pt x="3197" y="6395"/>
                    </a:cubicBezTo>
                    <a:cubicBezTo>
                      <a:pt x="1291" y="4965"/>
                      <a:pt x="1066" y="2132"/>
                      <a:pt x="0" y="0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8" name="Freeform 48267"/>
              <p:cNvSpPr/>
              <p:nvPr/>
            </p:nvSpPr>
            <p:spPr>
              <a:xfrm>
                <a:off x="1980933" y="2260422"/>
                <a:ext cx="428070" cy="1301328"/>
              </a:xfrm>
              <a:custGeom>
                <a:avLst/>
                <a:gdLst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9382 w 463594"/>
                  <a:gd name="connsiteY99" fmla="*/ 933584 h 1301328"/>
                  <a:gd name="connsiteX100" fmla="*/ 265368 w 463594"/>
                  <a:gd name="connsiteY100" fmla="*/ 920795 h 1301328"/>
                  <a:gd name="connsiteX101" fmla="*/ 284551 w 463594"/>
                  <a:gd name="connsiteY101" fmla="*/ 914400 h 1301328"/>
                  <a:gd name="connsiteX102" fmla="*/ 294143 w 463594"/>
                  <a:gd name="connsiteY102" fmla="*/ 911203 h 1301328"/>
                  <a:gd name="connsiteX103" fmla="*/ 316523 w 463594"/>
                  <a:gd name="connsiteY103" fmla="*/ 908006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9382 w 463594"/>
                  <a:gd name="connsiteY99" fmla="*/ 933584 h 1301328"/>
                  <a:gd name="connsiteX100" fmla="*/ 262986 w 463594"/>
                  <a:gd name="connsiteY100" fmla="*/ 904126 h 1301328"/>
                  <a:gd name="connsiteX101" fmla="*/ 284551 w 463594"/>
                  <a:gd name="connsiteY101" fmla="*/ 914400 h 1301328"/>
                  <a:gd name="connsiteX102" fmla="*/ 294143 w 463594"/>
                  <a:gd name="connsiteY102" fmla="*/ 911203 h 1301328"/>
                  <a:gd name="connsiteX103" fmla="*/ 316523 w 463594"/>
                  <a:gd name="connsiteY103" fmla="*/ 908006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9382 w 463594"/>
                  <a:gd name="connsiteY99" fmla="*/ 933584 h 1301328"/>
                  <a:gd name="connsiteX100" fmla="*/ 262986 w 463594"/>
                  <a:gd name="connsiteY100" fmla="*/ 904126 h 1301328"/>
                  <a:gd name="connsiteX101" fmla="*/ 284551 w 463594"/>
                  <a:gd name="connsiteY101" fmla="*/ 914400 h 1301328"/>
                  <a:gd name="connsiteX102" fmla="*/ 289380 w 463594"/>
                  <a:gd name="connsiteY102" fmla="*/ 899297 h 1301328"/>
                  <a:gd name="connsiteX103" fmla="*/ 316523 w 463594"/>
                  <a:gd name="connsiteY103" fmla="*/ 908006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9382 w 463594"/>
                  <a:gd name="connsiteY99" fmla="*/ 933584 h 1301328"/>
                  <a:gd name="connsiteX100" fmla="*/ 262986 w 463594"/>
                  <a:gd name="connsiteY100" fmla="*/ 904126 h 1301328"/>
                  <a:gd name="connsiteX101" fmla="*/ 284551 w 463594"/>
                  <a:gd name="connsiteY101" fmla="*/ 914400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9382 w 463594"/>
                  <a:gd name="connsiteY99" fmla="*/ 933584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07818 w 463594"/>
                  <a:gd name="connsiteY98" fmla="*/ 939978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47071 w 463594"/>
                  <a:gd name="connsiteY59" fmla="*/ 316523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34283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5099 w 463594"/>
                  <a:gd name="connsiteY53" fmla="*/ 207819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5508 w 463594"/>
                  <a:gd name="connsiteY52" fmla="*/ 204621 h 1301328"/>
                  <a:gd name="connsiteX53" fmla="*/ 119862 w 463594"/>
                  <a:gd name="connsiteY53" fmla="*/ 195913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89522 w 463594"/>
                  <a:gd name="connsiteY50" fmla="*/ 191833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27888 w 463594"/>
                  <a:gd name="connsiteY54" fmla="*/ 223805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89522 w 463594"/>
                  <a:gd name="connsiteY94" fmla="*/ 930386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54353 w 463594"/>
                  <a:gd name="connsiteY93" fmla="*/ 927189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59860 w 463594"/>
                  <a:gd name="connsiteY61" fmla="*/ 441214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63878 w 463594"/>
                  <a:gd name="connsiteY93" fmla="*/ 920045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47071 w 463594"/>
                  <a:gd name="connsiteY60" fmla="*/ 422031 h 1301328"/>
                  <a:gd name="connsiteX61" fmla="*/ 172386 w 463594"/>
                  <a:gd name="connsiteY61" fmla="*/ 425557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63878 w 463594"/>
                  <a:gd name="connsiteY93" fmla="*/ 920045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68991 w 463594"/>
                  <a:gd name="connsiteY60" fmla="*/ 403242 h 1301328"/>
                  <a:gd name="connsiteX61" fmla="*/ 172386 w 463594"/>
                  <a:gd name="connsiteY61" fmla="*/ 425557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63878 w 463594"/>
                  <a:gd name="connsiteY93" fmla="*/ 920045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63057 w 463594"/>
                  <a:gd name="connsiteY126" fmla="*/ 1115824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68991 w 463594"/>
                  <a:gd name="connsiteY60" fmla="*/ 403242 h 1301328"/>
                  <a:gd name="connsiteX61" fmla="*/ 172386 w 463594"/>
                  <a:gd name="connsiteY61" fmla="*/ 425557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63878 w 463594"/>
                  <a:gd name="connsiteY93" fmla="*/ 920045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75583 w 463594"/>
                  <a:gd name="connsiteY126" fmla="*/ 1131481 h 1301328"/>
                  <a:gd name="connsiteX127" fmla="*/ 140677 w 463594"/>
                  <a:gd name="connsiteY127" fmla="*/ 1138205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  <a:gd name="connsiteX0" fmla="*/ 463594 w 463594"/>
                  <a:gd name="connsiteY0" fmla="*/ 35170 h 1301328"/>
                  <a:gd name="connsiteX1" fmla="*/ 447608 w 463594"/>
                  <a:gd name="connsiteY1" fmla="*/ 44761 h 1301328"/>
                  <a:gd name="connsiteX2" fmla="*/ 444411 w 463594"/>
                  <a:gd name="connsiteY2" fmla="*/ 54353 h 1301328"/>
                  <a:gd name="connsiteX3" fmla="*/ 434820 w 463594"/>
                  <a:gd name="connsiteY3" fmla="*/ 60747 h 1301328"/>
                  <a:gd name="connsiteX4" fmla="*/ 425228 w 463594"/>
                  <a:gd name="connsiteY4" fmla="*/ 57550 h 1301328"/>
                  <a:gd name="connsiteX5" fmla="*/ 412439 w 463594"/>
                  <a:gd name="connsiteY5" fmla="*/ 79930 h 1301328"/>
                  <a:gd name="connsiteX6" fmla="*/ 402848 w 463594"/>
                  <a:gd name="connsiteY6" fmla="*/ 83128 h 1301328"/>
                  <a:gd name="connsiteX7" fmla="*/ 386862 w 463594"/>
                  <a:gd name="connsiteY7" fmla="*/ 92719 h 1301328"/>
                  <a:gd name="connsiteX8" fmla="*/ 380467 w 463594"/>
                  <a:gd name="connsiteY8" fmla="*/ 99114 h 1301328"/>
                  <a:gd name="connsiteX9" fmla="*/ 370876 w 463594"/>
                  <a:gd name="connsiteY9" fmla="*/ 105508 h 1301328"/>
                  <a:gd name="connsiteX10" fmla="*/ 364481 w 463594"/>
                  <a:gd name="connsiteY10" fmla="*/ 115100 h 1301328"/>
                  <a:gd name="connsiteX11" fmla="*/ 370876 w 463594"/>
                  <a:gd name="connsiteY11" fmla="*/ 95916 h 1301328"/>
                  <a:gd name="connsiteX12" fmla="*/ 374073 w 463594"/>
                  <a:gd name="connsiteY12" fmla="*/ 86325 h 1301328"/>
                  <a:gd name="connsiteX13" fmla="*/ 377270 w 463594"/>
                  <a:gd name="connsiteY13" fmla="*/ 76733 h 1301328"/>
                  <a:gd name="connsiteX14" fmla="*/ 380467 w 463594"/>
                  <a:gd name="connsiteY14" fmla="*/ 67142 h 1301328"/>
                  <a:gd name="connsiteX15" fmla="*/ 377270 w 463594"/>
                  <a:gd name="connsiteY15" fmla="*/ 47958 h 1301328"/>
                  <a:gd name="connsiteX16" fmla="*/ 367678 w 463594"/>
                  <a:gd name="connsiteY16" fmla="*/ 41564 h 1301328"/>
                  <a:gd name="connsiteX17" fmla="*/ 351692 w 463594"/>
                  <a:gd name="connsiteY17" fmla="*/ 25578 h 1301328"/>
                  <a:gd name="connsiteX18" fmla="*/ 345298 w 463594"/>
                  <a:gd name="connsiteY18" fmla="*/ 15986 h 1301328"/>
                  <a:gd name="connsiteX19" fmla="*/ 316523 w 463594"/>
                  <a:gd name="connsiteY19" fmla="*/ 0 h 1301328"/>
                  <a:gd name="connsiteX20" fmla="*/ 297340 w 463594"/>
                  <a:gd name="connsiteY20" fmla="*/ 6395 h 1301328"/>
                  <a:gd name="connsiteX21" fmla="*/ 287748 w 463594"/>
                  <a:gd name="connsiteY21" fmla="*/ 9592 h 1301328"/>
                  <a:gd name="connsiteX22" fmla="*/ 278157 w 463594"/>
                  <a:gd name="connsiteY22" fmla="*/ 15986 h 1301328"/>
                  <a:gd name="connsiteX23" fmla="*/ 268565 w 463594"/>
                  <a:gd name="connsiteY23" fmla="*/ 19184 h 1301328"/>
                  <a:gd name="connsiteX24" fmla="*/ 258974 w 463594"/>
                  <a:gd name="connsiteY24" fmla="*/ 28775 h 1301328"/>
                  <a:gd name="connsiteX25" fmla="*/ 242987 w 463594"/>
                  <a:gd name="connsiteY25" fmla="*/ 41564 h 1301328"/>
                  <a:gd name="connsiteX26" fmla="*/ 236593 w 463594"/>
                  <a:gd name="connsiteY26" fmla="*/ 105508 h 1301328"/>
                  <a:gd name="connsiteX27" fmla="*/ 227001 w 463594"/>
                  <a:gd name="connsiteY27" fmla="*/ 127888 h 1301328"/>
                  <a:gd name="connsiteX28" fmla="*/ 223804 w 463594"/>
                  <a:gd name="connsiteY28" fmla="*/ 137480 h 1301328"/>
                  <a:gd name="connsiteX29" fmla="*/ 211015 w 463594"/>
                  <a:gd name="connsiteY29" fmla="*/ 150269 h 1301328"/>
                  <a:gd name="connsiteX30" fmla="*/ 195029 w 463594"/>
                  <a:gd name="connsiteY30" fmla="*/ 166255 h 1301328"/>
                  <a:gd name="connsiteX31" fmla="*/ 185438 w 463594"/>
                  <a:gd name="connsiteY31" fmla="*/ 163058 h 1301328"/>
                  <a:gd name="connsiteX32" fmla="*/ 175846 w 463594"/>
                  <a:gd name="connsiteY32" fmla="*/ 147072 h 1301328"/>
                  <a:gd name="connsiteX33" fmla="*/ 156663 w 463594"/>
                  <a:gd name="connsiteY33" fmla="*/ 140677 h 1301328"/>
                  <a:gd name="connsiteX34" fmla="*/ 134283 w 463594"/>
                  <a:gd name="connsiteY34" fmla="*/ 147072 h 1301328"/>
                  <a:gd name="connsiteX35" fmla="*/ 127888 w 463594"/>
                  <a:gd name="connsiteY35" fmla="*/ 153466 h 1301328"/>
                  <a:gd name="connsiteX36" fmla="*/ 102311 w 463594"/>
                  <a:gd name="connsiteY36" fmla="*/ 143875 h 1301328"/>
                  <a:gd name="connsiteX37" fmla="*/ 99113 w 463594"/>
                  <a:gd name="connsiteY37" fmla="*/ 134283 h 1301328"/>
                  <a:gd name="connsiteX38" fmla="*/ 92719 w 463594"/>
                  <a:gd name="connsiteY38" fmla="*/ 127888 h 1301328"/>
                  <a:gd name="connsiteX39" fmla="*/ 86325 w 463594"/>
                  <a:gd name="connsiteY39" fmla="*/ 108705 h 1301328"/>
                  <a:gd name="connsiteX40" fmla="*/ 73536 w 463594"/>
                  <a:gd name="connsiteY40" fmla="*/ 92719 h 1301328"/>
                  <a:gd name="connsiteX41" fmla="*/ 63944 w 463594"/>
                  <a:gd name="connsiteY41" fmla="*/ 89522 h 1301328"/>
                  <a:gd name="connsiteX42" fmla="*/ 51155 w 463594"/>
                  <a:gd name="connsiteY42" fmla="*/ 86325 h 1301328"/>
                  <a:gd name="connsiteX43" fmla="*/ 28775 w 463594"/>
                  <a:gd name="connsiteY43" fmla="*/ 92719 h 1301328"/>
                  <a:gd name="connsiteX44" fmla="*/ 15986 w 463594"/>
                  <a:gd name="connsiteY44" fmla="*/ 108705 h 1301328"/>
                  <a:gd name="connsiteX45" fmla="*/ 31972 w 463594"/>
                  <a:gd name="connsiteY45" fmla="*/ 134283 h 1301328"/>
                  <a:gd name="connsiteX46" fmla="*/ 38367 w 463594"/>
                  <a:gd name="connsiteY46" fmla="*/ 140677 h 1301328"/>
                  <a:gd name="connsiteX47" fmla="*/ 47958 w 463594"/>
                  <a:gd name="connsiteY47" fmla="*/ 159861 h 1301328"/>
                  <a:gd name="connsiteX48" fmla="*/ 54353 w 463594"/>
                  <a:gd name="connsiteY48" fmla="*/ 166255 h 1301328"/>
                  <a:gd name="connsiteX49" fmla="*/ 60747 w 463594"/>
                  <a:gd name="connsiteY49" fmla="*/ 175847 h 1301328"/>
                  <a:gd name="connsiteX50" fmla="*/ 91903 w 463594"/>
                  <a:gd name="connsiteY50" fmla="*/ 184690 h 1301328"/>
                  <a:gd name="connsiteX51" fmla="*/ 99113 w 463594"/>
                  <a:gd name="connsiteY51" fmla="*/ 198227 h 1301328"/>
                  <a:gd name="connsiteX52" fmla="*/ 100745 w 463594"/>
                  <a:gd name="connsiteY52" fmla="*/ 190334 h 1301328"/>
                  <a:gd name="connsiteX53" fmla="*/ 119862 w 463594"/>
                  <a:gd name="connsiteY53" fmla="*/ 195913 h 1301328"/>
                  <a:gd name="connsiteX54" fmla="*/ 139794 w 463594"/>
                  <a:gd name="connsiteY54" fmla="*/ 216661 h 1301328"/>
                  <a:gd name="connsiteX55" fmla="*/ 140677 w 463594"/>
                  <a:gd name="connsiteY55" fmla="*/ 239791 h 1301328"/>
                  <a:gd name="connsiteX56" fmla="*/ 137480 w 463594"/>
                  <a:gd name="connsiteY56" fmla="*/ 258974 h 1301328"/>
                  <a:gd name="connsiteX57" fmla="*/ 146189 w 463594"/>
                  <a:gd name="connsiteY57" fmla="*/ 268565 h 1301328"/>
                  <a:gd name="connsiteX58" fmla="*/ 140677 w 463594"/>
                  <a:gd name="connsiteY58" fmla="*/ 306932 h 1301328"/>
                  <a:gd name="connsiteX59" fmla="*/ 170883 w 463594"/>
                  <a:gd name="connsiteY59" fmla="*/ 342717 h 1301328"/>
                  <a:gd name="connsiteX60" fmla="*/ 168991 w 463594"/>
                  <a:gd name="connsiteY60" fmla="*/ 403242 h 1301328"/>
                  <a:gd name="connsiteX61" fmla="*/ 172386 w 463594"/>
                  <a:gd name="connsiteY61" fmla="*/ 425557 h 1301328"/>
                  <a:gd name="connsiteX62" fmla="*/ 182241 w 463594"/>
                  <a:gd name="connsiteY62" fmla="*/ 444412 h 1301328"/>
                  <a:gd name="connsiteX63" fmla="*/ 198227 w 463594"/>
                  <a:gd name="connsiteY63" fmla="*/ 457200 h 1301328"/>
                  <a:gd name="connsiteX64" fmla="*/ 207818 w 463594"/>
                  <a:gd name="connsiteY64" fmla="*/ 476384 h 1301328"/>
                  <a:gd name="connsiteX65" fmla="*/ 217410 w 463594"/>
                  <a:gd name="connsiteY65" fmla="*/ 482778 h 1301328"/>
                  <a:gd name="connsiteX66" fmla="*/ 220607 w 463594"/>
                  <a:gd name="connsiteY66" fmla="*/ 517947 h 1301328"/>
                  <a:gd name="connsiteX67" fmla="*/ 195029 w 463594"/>
                  <a:gd name="connsiteY67" fmla="*/ 524342 h 1301328"/>
                  <a:gd name="connsiteX68" fmla="*/ 175846 w 463594"/>
                  <a:gd name="connsiteY68" fmla="*/ 530736 h 1301328"/>
                  <a:gd name="connsiteX69" fmla="*/ 169452 w 463594"/>
                  <a:gd name="connsiteY69" fmla="*/ 540328 h 1301328"/>
                  <a:gd name="connsiteX70" fmla="*/ 166255 w 463594"/>
                  <a:gd name="connsiteY70" fmla="*/ 549919 h 1301328"/>
                  <a:gd name="connsiteX71" fmla="*/ 159860 w 463594"/>
                  <a:gd name="connsiteY71" fmla="*/ 556314 h 1301328"/>
                  <a:gd name="connsiteX72" fmla="*/ 153466 w 463594"/>
                  <a:gd name="connsiteY72" fmla="*/ 565905 h 1301328"/>
                  <a:gd name="connsiteX73" fmla="*/ 143874 w 463594"/>
                  <a:gd name="connsiteY73" fmla="*/ 569102 h 1301328"/>
                  <a:gd name="connsiteX74" fmla="*/ 137480 w 463594"/>
                  <a:gd name="connsiteY74" fmla="*/ 578694 h 1301328"/>
                  <a:gd name="connsiteX75" fmla="*/ 115099 w 463594"/>
                  <a:gd name="connsiteY75" fmla="*/ 597877 h 1301328"/>
                  <a:gd name="connsiteX76" fmla="*/ 102311 w 463594"/>
                  <a:gd name="connsiteY76" fmla="*/ 617061 h 1301328"/>
                  <a:gd name="connsiteX77" fmla="*/ 95916 w 463594"/>
                  <a:gd name="connsiteY77" fmla="*/ 626652 h 1301328"/>
                  <a:gd name="connsiteX78" fmla="*/ 73536 w 463594"/>
                  <a:gd name="connsiteY78" fmla="*/ 645835 h 1301328"/>
                  <a:gd name="connsiteX79" fmla="*/ 70339 w 463594"/>
                  <a:gd name="connsiteY79" fmla="*/ 655427 h 1301328"/>
                  <a:gd name="connsiteX80" fmla="*/ 60747 w 463594"/>
                  <a:gd name="connsiteY80" fmla="*/ 658624 h 1301328"/>
                  <a:gd name="connsiteX81" fmla="*/ 28775 w 463594"/>
                  <a:gd name="connsiteY81" fmla="*/ 661821 h 1301328"/>
                  <a:gd name="connsiteX82" fmla="*/ 41564 w 463594"/>
                  <a:gd name="connsiteY82" fmla="*/ 674610 h 1301328"/>
                  <a:gd name="connsiteX83" fmla="*/ 47958 w 463594"/>
                  <a:gd name="connsiteY83" fmla="*/ 681005 h 1301328"/>
                  <a:gd name="connsiteX84" fmla="*/ 51155 w 463594"/>
                  <a:gd name="connsiteY84" fmla="*/ 709779 h 1301328"/>
                  <a:gd name="connsiteX85" fmla="*/ 44761 w 463594"/>
                  <a:gd name="connsiteY85" fmla="*/ 716174 h 1301328"/>
                  <a:gd name="connsiteX86" fmla="*/ 44761 w 463594"/>
                  <a:gd name="connsiteY86" fmla="*/ 796104 h 1301328"/>
                  <a:gd name="connsiteX87" fmla="*/ 54353 w 463594"/>
                  <a:gd name="connsiteY87" fmla="*/ 799301 h 1301328"/>
                  <a:gd name="connsiteX88" fmla="*/ 57550 w 463594"/>
                  <a:gd name="connsiteY88" fmla="*/ 808893 h 1301328"/>
                  <a:gd name="connsiteX89" fmla="*/ 51155 w 463594"/>
                  <a:gd name="connsiteY89" fmla="*/ 853654 h 1301328"/>
                  <a:gd name="connsiteX90" fmla="*/ 44761 w 463594"/>
                  <a:gd name="connsiteY90" fmla="*/ 863245 h 1301328"/>
                  <a:gd name="connsiteX91" fmla="*/ 41564 w 463594"/>
                  <a:gd name="connsiteY91" fmla="*/ 872837 h 1301328"/>
                  <a:gd name="connsiteX92" fmla="*/ 51155 w 463594"/>
                  <a:gd name="connsiteY92" fmla="*/ 911203 h 1301328"/>
                  <a:gd name="connsiteX93" fmla="*/ 63878 w 463594"/>
                  <a:gd name="connsiteY93" fmla="*/ 920045 h 1301328"/>
                  <a:gd name="connsiteX94" fmla="*/ 94284 w 463594"/>
                  <a:gd name="connsiteY94" fmla="*/ 920861 h 1301328"/>
                  <a:gd name="connsiteX95" fmla="*/ 102311 w 463594"/>
                  <a:gd name="connsiteY95" fmla="*/ 933584 h 1301328"/>
                  <a:gd name="connsiteX96" fmla="*/ 111902 w 463594"/>
                  <a:gd name="connsiteY96" fmla="*/ 939978 h 1301328"/>
                  <a:gd name="connsiteX97" fmla="*/ 121494 w 463594"/>
                  <a:gd name="connsiteY97" fmla="*/ 943175 h 1301328"/>
                  <a:gd name="connsiteX98" fmla="*/ 212580 w 463594"/>
                  <a:gd name="connsiteY98" fmla="*/ 923309 h 1301328"/>
                  <a:gd name="connsiteX99" fmla="*/ 242238 w 463594"/>
                  <a:gd name="connsiteY99" fmla="*/ 912153 h 1301328"/>
                  <a:gd name="connsiteX100" fmla="*/ 262986 w 463594"/>
                  <a:gd name="connsiteY100" fmla="*/ 904126 h 1301328"/>
                  <a:gd name="connsiteX101" fmla="*/ 277407 w 463594"/>
                  <a:gd name="connsiteY101" fmla="*/ 902493 h 1301328"/>
                  <a:gd name="connsiteX102" fmla="*/ 289380 w 463594"/>
                  <a:gd name="connsiteY102" fmla="*/ 899297 h 1301328"/>
                  <a:gd name="connsiteX103" fmla="*/ 323667 w 463594"/>
                  <a:gd name="connsiteY103" fmla="*/ 893718 h 1301328"/>
                  <a:gd name="connsiteX104" fmla="*/ 338904 w 463594"/>
                  <a:gd name="connsiteY104" fmla="*/ 901612 h 1301328"/>
                  <a:gd name="connsiteX105" fmla="*/ 345298 w 463594"/>
                  <a:gd name="connsiteY105" fmla="*/ 895217 h 1301328"/>
                  <a:gd name="connsiteX106" fmla="*/ 358087 w 463594"/>
                  <a:gd name="connsiteY106" fmla="*/ 908006 h 1301328"/>
                  <a:gd name="connsiteX107" fmla="*/ 351692 w 463594"/>
                  <a:gd name="connsiteY107" fmla="*/ 914400 h 1301328"/>
                  <a:gd name="connsiteX108" fmla="*/ 338904 w 463594"/>
                  <a:gd name="connsiteY108" fmla="*/ 933584 h 1301328"/>
                  <a:gd name="connsiteX109" fmla="*/ 335706 w 463594"/>
                  <a:gd name="connsiteY109" fmla="*/ 968753 h 1301328"/>
                  <a:gd name="connsiteX110" fmla="*/ 326115 w 463594"/>
                  <a:gd name="connsiteY110" fmla="*/ 971950 h 1301328"/>
                  <a:gd name="connsiteX111" fmla="*/ 284551 w 463594"/>
                  <a:gd name="connsiteY111" fmla="*/ 968753 h 1301328"/>
                  <a:gd name="connsiteX112" fmla="*/ 258974 w 463594"/>
                  <a:gd name="connsiteY112" fmla="*/ 962358 h 1301328"/>
                  <a:gd name="connsiteX113" fmla="*/ 223804 w 463594"/>
                  <a:gd name="connsiteY113" fmla="*/ 952767 h 1301328"/>
                  <a:gd name="connsiteX114" fmla="*/ 179043 w 463594"/>
                  <a:gd name="connsiteY114" fmla="*/ 962358 h 1301328"/>
                  <a:gd name="connsiteX115" fmla="*/ 169452 w 463594"/>
                  <a:gd name="connsiteY115" fmla="*/ 965556 h 1301328"/>
                  <a:gd name="connsiteX116" fmla="*/ 163057 w 463594"/>
                  <a:gd name="connsiteY116" fmla="*/ 971950 h 1301328"/>
                  <a:gd name="connsiteX117" fmla="*/ 143874 w 463594"/>
                  <a:gd name="connsiteY117" fmla="*/ 978344 h 1301328"/>
                  <a:gd name="connsiteX118" fmla="*/ 140677 w 463594"/>
                  <a:gd name="connsiteY118" fmla="*/ 991133 h 1301328"/>
                  <a:gd name="connsiteX119" fmla="*/ 137480 w 463594"/>
                  <a:gd name="connsiteY119" fmla="*/ 1000725 h 1301328"/>
                  <a:gd name="connsiteX120" fmla="*/ 140677 w 463594"/>
                  <a:gd name="connsiteY120" fmla="*/ 1023105 h 1301328"/>
                  <a:gd name="connsiteX121" fmla="*/ 147071 w 463594"/>
                  <a:gd name="connsiteY121" fmla="*/ 1051880 h 1301328"/>
                  <a:gd name="connsiteX122" fmla="*/ 153466 w 463594"/>
                  <a:gd name="connsiteY122" fmla="*/ 1058275 h 1301328"/>
                  <a:gd name="connsiteX123" fmla="*/ 179043 w 463594"/>
                  <a:gd name="connsiteY123" fmla="*/ 1064669 h 1301328"/>
                  <a:gd name="connsiteX124" fmla="*/ 179043 w 463594"/>
                  <a:gd name="connsiteY124" fmla="*/ 1093444 h 1301328"/>
                  <a:gd name="connsiteX125" fmla="*/ 175846 w 463594"/>
                  <a:gd name="connsiteY125" fmla="*/ 1103035 h 1301328"/>
                  <a:gd name="connsiteX126" fmla="*/ 175583 w 463594"/>
                  <a:gd name="connsiteY126" fmla="*/ 1131481 h 1301328"/>
                  <a:gd name="connsiteX127" fmla="*/ 134414 w 463594"/>
                  <a:gd name="connsiteY127" fmla="*/ 1147600 h 1301328"/>
                  <a:gd name="connsiteX128" fmla="*/ 131085 w 463594"/>
                  <a:gd name="connsiteY128" fmla="*/ 1135007 h 1301328"/>
                  <a:gd name="connsiteX129" fmla="*/ 108705 w 463594"/>
                  <a:gd name="connsiteY129" fmla="*/ 1112627 h 1301328"/>
                  <a:gd name="connsiteX130" fmla="*/ 99113 w 463594"/>
                  <a:gd name="connsiteY130" fmla="*/ 1103035 h 1301328"/>
                  <a:gd name="connsiteX131" fmla="*/ 79930 w 463594"/>
                  <a:gd name="connsiteY131" fmla="*/ 1112627 h 1301328"/>
                  <a:gd name="connsiteX132" fmla="*/ 70339 w 463594"/>
                  <a:gd name="connsiteY132" fmla="*/ 1115824 h 1301328"/>
                  <a:gd name="connsiteX133" fmla="*/ 54353 w 463594"/>
                  <a:gd name="connsiteY133" fmla="*/ 1125416 h 1301328"/>
                  <a:gd name="connsiteX134" fmla="*/ 35169 w 463594"/>
                  <a:gd name="connsiteY134" fmla="*/ 1147796 h 1301328"/>
                  <a:gd name="connsiteX135" fmla="*/ 31972 w 463594"/>
                  <a:gd name="connsiteY135" fmla="*/ 1157388 h 1301328"/>
                  <a:gd name="connsiteX136" fmla="*/ 22380 w 463594"/>
                  <a:gd name="connsiteY136" fmla="*/ 1176571 h 1301328"/>
                  <a:gd name="connsiteX137" fmla="*/ 28775 w 463594"/>
                  <a:gd name="connsiteY137" fmla="*/ 1205346 h 1301328"/>
                  <a:gd name="connsiteX138" fmla="*/ 41564 w 463594"/>
                  <a:gd name="connsiteY138" fmla="*/ 1221332 h 1301328"/>
                  <a:gd name="connsiteX139" fmla="*/ 38367 w 463594"/>
                  <a:gd name="connsiteY139" fmla="*/ 1246909 h 1301328"/>
                  <a:gd name="connsiteX140" fmla="*/ 28775 w 463594"/>
                  <a:gd name="connsiteY140" fmla="*/ 1278881 h 1301328"/>
                  <a:gd name="connsiteX141" fmla="*/ 25578 w 463594"/>
                  <a:gd name="connsiteY141" fmla="*/ 1291670 h 1301328"/>
                  <a:gd name="connsiteX142" fmla="*/ 15986 w 463594"/>
                  <a:gd name="connsiteY142" fmla="*/ 1294868 h 1301328"/>
                  <a:gd name="connsiteX143" fmla="*/ 0 w 463594"/>
                  <a:gd name="connsiteY143" fmla="*/ 1301262 h 1301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463594" h="1301328">
                    <a:moveTo>
                      <a:pt x="463594" y="35170"/>
                    </a:moveTo>
                    <a:cubicBezTo>
                      <a:pt x="458265" y="38367"/>
                      <a:pt x="452002" y="40367"/>
                      <a:pt x="447608" y="44761"/>
                    </a:cubicBezTo>
                    <a:cubicBezTo>
                      <a:pt x="445225" y="47144"/>
                      <a:pt x="446516" y="51721"/>
                      <a:pt x="444411" y="54353"/>
                    </a:cubicBezTo>
                    <a:cubicBezTo>
                      <a:pt x="442011" y="57353"/>
                      <a:pt x="438017" y="58616"/>
                      <a:pt x="434820" y="60747"/>
                    </a:cubicBezTo>
                    <a:cubicBezTo>
                      <a:pt x="431623" y="59681"/>
                      <a:pt x="428425" y="56484"/>
                      <a:pt x="425228" y="57550"/>
                    </a:cubicBezTo>
                    <a:cubicBezTo>
                      <a:pt x="408509" y="63123"/>
                      <a:pt x="420639" y="69680"/>
                      <a:pt x="412439" y="79930"/>
                    </a:cubicBezTo>
                    <a:cubicBezTo>
                      <a:pt x="410334" y="82562"/>
                      <a:pt x="406045" y="82062"/>
                      <a:pt x="402848" y="83128"/>
                    </a:cubicBezTo>
                    <a:cubicBezTo>
                      <a:pt x="386641" y="99332"/>
                      <a:pt x="407618" y="80265"/>
                      <a:pt x="386862" y="92719"/>
                    </a:cubicBezTo>
                    <a:cubicBezTo>
                      <a:pt x="384277" y="94270"/>
                      <a:pt x="382821" y="97231"/>
                      <a:pt x="380467" y="99114"/>
                    </a:cubicBezTo>
                    <a:cubicBezTo>
                      <a:pt x="377467" y="101514"/>
                      <a:pt x="374073" y="103377"/>
                      <a:pt x="370876" y="105508"/>
                    </a:cubicBezTo>
                    <a:cubicBezTo>
                      <a:pt x="368744" y="108705"/>
                      <a:pt x="364481" y="118943"/>
                      <a:pt x="364481" y="115100"/>
                    </a:cubicBezTo>
                    <a:cubicBezTo>
                      <a:pt x="364481" y="108359"/>
                      <a:pt x="368744" y="102311"/>
                      <a:pt x="370876" y="95916"/>
                    </a:cubicBezTo>
                    <a:lnTo>
                      <a:pt x="374073" y="86325"/>
                    </a:lnTo>
                    <a:lnTo>
                      <a:pt x="377270" y="76733"/>
                    </a:lnTo>
                    <a:lnTo>
                      <a:pt x="380467" y="67142"/>
                    </a:lnTo>
                    <a:cubicBezTo>
                      <a:pt x="379401" y="60747"/>
                      <a:pt x="380169" y="53756"/>
                      <a:pt x="377270" y="47958"/>
                    </a:cubicBezTo>
                    <a:cubicBezTo>
                      <a:pt x="375552" y="44521"/>
                      <a:pt x="370570" y="44094"/>
                      <a:pt x="367678" y="41564"/>
                    </a:cubicBezTo>
                    <a:cubicBezTo>
                      <a:pt x="362007" y="36602"/>
                      <a:pt x="355872" y="31848"/>
                      <a:pt x="351692" y="25578"/>
                    </a:cubicBezTo>
                    <a:cubicBezTo>
                      <a:pt x="349561" y="22381"/>
                      <a:pt x="348190" y="18516"/>
                      <a:pt x="345298" y="15986"/>
                    </a:cubicBezTo>
                    <a:cubicBezTo>
                      <a:pt x="331770" y="4149"/>
                      <a:pt x="329695" y="4392"/>
                      <a:pt x="316523" y="0"/>
                    </a:cubicBezTo>
                    <a:lnTo>
                      <a:pt x="297340" y="6395"/>
                    </a:lnTo>
                    <a:lnTo>
                      <a:pt x="287748" y="9592"/>
                    </a:lnTo>
                    <a:cubicBezTo>
                      <a:pt x="284551" y="11723"/>
                      <a:pt x="281594" y="14268"/>
                      <a:pt x="278157" y="15986"/>
                    </a:cubicBezTo>
                    <a:cubicBezTo>
                      <a:pt x="275142" y="17493"/>
                      <a:pt x="271369" y="17314"/>
                      <a:pt x="268565" y="19184"/>
                    </a:cubicBezTo>
                    <a:cubicBezTo>
                      <a:pt x="264803" y="21692"/>
                      <a:pt x="262447" y="25881"/>
                      <a:pt x="258974" y="28775"/>
                    </a:cubicBezTo>
                    <a:cubicBezTo>
                      <a:pt x="234764" y="48950"/>
                      <a:pt x="261599" y="22955"/>
                      <a:pt x="242987" y="41564"/>
                    </a:cubicBezTo>
                    <a:cubicBezTo>
                      <a:pt x="233579" y="69792"/>
                      <a:pt x="242534" y="40152"/>
                      <a:pt x="236593" y="105508"/>
                    </a:cubicBezTo>
                    <a:cubicBezTo>
                      <a:pt x="235078" y="122177"/>
                      <a:pt x="235978" y="118912"/>
                      <a:pt x="227001" y="127888"/>
                    </a:cubicBezTo>
                    <a:cubicBezTo>
                      <a:pt x="225935" y="131085"/>
                      <a:pt x="225763" y="134737"/>
                      <a:pt x="223804" y="137480"/>
                    </a:cubicBezTo>
                    <a:cubicBezTo>
                      <a:pt x="220300" y="142386"/>
                      <a:pt x="214359" y="145253"/>
                      <a:pt x="211015" y="150269"/>
                    </a:cubicBezTo>
                    <a:cubicBezTo>
                      <a:pt x="202490" y="163058"/>
                      <a:pt x="207818" y="157730"/>
                      <a:pt x="195029" y="166255"/>
                    </a:cubicBezTo>
                    <a:cubicBezTo>
                      <a:pt x="191832" y="165189"/>
                      <a:pt x="187821" y="165441"/>
                      <a:pt x="185438" y="163058"/>
                    </a:cubicBezTo>
                    <a:cubicBezTo>
                      <a:pt x="174498" y="152117"/>
                      <a:pt x="190697" y="154498"/>
                      <a:pt x="175846" y="147072"/>
                    </a:cubicBezTo>
                    <a:cubicBezTo>
                      <a:pt x="169817" y="144058"/>
                      <a:pt x="156663" y="140677"/>
                      <a:pt x="156663" y="140677"/>
                    </a:cubicBezTo>
                    <a:cubicBezTo>
                      <a:pt x="154277" y="141274"/>
                      <a:pt x="137558" y="145107"/>
                      <a:pt x="134283" y="147072"/>
                    </a:cubicBezTo>
                    <a:cubicBezTo>
                      <a:pt x="131698" y="148623"/>
                      <a:pt x="130020" y="151335"/>
                      <a:pt x="127888" y="153466"/>
                    </a:cubicBezTo>
                    <a:cubicBezTo>
                      <a:pt x="119222" y="151733"/>
                      <a:pt x="108583" y="151715"/>
                      <a:pt x="102311" y="143875"/>
                    </a:cubicBezTo>
                    <a:cubicBezTo>
                      <a:pt x="100206" y="141243"/>
                      <a:pt x="100847" y="137173"/>
                      <a:pt x="99113" y="134283"/>
                    </a:cubicBezTo>
                    <a:cubicBezTo>
                      <a:pt x="97562" y="131698"/>
                      <a:pt x="94850" y="130020"/>
                      <a:pt x="92719" y="127888"/>
                    </a:cubicBezTo>
                    <a:lnTo>
                      <a:pt x="86325" y="108705"/>
                    </a:lnTo>
                    <a:cubicBezTo>
                      <a:pt x="82638" y="97645"/>
                      <a:pt x="85103" y="98503"/>
                      <a:pt x="73536" y="92719"/>
                    </a:cubicBezTo>
                    <a:cubicBezTo>
                      <a:pt x="70522" y="91212"/>
                      <a:pt x="67185" y="90448"/>
                      <a:pt x="63944" y="89522"/>
                    </a:cubicBezTo>
                    <a:cubicBezTo>
                      <a:pt x="59719" y="88315"/>
                      <a:pt x="55418" y="87391"/>
                      <a:pt x="51155" y="86325"/>
                    </a:cubicBezTo>
                    <a:cubicBezTo>
                      <a:pt x="48767" y="86922"/>
                      <a:pt x="32050" y="90754"/>
                      <a:pt x="28775" y="92719"/>
                    </a:cubicBezTo>
                    <a:cubicBezTo>
                      <a:pt x="23713" y="95756"/>
                      <a:pt x="18891" y="104348"/>
                      <a:pt x="15986" y="108705"/>
                    </a:cubicBezTo>
                    <a:cubicBezTo>
                      <a:pt x="20645" y="127342"/>
                      <a:pt x="16076" y="118388"/>
                      <a:pt x="31972" y="134283"/>
                    </a:cubicBezTo>
                    <a:lnTo>
                      <a:pt x="38367" y="140677"/>
                    </a:lnTo>
                    <a:cubicBezTo>
                      <a:pt x="41743" y="150806"/>
                      <a:pt x="40876" y="151008"/>
                      <a:pt x="47958" y="159861"/>
                    </a:cubicBezTo>
                    <a:cubicBezTo>
                      <a:pt x="49841" y="162215"/>
                      <a:pt x="52470" y="163901"/>
                      <a:pt x="54353" y="166255"/>
                    </a:cubicBezTo>
                    <a:cubicBezTo>
                      <a:pt x="56753" y="169256"/>
                      <a:pt x="54489" y="172775"/>
                      <a:pt x="60747" y="175847"/>
                    </a:cubicBezTo>
                    <a:cubicBezTo>
                      <a:pt x="67005" y="178919"/>
                      <a:pt x="72877" y="175177"/>
                      <a:pt x="91903" y="184690"/>
                    </a:cubicBezTo>
                    <a:cubicBezTo>
                      <a:pt x="95340" y="186408"/>
                      <a:pt x="97639" y="197286"/>
                      <a:pt x="99113" y="198227"/>
                    </a:cubicBezTo>
                    <a:cubicBezTo>
                      <a:pt x="100587" y="199168"/>
                      <a:pt x="97287" y="190720"/>
                      <a:pt x="100745" y="190334"/>
                    </a:cubicBezTo>
                    <a:cubicBezTo>
                      <a:pt x="104203" y="189948"/>
                      <a:pt x="116665" y="194847"/>
                      <a:pt x="119862" y="195913"/>
                    </a:cubicBezTo>
                    <a:cubicBezTo>
                      <a:pt x="135303" y="211351"/>
                      <a:pt x="136325" y="209348"/>
                      <a:pt x="139794" y="216661"/>
                    </a:cubicBezTo>
                    <a:cubicBezTo>
                      <a:pt x="143263" y="223974"/>
                      <a:pt x="120997" y="210268"/>
                      <a:pt x="140677" y="239791"/>
                    </a:cubicBezTo>
                    <a:cubicBezTo>
                      <a:pt x="139611" y="246185"/>
                      <a:pt x="136561" y="254178"/>
                      <a:pt x="137480" y="258974"/>
                    </a:cubicBezTo>
                    <a:cubicBezTo>
                      <a:pt x="138399" y="263770"/>
                      <a:pt x="146189" y="265195"/>
                      <a:pt x="146189" y="268565"/>
                    </a:cubicBezTo>
                    <a:cubicBezTo>
                      <a:pt x="146189" y="275655"/>
                      <a:pt x="136561" y="294573"/>
                      <a:pt x="140677" y="306932"/>
                    </a:cubicBezTo>
                    <a:cubicBezTo>
                      <a:pt x="144793" y="319291"/>
                      <a:pt x="168752" y="339520"/>
                      <a:pt x="170883" y="342717"/>
                    </a:cubicBezTo>
                    <a:cubicBezTo>
                      <a:pt x="158350" y="380319"/>
                      <a:pt x="168741" y="389435"/>
                      <a:pt x="168991" y="403242"/>
                    </a:cubicBezTo>
                    <a:cubicBezTo>
                      <a:pt x="169241" y="417049"/>
                      <a:pt x="170178" y="418695"/>
                      <a:pt x="172386" y="425557"/>
                    </a:cubicBezTo>
                    <a:cubicBezTo>
                      <a:pt x="174594" y="432419"/>
                      <a:pt x="178956" y="438127"/>
                      <a:pt x="182241" y="444412"/>
                    </a:cubicBezTo>
                    <a:cubicBezTo>
                      <a:pt x="200567" y="471900"/>
                      <a:pt x="176164" y="439549"/>
                      <a:pt x="198227" y="457200"/>
                    </a:cubicBezTo>
                    <a:cubicBezTo>
                      <a:pt x="213200" y="469179"/>
                      <a:pt x="197521" y="463513"/>
                      <a:pt x="207818" y="476384"/>
                    </a:cubicBezTo>
                    <a:cubicBezTo>
                      <a:pt x="210218" y="479385"/>
                      <a:pt x="214213" y="480647"/>
                      <a:pt x="217410" y="482778"/>
                    </a:cubicBezTo>
                    <a:cubicBezTo>
                      <a:pt x="219258" y="488322"/>
                      <a:pt x="230176" y="510504"/>
                      <a:pt x="220607" y="517947"/>
                    </a:cubicBezTo>
                    <a:cubicBezTo>
                      <a:pt x="213670" y="523343"/>
                      <a:pt x="203366" y="521563"/>
                      <a:pt x="195029" y="524342"/>
                    </a:cubicBezTo>
                    <a:lnTo>
                      <a:pt x="175846" y="530736"/>
                    </a:lnTo>
                    <a:cubicBezTo>
                      <a:pt x="173715" y="533933"/>
                      <a:pt x="171170" y="536891"/>
                      <a:pt x="169452" y="540328"/>
                    </a:cubicBezTo>
                    <a:cubicBezTo>
                      <a:pt x="167945" y="543342"/>
                      <a:pt x="167989" y="547029"/>
                      <a:pt x="166255" y="549919"/>
                    </a:cubicBezTo>
                    <a:cubicBezTo>
                      <a:pt x="164704" y="552504"/>
                      <a:pt x="161743" y="553960"/>
                      <a:pt x="159860" y="556314"/>
                    </a:cubicBezTo>
                    <a:cubicBezTo>
                      <a:pt x="157460" y="559314"/>
                      <a:pt x="156466" y="563505"/>
                      <a:pt x="153466" y="565905"/>
                    </a:cubicBezTo>
                    <a:cubicBezTo>
                      <a:pt x="150834" y="568010"/>
                      <a:pt x="147071" y="568036"/>
                      <a:pt x="143874" y="569102"/>
                    </a:cubicBezTo>
                    <a:cubicBezTo>
                      <a:pt x="141743" y="572299"/>
                      <a:pt x="139981" y="575776"/>
                      <a:pt x="137480" y="578694"/>
                    </a:cubicBezTo>
                    <a:cubicBezTo>
                      <a:pt x="127143" y="590755"/>
                      <a:pt x="126413" y="590335"/>
                      <a:pt x="115099" y="597877"/>
                    </a:cubicBezTo>
                    <a:cubicBezTo>
                      <a:pt x="109481" y="614732"/>
                      <a:pt x="115614" y="601097"/>
                      <a:pt x="102311" y="617061"/>
                    </a:cubicBezTo>
                    <a:cubicBezTo>
                      <a:pt x="99851" y="620013"/>
                      <a:pt x="98417" y="623735"/>
                      <a:pt x="95916" y="626652"/>
                    </a:cubicBezTo>
                    <a:cubicBezTo>
                      <a:pt x="85577" y="638713"/>
                      <a:pt x="84850" y="638292"/>
                      <a:pt x="73536" y="645835"/>
                    </a:cubicBezTo>
                    <a:cubicBezTo>
                      <a:pt x="72470" y="649032"/>
                      <a:pt x="72722" y="653044"/>
                      <a:pt x="70339" y="655427"/>
                    </a:cubicBezTo>
                    <a:cubicBezTo>
                      <a:pt x="67956" y="657810"/>
                      <a:pt x="64078" y="658112"/>
                      <a:pt x="60747" y="658624"/>
                    </a:cubicBezTo>
                    <a:cubicBezTo>
                      <a:pt x="50161" y="660252"/>
                      <a:pt x="39432" y="660755"/>
                      <a:pt x="28775" y="661821"/>
                    </a:cubicBezTo>
                    <a:lnTo>
                      <a:pt x="41564" y="674610"/>
                    </a:lnTo>
                    <a:lnTo>
                      <a:pt x="47958" y="681005"/>
                    </a:lnTo>
                    <a:cubicBezTo>
                      <a:pt x="52375" y="694254"/>
                      <a:pt x="58007" y="698359"/>
                      <a:pt x="51155" y="709779"/>
                    </a:cubicBezTo>
                    <a:cubicBezTo>
                      <a:pt x="49604" y="712364"/>
                      <a:pt x="46892" y="714042"/>
                      <a:pt x="44761" y="716174"/>
                    </a:cubicBezTo>
                    <a:cubicBezTo>
                      <a:pt x="35035" y="745351"/>
                      <a:pt x="35189" y="741065"/>
                      <a:pt x="44761" y="796104"/>
                    </a:cubicBezTo>
                    <a:cubicBezTo>
                      <a:pt x="45338" y="799424"/>
                      <a:pt x="51156" y="798235"/>
                      <a:pt x="54353" y="799301"/>
                    </a:cubicBezTo>
                    <a:cubicBezTo>
                      <a:pt x="55419" y="802498"/>
                      <a:pt x="57550" y="805523"/>
                      <a:pt x="57550" y="808893"/>
                    </a:cubicBezTo>
                    <a:cubicBezTo>
                      <a:pt x="57550" y="816254"/>
                      <a:pt x="57073" y="841818"/>
                      <a:pt x="51155" y="853654"/>
                    </a:cubicBezTo>
                    <a:cubicBezTo>
                      <a:pt x="49437" y="857091"/>
                      <a:pt x="46892" y="860048"/>
                      <a:pt x="44761" y="863245"/>
                    </a:cubicBezTo>
                    <a:cubicBezTo>
                      <a:pt x="43695" y="866442"/>
                      <a:pt x="41564" y="869467"/>
                      <a:pt x="41564" y="872837"/>
                    </a:cubicBezTo>
                    <a:cubicBezTo>
                      <a:pt x="41564" y="893379"/>
                      <a:pt x="47436" y="903335"/>
                      <a:pt x="51155" y="911203"/>
                    </a:cubicBezTo>
                    <a:cubicBezTo>
                      <a:pt x="54874" y="919071"/>
                      <a:pt x="56690" y="918435"/>
                      <a:pt x="63878" y="920045"/>
                    </a:cubicBezTo>
                    <a:cubicBezTo>
                      <a:pt x="71066" y="921655"/>
                      <a:pt x="82561" y="919795"/>
                      <a:pt x="94284" y="920861"/>
                    </a:cubicBezTo>
                    <a:cubicBezTo>
                      <a:pt x="98547" y="921927"/>
                      <a:pt x="99375" y="930398"/>
                      <a:pt x="102311" y="933584"/>
                    </a:cubicBezTo>
                    <a:cubicBezTo>
                      <a:pt x="105247" y="936770"/>
                      <a:pt x="108465" y="938260"/>
                      <a:pt x="111902" y="939978"/>
                    </a:cubicBezTo>
                    <a:cubicBezTo>
                      <a:pt x="114916" y="941485"/>
                      <a:pt x="118297" y="942109"/>
                      <a:pt x="121494" y="943175"/>
                    </a:cubicBezTo>
                    <a:lnTo>
                      <a:pt x="212580" y="923309"/>
                    </a:lnTo>
                    <a:cubicBezTo>
                      <a:pt x="232704" y="918139"/>
                      <a:pt x="224314" y="918127"/>
                      <a:pt x="242238" y="912153"/>
                    </a:cubicBezTo>
                    <a:cubicBezTo>
                      <a:pt x="247554" y="906836"/>
                      <a:pt x="257125" y="905736"/>
                      <a:pt x="262986" y="904126"/>
                    </a:cubicBezTo>
                    <a:cubicBezTo>
                      <a:pt x="268848" y="902516"/>
                      <a:pt x="273008" y="903298"/>
                      <a:pt x="277407" y="902493"/>
                    </a:cubicBezTo>
                    <a:cubicBezTo>
                      <a:pt x="281806" y="901688"/>
                      <a:pt x="281670" y="900759"/>
                      <a:pt x="289380" y="899297"/>
                    </a:cubicBezTo>
                    <a:cubicBezTo>
                      <a:pt x="297090" y="897835"/>
                      <a:pt x="315413" y="893332"/>
                      <a:pt x="323667" y="893718"/>
                    </a:cubicBezTo>
                    <a:cubicBezTo>
                      <a:pt x="331921" y="894104"/>
                      <a:pt x="330686" y="904351"/>
                      <a:pt x="338904" y="901612"/>
                    </a:cubicBezTo>
                    <a:cubicBezTo>
                      <a:pt x="341035" y="899480"/>
                      <a:pt x="342342" y="895808"/>
                      <a:pt x="345298" y="895217"/>
                    </a:cubicBezTo>
                    <a:cubicBezTo>
                      <a:pt x="355956" y="893085"/>
                      <a:pt x="355956" y="901611"/>
                      <a:pt x="358087" y="908006"/>
                    </a:cubicBezTo>
                    <a:cubicBezTo>
                      <a:pt x="355955" y="910137"/>
                      <a:pt x="353501" y="911988"/>
                      <a:pt x="351692" y="914400"/>
                    </a:cubicBezTo>
                    <a:cubicBezTo>
                      <a:pt x="347081" y="920548"/>
                      <a:pt x="338904" y="933584"/>
                      <a:pt x="338904" y="933584"/>
                    </a:cubicBezTo>
                    <a:cubicBezTo>
                      <a:pt x="337838" y="945307"/>
                      <a:pt x="339429" y="957586"/>
                      <a:pt x="335706" y="968753"/>
                    </a:cubicBezTo>
                    <a:cubicBezTo>
                      <a:pt x="334640" y="971950"/>
                      <a:pt x="329485" y="971950"/>
                      <a:pt x="326115" y="971950"/>
                    </a:cubicBezTo>
                    <a:cubicBezTo>
                      <a:pt x="312219" y="971950"/>
                      <a:pt x="298406" y="969819"/>
                      <a:pt x="284551" y="968753"/>
                    </a:cubicBezTo>
                    <a:cubicBezTo>
                      <a:pt x="276025" y="966621"/>
                      <a:pt x="267311" y="965137"/>
                      <a:pt x="258974" y="962358"/>
                    </a:cubicBezTo>
                    <a:cubicBezTo>
                      <a:pt x="234635" y="954246"/>
                      <a:pt x="246400" y="957286"/>
                      <a:pt x="223804" y="952767"/>
                    </a:cubicBezTo>
                    <a:cubicBezTo>
                      <a:pt x="191546" y="956799"/>
                      <a:pt x="206372" y="953248"/>
                      <a:pt x="179043" y="962358"/>
                    </a:cubicBezTo>
                    <a:lnTo>
                      <a:pt x="169452" y="965556"/>
                    </a:lnTo>
                    <a:cubicBezTo>
                      <a:pt x="167320" y="967687"/>
                      <a:pt x="165753" y="970602"/>
                      <a:pt x="163057" y="971950"/>
                    </a:cubicBezTo>
                    <a:cubicBezTo>
                      <a:pt x="157028" y="974964"/>
                      <a:pt x="143874" y="978344"/>
                      <a:pt x="143874" y="978344"/>
                    </a:cubicBezTo>
                    <a:cubicBezTo>
                      <a:pt x="142808" y="982607"/>
                      <a:pt x="141884" y="986908"/>
                      <a:pt x="140677" y="991133"/>
                    </a:cubicBezTo>
                    <a:cubicBezTo>
                      <a:pt x="139751" y="994374"/>
                      <a:pt x="137480" y="997355"/>
                      <a:pt x="137480" y="1000725"/>
                    </a:cubicBezTo>
                    <a:cubicBezTo>
                      <a:pt x="137480" y="1008261"/>
                      <a:pt x="139531" y="1015657"/>
                      <a:pt x="140677" y="1023105"/>
                    </a:cubicBezTo>
                    <a:cubicBezTo>
                      <a:pt x="141256" y="1026866"/>
                      <a:pt x="143474" y="1045884"/>
                      <a:pt x="147071" y="1051880"/>
                    </a:cubicBezTo>
                    <a:cubicBezTo>
                      <a:pt x="148622" y="1054465"/>
                      <a:pt x="150667" y="1057155"/>
                      <a:pt x="153466" y="1058275"/>
                    </a:cubicBezTo>
                    <a:cubicBezTo>
                      <a:pt x="161625" y="1061539"/>
                      <a:pt x="179043" y="1064669"/>
                      <a:pt x="179043" y="1064669"/>
                    </a:cubicBezTo>
                    <a:cubicBezTo>
                      <a:pt x="183901" y="1079241"/>
                      <a:pt x="183545" y="1073186"/>
                      <a:pt x="179043" y="1093444"/>
                    </a:cubicBezTo>
                    <a:cubicBezTo>
                      <a:pt x="178312" y="1096734"/>
                      <a:pt x="176423" y="1096696"/>
                      <a:pt x="175846" y="1103035"/>
                    </a:cubicBezTo>
                    <a:cubicBezTo>
                      <a:pt x="175269" y="1109374"/>
                      <a:pt x="182488" y="1124054"/>
                      <a:pt x="175583" y="1131481"/>
                    </a:cubicBezTo>
                    <a:cubicBezTo>
                      <a:pt x="168678" y="1138908"/>
                      <a:pt x="151296" y="1141971"/>
                      <a:pt x="134414" y="1147600"/>
                    </a:cubicBezTo>
                    <a:cubicBezTo>
                      <a:pt x="131217" y="1146534"/>
                      <a:pt x="135370" y="1140836"/>
                      <a:pt x="131085" y="1135007"/>
                    </a:cubicBezTo>
                    <a:cubicBezTo>
                      <a:pt x="126800" y="1129178"/>
                      <a:pt x="130408" y="1119861"/>
                      <a:pt x="108705" y="1112627"/>
                    </a:cubicBezTo>
                    <a:cubicBezTo>
                      <a:pt x="105508" y="1109430"/>
                      <a:pt x="103461" y="1104277"/>
                      <a:pt x="99113" y="1103035"/>
                    </a:cubicBezTo>
                    <a:cubicBezTo>
                      <a:pt x="86652" y="1099475"/>
                      <a:pt x="87202" y="1108264"/>
                      <a:pt x="79930" y="1112627"/>
                    </a:cubicBezTo>
                    <a:cubicBezTo>
                      <a:pt x="77040" y="1114361"/>
                      <a:pt x="73536" y="1114758"/>
                      <a:pt x="70339" y="1115824"/>
                    </a:cubicBezTo>
                    <a:cubicBezTo>
                      <a:pt x="46709" y="1139454"/>
                      <a:pt x="83406" y="1104663"/>
                      <a:pt x="54353" y="1125416"/>
                    </a:cubicBezTo>
                    <a:cubicBezTo>
                      <a:pt x="44487" y="1132463"/>
                      <a:pt x="41314" y="1138580"/>
                      <a:pt x="35169" y="1147796"/>
                    </a:cubicBezTo>
                    <a:cubicBezTo>
                      <a:pt x="34103" y="1150993"/>
                      <a:pt x="33479" y="1154374"/>
                      <a:pt x="31972" y="1157388"/>
                    </a:cubicBezTo>
                    <a:cubicBezTo>
                      <a:pt x="19573" y="1182188"/>
                      <a:pt x="30421" y="1152453"/>
                      <a:pt x="22380" y="1176571"/>
                    </a:cubicBezTo>
                    <a:cubicBezTo>
                      <a:pt x="23608" y="1183935"/>
                      <a:pt x="24841" y="1197477"/>
                      <a:pt x="28775" y="1205346"/>
                    </a:cubicBezTo>
                    <a:cubicBezTo>
                      <a:pt x="32808" y="1213412"/>
                      <a:pt x="35617" y="1215385"/>
                      <a:pt x="41564" y="1221332"/>
                    </a:cubicBezTo>
                    <a:cubicBezTo>
                      <a:pt x="40498" y="1229858"/>
                      <a:pt x="39780" y="1238434"/>
                      <a:pt x="38367" y="1246909"/>
                    </a:cubicBezTo>
                    <a:cubicBezTo>
                      <a:pt x="35831" y="1262122"/>
                      <a:pt x="33035" y="1261841"/>
                      <a:pt x="28775" y="1278881"/>
                    </a:cubicBezTo>
                    <a:cubicBezTo>
                      <a:pt x="27709" y="1283144"/>
                      <a:pt x="28323" y="1288239"/>
                      <a:pt x="25578" y="1291670"/>
                    </a:cubicBezTo>
                    <a:cubicBezTo>
                      <a:pt x="23473" y="1294302"/>
                      <a:pt x="19001" y="1293361"/>
                      <a:pt x="15986" y="1294868"/>
                    </a:cubicBezTo>
                    <a:cubicBezTo>
                      <a:pt x="834" y="1302444"/>
                      <a:pt x="12337" y="1301262"/>
                      <a:pt x="0" y="1301262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69" name="Freeform 48268"/>
              <p:cNvSpPr/>
              <p:nvPr/>
            </p:nvSpPr>
            <p:spPr>
              <a:xfrm>
                <a:off x="2349959" y="4029411"/>
                <a:ext cx="463522" cy="302805"/>
              </a:xfrm>
              <a:custGeom>
                <a:avLst/>
                <a:gdLst>
                  <a:gd name="connsiteX0" fmla="*/ 0 w 501988"/>
                  <a:gd name="connsiteY0" fmla="*/ 105508 h 290951"/>
                  <a:gd name="connsiteX1" fmla="*/ 12789 w 501988"/>
                  <a:gd name="connsiteY1" fmla="*/ 79930 h 290951"/>
                  <a:gd name="connsiteX2" fmla="*/ 19184 w 501988"/>
                  <a:gd name="connsiteY2" fmla="*/ 73536 h 290951"/>
                  <a:gd name="connsiteX3" fmla="*/ 31972 w 501988"/>
                  <a:gd name="connsiteY3" fmla="*/ 70339 h 290951"/>
                  <a:gd name="connsiteX4" fmla="*/ 41564 w 501988"/>
                  <a:gd name="connsiteY4" fmla="*/ 54353 h 290951"/>
                  <a:gd name="connsiteX5" fmla="*/ 54353 w 501988"/>
                  <a:gd name="connsiteY5" fmla="*/ 41564 h 290951"/>
                  <a:gd name="connsiteX6" fmla="*/ 86325 w 501988"/>
                  <a:gd name="connsiteY6" fmla="*/ 35170 h 290951"/>
                  <a:gd name="connsiteX7" fmla="*/ 111903 w 501988"/>
                  <a:gd name="connsiteY7" fmla="*/ 41564 h 290951"/>
                  <a:gd name="connsiteX8" fmla="*/ 131086 w 501988"/>
                  <a:gd name="connsiteY8" fmla="*/ 47958 h 290951"/>
                  <a:gd name="connsiteX9" fmla="*/ 156663 w 501988"/>
                  <a:gd name="connsiteY9" fmla="*/ 54353 h 290951"/>
                  <a:gd name="connsiteX10" fmla="*/ 143875 w 501988"/>
                  <a:gd name="connsiteY10" fmla="*/ 70339 h 290951"/>
                  <a:gd name="connsiteX11" fmla="*/ 124691 w 501988"/>
                  <a:gd name="connsiteY11" fmla="*/ 76733 h 290951"/>
                  <a:gd name="connsiteX12" fmla="*/ 121494 w 501988"/>
                  <a:gd name="connsiteY12" fmla="*/ 95916 h 290951"/>
                  <a:gd name="connsiteX13" fmla="*/ 131086 w 501988"/>
                  <a:gd name="connsiteY13" fmla="*/ 99114 h 290951"/>
                  <a:gd name="connsiteX14" fmla="*/ 143875 w 501988"/>
                  <a:gd name="connsiteY14" fmla="*/ 102311 h 290951"/>
                  <a:gd name="connsiteX15" fmla="*/ 163058 w 501988"/>
                  <a:gd name="connsiteY15" fmla="*/ 108705 h 290951"/>
                  <a:gd name="connsiteX16" fmla="*/ 163058 w 501988"/>
                  <a:gd name="connsiteY16" fmla="*/ 140677 h 290951"/>
                  <a:gd name="connsiteX17" fmla="*/ 166255 w 501988"/>
                  <a:gd name="connsiteY17" fmla="*/ 131086 h 290951"/>
                  <a:gd name="connsiteX18" fmla="*/ 185438 w 501988"/>
                  <a:gd name="connsiteY18" fmla="*/ 127888 h 290951"/>
                  <a:gd name="connsiteX19" fmla="*/ 262171 w 501988"/>
                  <a:gd name="connsiteY19" fmla="*/ 124691 h 290951"/>
                  <a:gd name="connsiteX20" fmla="*/ 271763 w 501988"/>
                  <a:gd name="connsiteY20" fmla="*/ 118297 h 290951"/>
                  <a:gd name="connsiteX21" fmla="*/ 284551 w 501988"/>
                  <a:gd name="connsiteY21" fmla="*/ 102311 h 290951"/>
                  <a:gd name="connsiteX22" fmla="*/ 281354 w 501988"/>
                  <a:gd name="connsiteY22" fmla="*/ 92719 h 290951"/>
                  <a:gd name="connsiteX23" fmla="*/ 236593 w 501988"/>
                  <a:gd name="connsiteY23" fmla="*/ 83128 h 290951"/>
                  <a:gd name="connsiteX24" fmla="*/ 223805 w 501988"/>
                  <a:gd name="connsiteY24" fmla="*/ 79930 h 290951"/>
                  <a:gd name="connsiteX25" fmla="*/ 236593 w 501988"/>
                  <a:gd name="connsiteY25" fmla="*/ 54353 h 290951"/>
                  <a:gd name="connsiteX26" fmla="*/ 246185 w 501988"/>
                  <a:gd name="connsiteY26" fmla="*/ 47958 h 290951"/>
                  <a:gd name="connsiteX27" fmla="*/ 287749 w 501988"/>
                  <a:gd name="connsiteY27" fmla="*/ 38367 h 290951"/>
                  <a:gd name="connsiteX28" fmla="*/ 316524 w 501988"/>
                  <a:gd name="connsiteY28" fmla="*/ 28775 h 290951"/>
                  <a:gd name="connsiteX29" fmla="*/ 326115 w 501988"/>
                  <a:gd name="connsiteY29" fmla="*/ 25578 h 290951"/>
                  <a:gd name="connsiteX30" fmla="*/ 338904 w 501988"/>
                  <a:gd name="connsiteY30" fmla="*/ 12789 h 290951"/>
                  <a:gd name="connsiteX31" fmla="*/ 348496 w 501988"/>
                  <a:gd name="connsiteY31" fmla="*/ 9592 h 290951"/>
                  <a:gd name="connsiteX32" fmla="*/ 399651 w 501988"/>
                  <a:gd name="connsiteY32" fmla="*/ 0 h 290951"/>
                  <a:gd name="connsiteX33" fmla="*/ 386862 w 501988"/>
                  <a:gd name="connsiteY33" fmla="*/ 15986 h 290951"/>
                  <a:gd name="connsiteX34" fmla="*/ 380468 w 501988"/>
                  <a:gd name="connsiteY34" fmla="*/ 35170 h 290951"/>
                  <a:gd name="connsiteX35" fmla="*/ 370876 w 501988"/>
                  <a:gd name="connsiteY35" fmla="*/ 41564 h 290951"/>
                  <a:gd name="connsiteX36" fmla="*/ 361284 w 501988"/>
                  <a:gd name="connsiteY36" fmla="*/ 51156 h 290951"/>
                  <a:gd name="connsiteX37" fmla="*/ 351693 w 501988"/>
                  <a:gd name="connsiteY37" fmla="*/ 54353 h 290951"/>
                  <a:gd name="connsiteX38" fmla="*/ 335707 w 501988"/>
                  <a:gd name="connsiteY38" fmla="*/ 63944 h 290951"/>
                  <a:gd name="connsiteX39" fmla="*/ 319721 w 501988"/>
                  <a:gd name="connsiteY39" fmla="*/ 73536 h 290951"/>
                  <a:gd name="connsiteX40" fmla="*/ 306932 w 501988"/>
                  <a:gd name="connsiteY40" fmla="*/ 89522 h 290951"/>
                  <a:gd name="connsiteX41" fmla="*/ 316524 w 501988"/>
                  <a:gd name="connsiteY41" fmla="*/ 95916 h 290951"/>
                  <a:gd name="connsiteX42" fmla="*/ 322918 w 501988"/>
                  <a:gd name="connsiteY42" fmla="*/ 102311 h 290951"/>
                  <a:gd name="connsiteX43" fmla="*/ 326115 w 501988"/>
                  <a:gd name="connsiteY43" fmla="*/ 111902 h 290951"/>
                  <a:gd name="connsiteX44" fmla="*/ 332510 w 501988"/>
                  <a:gd name="connsiteY44" fmla="*/ 118297 h 290951"/>
                  <a:gd name="connsiteX45" fmla="*/ 351693 w 501988"/>
                  <a:gd name="connsiteY45" fmla="*/ 127888 h 290951"/>
                  <a:gd name="connsiteX46" fmla="*/ 364482 w 501988"/>
                  <a:gd name="connsiteY46" fmla="*/ 140677 h 290951"/>
                  <a:gd name="connsiteX47" fmla="*/ 370876 w 501988"/>
                  <a:gd name="connsiteY47" fmla="*/ 147072 h 290951"/>
                  <a:gd name="connsiteX48" fmla="*/ 390059 w 501988"/>
                  <a:gd name="connsiteY48" fmla="*/ 159860 h 290951"/>
                  <a:gd name="connsiteX49" fmla="*/ 393256 w 501988"/>
                  <a:gd name="connsiteY49" fmla="*/ 169452 h 290951"/>
                  <a:gd name="connsiteX50" fmla="*/ 402848 w 501988"/>
                  <a:gd name="connsiteY50" fmla="*/ 172649 h 290951"/>
                  <a:gd name="connsiteX51" fmla="*/ 409242 w 501988"/>
                  <a:gd name="connsiteY51" fmla="*/ 179044 h 290951"/>
                  <a:gd name="connsiteX52" fmla="*/ 418834 w 501988"/>
                  <a:gd name="connsiteY52" fmla="*/ 182241 h 290951"/>
                  <a:gd name="connsiteX53" fmla="*/ 428426 w 501988"/>
                  <a:gd name="connsiteY53" fmla="*/ 188635 h 290951"/>
                  <a:gd name="connsiteX54" fmla="*/ 447609 w 501988"/>
                  <a:gd name="connsiteY54" fmla="*/ 214213 h 290951"/>
                  <a:gd name="connsiteX55" fmla="*/ 457200 w 501988"/>
                  <a:gd name="connsiteY55" fmla="*/ 217410 h 290951"/>
                  <a:gd name="connsiteX56" fmla="*/ 463595 w 501988"/>
                  <a:gd name="connsiteY56" fmla="*/ 223805 h 290951"/>
                  <a:gd name="connsiteX57" fmla="*/ 482778 w 501988"/>
                  <a:gd name="connsiteY57" fmla="*/ 230199 h 290951"/>
                  <a:gd name="connsiteX58" fmla="*/ 485975 w 501988"/>
                  <a:gd name="connsiteY58" fmla="*/ 239791 h 290951"/>
                  <a:gd name="connsiteX59" fmla="*/ 492370 w 501988"/>
                  <a:gd name="connsiteY59" fmla="*/ 246185 h 290951"/>
                  <a:gd name="connsiteX60" fmla="*/ 501961 w 501988"/>
                  <a:gd name="connsiteY60" fmla="*/ 265368 h 290951"/>
                  <a:gd name="connsiteX61" fmla="*/ 495567 w 501988"/>
                  <a:gd name="connsiteY61" fmla="*/ 290946 h 290951"/>
                  <a:gd name="connsiteX0" fmla="*/ 0 w 501988"/>
                  <a:gd name="connsiteY0" fmla="*/ 105508 h 290951"/>
                  <a:gd name="connsiteX1" fmla="*/ 12789 w 501988"/>
                  <a:gd name="connsiteY1" fmla="*/ 79930 h 290951"/>
                  <a:gd name="connsiteX2" fmla="*/ 19184 w 501988"/>
                  <a:gd name="connsiteY2" fmla="*/ 73536 h 290951"/>
                  <a:gd name="connsiteX3" fmla="*/ 31972 w 501988"/>
                  <a:gd name="connsiteY3" fmla="*/ 70339 h 290951"/>
                  <a:gd name="connsiteX4" fmla="*/ 41564 w 501988"/>
                  <a:gd name="connsiteY4" fmla="*/ 54353 h 290951"/>
                  <a:gd name="connsiteX5" fmla="*/ 54353 w 501988"/>
                  <a:gd name="connsiteY5" fmla="*/ 41564 h 290951"/>
                  <a:gd name="connsiteX6" fmla="*/ 86325 w 501988"/>
                  <a:gd name="connsiteY6" fmla="*/ 35170 h 290951"/>
                  <a:gd name="connsiteX7" fmla="*/ 111903 w 501988"/>
                  <a:gd name="connsiteY7" fmla="*/ 41564 h 290951"/>
                  <a:gd name="connsiteX8" fmla="*/ 131086 w 501988"/>
                  <a:gd name="connsiteY8" fmla="*/ 47958 h 290951"/>
                  <a:gd name="connsiteX9" fmla="*/ 156663 w 501988"/>
                  <a:gd name="connsiteY9" fmla="*/ 54353 h 290951"/>
                  <a:gd name="connsiteX10" fmla="*/ 143875 w 501988"/>
                  <a:gd name="connsiteY10" fmla="*/ 70339 h 290951"/>
                  <a:gd name="connsiteX11" fmla="*/ 124691 w 501988"/>
                  <a:gd name="connsiteY11" fmla="*/ 76733 h 290951"/>
                  <a:gd name="connsiteX12" fmla="*/ 121494 w 501988"/>
                  <a:gd name="connsiteY12" fmla="*/ 95916 h 290951"/>
                  <a:gd name="connsiteX13" fmla="*/ 131086 w 501988"/>
                  <a:gd name="connsiteY13" fmla="*/ 99114 h 290951"/>
                  <a:gd name="connsiteX14" fmla="*/ 143875 w 501988"/>
                  <a:gd name="connsiteY14" fmla="*/ 102311 h 290951"/>
                  <a:gd name="connsiteX15" fmla="*/ 163058 w 501988"/>
                  <a:gd name="connsiteY15" fmla="*/ 108705 h 290951"/>
                  <a:gd name="connsiteX16" fmla="*/ 163058 w 501988"/>
                  <a:gd name="connsiteY16" fmla="*/ 140677 h 290951"/>
                  <a:gd name="connsiteX17" fmla="*/ 166255 w 501988"/>
                  <a:gd name="connsiteY17" fmla="*/ 131086 h 290951"/>
                  <a:gd name="connsiteX18" fmla="*/ 185438 w 501988"/>
                  <a:gd name="connsiteY18" fmla="*/ 127888 h 290951"/>
                  <a:gd name="connsiteX19" fmla="*/ 262171 w 501988"/>
                  <a:gd name="connsiteY19" fmla="*/ 124691 h 290951"/>
                  <a:gd name="connsiteX20" fmla="*/ 271763 w 501988"/>
                  <a:gd name="connsiteY20" fmla="*/ 118297 h 290951"/>
                  <a:gd name="connsiteX21" fmla="*/ 284551 w 501988"/>
                  <a:gd name="connsiteY21" fmla="*/ 102311 h 290951"/>
                  <a:gd name="connsiteX22" fmla="*/ 281354 w 501988"/>
                  <a:gd name="connsiteY22" fmla="*/ 92719 h 290951"/>
                  <a:gd name="connsiteX23" fmla="*/ 236593 w 501988"/>
                  <a:gd name="connsiteY23" fmla="*/ 83128 h 290951"/>
                  <a:gd name="connsiteX24" fmla="*/ 223805 w 501988"/>
                  <a:gd name="connsiteY24" fmla="*/ 79930 h 290951"/>
                  <a:gd name="connsiteX25" fmla="*/ 236593 w 501988"/>
                  <a:gd name="connsiteY25" fmla="*/ 54353 h 290951"/>
                  <a:gd name="connsiteX26" fmla="*/ 236660 w 501988"/>
                  <a:gd name="connsiteY26" fmla="*/ 38433 h 290951"/>
                  <a:gd name="connsiteX27" fmla="*/ 287749 w 501988"/>
                  <a:gd name="connsiteY27" fmla="*/ 38367 h 290951"/>
                  <a:gd name="connsiteX28" fmla="*/ 316524 w 501988"/>
                  <a:gd name="connsiteY28" fmla="*/ 28775 h 290951"/>
                  <a:gd name="connsiteX29" fmla="*/ 326115 w 501988"/>
                  <a:gd name="connsiteY29" fmla="*/ 25578 h 290951"/>
                  <a:gd name="connsiteX30" fmla="*/ 338904 w 501988"/>
                  <a:gd name="connsiteY30" fmla="*/ 12789 h 290951"/>
                  <a:gd name="connsiteX31" fmla="*/ 348496 w 501988"/>
                  <a:gd name="connsiteY31" fmla="*/ 9592 h 290951"/>
                  <a:gd name="connsiteX32" fmla="*/ 399651 w 501988"/>
                  <a:gd name="connsiteY32" fmla="*/ 0 h 290951"/>
                  <a:gd name="connsiteX33" fmla="*/ 386862 w 501988"/>
                  <a:gd name="connsiteY33" fmla="*/ 15986 h 290951"/>
                  <a:gd name="connsiteX34" fmla="*/ 380468 w 501988"/>
                  <a:gd name="connsiteY34" fmla="*/ 35170 h 290951"/>
                  <a:gd name="connsiteX35" fmla="*/ 370876 w 501988"/>
                  <a:gd name="connsiteY35" fmla="*/ 41564 h 290951"/>
                  <a:gd name="connsiteX36" fmla="*/ 361284 w 501988"/>
                  <a:gd name="connsiteY36" fmla="*/ 51156 h 290951"/>
                  <a:gd name="connsiteX37" fmla="*/ 351693 w 501988"/>
                  <a:gd name="connsiteY37" fmla="*/ 54353 h 290951"/>
                  <a:gd name="connsiteX38" fmla="*/ 335707 w 501988"/>
                  <a:gd name="connsiteY38" fmla="*/ 63944 h 290951"/>
                  <a:gd name="connsiteX39" fmla="*/ 319721 w 501988"/>
                  <a:gd name="connsiteY39" fmla="*/ 73536 h 290951"/>
                  <a:gd name="connsiteX40" fmla="*/ 306932 w 501988"/>
                  <a:gd name="connsiteY40" fmla="*/ 89522 h 290951"/>
                  <a:gd name="connsiteX41" fmla="*/ 316524 w 501988"/>
                  <a:gd name="connsiteY41" fmla="*/ 95916 h 290951"/>
                  <a:gd name="connsiteX42" fmla="*/ 322918 w 501988"/>
                  <a:gd name="connsiteY42" fmla="*/ 102311 h 290951"/>
                  <a:gd name="connsiteX43" fmla="*/ 326115 w 501988"/>
                  <a:gd name="connsiteY43" fmla="*/ 111902 h 290951"/>
                  <a:gd name="connsiteX44" fmla="*/ 332510 w 501988"/>
                  <a:gd name="connsiteY44" fmla="*/ 118297 h 290951"/>
                  <a:gd name="connsiteX45" fmla="*/ 351693 w 501988"/>
                  <a:gd name="connsiteY45" fmla="*/ 127888 h 290951"/>
                  <a:gd name="connsiteX46" fmla="*/ 364482 w 501988"/>
                  <a:gd name="connsiteY46" fmla="*/ 140677 h 290951"/>
                  <a:gd name="connsiteX47" fmla="*/ 370876 w 501988"/>
                  <a:gd name="connsiteY47" fmla="*/ 147072 h 290951"/>
                  <a:gd name="connsiteX48" fmla="*/ 390059 w 501988"/>
                  <a:gd name="connsiteY48" fmla="*/ 159860 h 290951"/>
                  <a:gd name="connsiteX49" fmla="*/ 393256 w 501988"/>
                  <a:gd name="connsiteY49" fmla="*/ 169452 h 290951"/>
                  <a:gd name="connsiteX50" fmla="*/ 402848 w 501988"/>
                  <a:gd name="connsiteY50" fmla="*/ 172649 h 290951"/>
                  <a:gd name="connsiteX51" fmla="*/ 409242 w 501988"/>
                  <a:gd name="connsiteY51" fmla="*/ 179044 h 290951"/>
                  <a:gd name="connsiteX52" fmla="*/ 418834 w 501988"/>
                  <a:gd name="connsiteY52" fmla="*/ 182241 h 290951"/>
                  <a:gd name="connsiteX53" fmla="*/ 428426 w 501988"/>
                  <a:gd name="connsiteY53" fmla="*/ 188635 h 290951"/>
                  <a:gd name="connsiteX54" fmla="*/ 447609 w 501988"/>
                  <a:gd name="connsiteY54" fmla="*/ 214213 h 290951"/>
                  <a:gd name="connsiteX55" fmla="*/ 457200 w 501988"/>
                  <a:gd name="connsiteY55" fmla="*/ 217410 h 290951"/>
                  <a:gd name="connsiteX56" fmla="*/ 463595 w 501988"/>
                  <a:gd name="connsiteY56" fmla="*/ 223805 h 290951"/>
                  <a:gd name="connsiteX57" fmla="*/ 482778 w 501988"/>
                  <a:gd name="connsiteY57" fmla="*/ 230199 h 290951"/>
                  <a:gd name="connsiteX58" fmla="*/ 485975 w 501988"/>
                  <a:gd name="connsiteY58" fmla="*/ 239791 h 290951"/>
                  <a:gd name="connsiteX59" fmla="*/ 492370 w 501988"/>
                  <a:gd name="connsiteY59" fmla="*/ 246185 h 290951"/>
                  <a:gd name="connsiteX60" fmla="*/ 501961 w 501988"/>
                  <a:gd name="connsiteY60" fmla="*/ 265368 h 290951"/>
                  <a:gd name="connsiteX61" fmla="*/ 495567 w 501988"/>
                  <a:gd name="connsiteY61" fmla="*/ 290946 h 290951"/>
                  <a:gd name="connsiteX0" fmla="*/ 0 w 501988"/>
                  <a:gd name="connsiteY0" fmla="*/ 105508 h 290951"/>
                  <a:gd name="connsiteX1" fmla="*/ 12789 w 501988"/>
                  <a:gd name="connsiteY1" fmla="*/ 79930 h 290951"/>
                  <a:gd name="connsiteX2" fmla="*/ 19184 w 501988"/>
                  <a:gd name="connsiteY2" fmla="*/ 73536 h 290951"/>
                  <a:gd name="connsiteX3" fmla="*/ 31972 w 501988"/>
                  <a:gd name="connsiteY3" fmla="*/ 70339 h 290951"/>
                  <a:gd name="connsiteX4" fmla="*/ 41564 w 501988"/>
                  <a:gd name="connsiteY4" fmla="*/ 54353 h 290951"/>
                  <a:gd name="connsiteX5" fmla="*/ 54353 w 501988"/>
                  <a:gd name="connsiteY5" fmla="*/ 41564 h 290951"/>
                  <a:gd name="connsiteX6" fmla="*/ 86325 w 501988"/>
                  <a:gd name="connsiteY6" fmla="*/ 35170 h 290951"/>
                  <a:gd name="connsiteX7" fmla="*/ 111903 w 501988"/>
                  <a:gd name="connsiteY7" fmla="*/ 41564 h 290951"/>
                  <a:gd name="connsiteX8" fmla="*/ 131086 w 501988"/>
                  <a:gd name="connsiteY8" fmla="*/ 47958 h 290951"/>
                  <a:gd name="connsiteX9" fmla="*/ 156663 w 501988"/>
                  <a:gd name="connsiteY9" fmla="*/ 54353 h 290951"/>
                  <a:gd name="connsiteX10" fmla="*/ 143875 w 501988"/>
                  <a:gd name="connsiteY10" fmla="*/ 70339 h 290951"/>
                  <a:gd name="connsiteX11" fmla="*/ 124691 w 501988"/>
                  <a:gd name="connsiteY11" fmla="*/ 76733 h 290951"/>
                  <a:gd name="connsiteX12" fmla="*/ 121494 w 501988"/>
                  <a:gd name="connsiteY12" fmla="*/ 95916 h 290951"/>
                  <a:gd name="connsiteX13" fmla="*/ 131086 w 501988"/>
                  <a:gd name="connsiteY13" fmla="*/ 99114 h 290951"/>
                  <a:gd name="connsiteX14" fmla="*/ 143875 w 501988"/>
                  <a:gd name="connsiteY14" fmla="*/ 102311 h 290951"/>
                  <a:gd name="connsiteX15" fmla="*/ 163058 w 501988"/>
                  <a:gd name="connsiteY15" fmla="*/ 108705 h 290951"/>
                  <a:gd name="connsiteX16" fmla="*/ 163058 w 501988"/>
                  <a:gd name="connsiteY16" fmla="*/ 140677 h 290951"/>
                  <a:gd name="connsiteX17" fmla="*/ 166255 w 501988"/>
                  <a:gd name="connsiteY17" fmla="*/ 131086 h 290951"/>
                  <a:gd name="connsiteX18" fmla="*/ 185438 w 501988"/>
                  <a:gd name="connsiteY18" fmla="*/ 127888 h 290951"/>
                  <a:gd name="connsiteX19" fmla="*/ 262171 w 501988"/>
                  <a:gd name="connsiteY19" fmla="*/ 124691 h 290951"/>
                  <a:gd name="connsiteX20" fmla="*/ 271763 w 501988"/>
                  <a:gd name="connsiteY20" fmla="*/ 118297 h 290951"/>
                  <a:gd name="connsiteX21" fmla="*/ 284551 w 501988"/>
                  <a:gd name="connsiteY21" fmla="*/ 102311 h 290951"/>
                  <a:gd name="connsiteX22" fmla="*/ 281354 w 501988"/>
                  <a:gd name="connsiteY22" fmla="*/ 92719 h 290951"/>
                  <a:gd name="connsiteX23" fmla="*/ 236593 w 501988"/>
                  <a:gd name="connsiteY23" fmla="*/ 83128 h 290951"/>
                  <a:gd name="connsiteX24" fmla="*/ 223805 w 501988"/>
                  <a:gd name="connsiteY24" fmla="*/ 79930 h 290951"/>
                  <a:gd name="connsiteX25" fmla="*/ 236593 w 501988"/>
                  <a:gd name="connsiteY25" fmla="*/ 54353 h 290951"/>
                  <a:gd name="connsiteX26" fmla="*/ 236660 w 501988"/>
                  <a:gd name="connsiteY26" fmla="*/ 38433 h 290951"/>
                  <a:gd name="connsiteX27" fmla="*/ 285367 w 501988"/>
                  <a:gd name="connsiteY27" fmla="*/ 24080 h 290951"/>
                  <a:gd name="connsiteX28" fmla="*/ 316524 w 501988"/>
                  <a:gd name="connsiteY28" fmla="*/ 28775 h 290951"/>
                  <a:gd name="connsiteX29" fmla="*/ 326115 w 501988"/>
                  <a:gd name="connsiteY29" fmla="*/ 25578 h 290951"/>
                  <a:gd name="connsiteX30" fmla="*/ 338904 w 501988"/>
                  <a:gd name="connsiteY30" fmla="*/ 12789 h 290951"/>
                  <a:gd name="connsiteX31" fmla="*/ 348496 w 501988"/>
                  <a:gd name="connsiteY31" fmla="*/ 9592 h 290951"/>
                  <a:gd name="connsiteX32" fmla="*/ 399651 w 501988"/>
                  <a:gd name="connsiteY32" fmla="*/ 0 h 290951"/>
                  <a:gd name="connsiteX33" fmla="*/ 386862 w 501988"/>
                  <a:gd name="connsiteY33" fmla="*/ 15986 h 290951"/>
                  <a:gd name="connsiteX34" fmla="*/ 380468 w 501988"/>
                  <a:gd name="connsiteY34" fmla="*/ 35170 h 290951"/>
                  <a:gd name="connsiteX35" fmla="*/ 370876 w 501988"/>
                  <a:gd name="connsiteY35" fmla="*/ 41564 h 290951"/>
                  <a:gd name="connsiteX36" fmla="*/ 361284 w 501988"/>
                  <a:gd name="connsiteY36" fmla="*/ 51156 h 290951"/>
                  <a:gd name="connsiteX37" fmla="*/ 351693 w 501988"/>
                  <a:gd name="connsiteY37" fmla="*/ 54353 h 290951"/>
                  <a:gd name="connsiteX38" fmla="*/ 335707 w 501988"/>
                  <a:gd name="connsiteY38" fmla="*/ 63944 h 290951"/>
                  <a:gd name="connsiteX39" fmla="*/ 319721 w 501988"/>
                  <a:gd name="connsiteY39" fmla="*/ 73536 h 290951"/>
                  <a:gd name="connsiteX40" fmla="*/ 306932 w 501988"/>
                  <a:gd name="connsiteY40" fmla="*/ 89522 h 290951"/>
                  <a:gd name="connsiteX41" fmla="*/ 316524 w 501988"/>
                  <a:gd name="connsiteY41" fmla="*/ 95916 h 290951"/>
                  <a:gd name="connsiteX42" fmla="*/ 322918 w 501988"/>
                  <a:gd name="connsiteY42" fmla="*/ 102311 h 290951"/>
                  <a:gd name="connsiteX43" fmla="*/ 326115 w 501988"/>
                  <a:gd name="connsiteY43" fmla="*/ 111902 h 290951"/>
                  <a:gd name="connsiteX44" fmla="*/ 332510 w 501988"/>
                  <a:gd name="connsiteY44" fmla="*/ 118297 h 290951"/>
                  <a:gd name="connsiteX45" fmla="*/ 351693 w 501988"/>
                  <a:gd name="connsiteY45" fmla="*/ 127888 h 290951"/>
                  <a:gd name="connsiteX46" fmla="*/ 364482 w 501988"/>
                  <a:gd name="connsiteY46" fmla="*/ 140677 h 290951"/>
                  <a:gd name="connsiteX47" fmla="*/ 370876 w 501988"/>
                  <a:gd name="connsiteY47" fmla="*/ 147072 h 290951"/>
                  <a:gd name="connsiteX48" fmla="*/ 390059 w 501988"/>
                  <a:gd name="connsiteY48" fmla="*/ 159860 h 290951"/>
                  <a:gd name="connsiteX49" fmla="*/ 393256 w 501988"/>
                  <a:gd name="connsiteY49" fmla="*/ 169452 h 290951"/>
                  <a:gd name="connsiteX50" fmla="*/ 402848 w 501988"/>
                  <a:gd name="connsiteY50" fmla="*/ 172649 h 290951"/>
                  <a:gd name="connsiteX51" fmla="*/ 409242 w 501988"/>
                  <a:gd name="connsiteY51" fmla="*/ 179044 h 290951"/>
                  <a:gd name="connsiteX52" fmla="*/ 418834 w 501988"/>
                  <a:gd name="connsiteY52" fmla="*/ 182241 h 290951"/>
                  <a:gd name="connsiteX53" fmla="*/ 428426 w 501988"/>
                  <a:gd name="connsiteY53" fmla="*/ 188635 h 290951"/>
                  <a:gd name="connsiteX54" fmla="*/ 447609 w 501988"/>
                  <a:gd name="connsiteY54" fmla="*/ 214213 h 290951"/>
                  <a:gd name="connsiteX55" fmla="*/ 457200 w 501988"/>
                  <a:gd name="connsiteY55" fmla="*/ 217410 h 290951"/>
                  <a:gd name="connsiteX56" fmla="*/ 463595 w 501988"/>
                  <a:gd name="connsiteY56" fmla="*/ 223805 h 290951"/>
                  <a:gd name="connsiteX57" fmla="*/ 482778 w 501988"/>
                  <a:gd name="connsiteY57" fmla="*/ 230199 h 290951"/>
                  <a:gd name="connsiteX58" fmla="*/ 485975 w 501988"/>
                  <a:gd name="connsiteY58" fmla="*/ 239791 h 290951"/>
                  <a:gd name="connsiteX59" fmla="*/ 492370 w 501988"/>
                  <a:gd name="connsiteY59" fmla="*/ 246185 h 290951"/>
                  <a:gd name="connsiteX60" fmla="*/ 501961 w 501988"/>
                  <a:gd name="connsiteY60" fmla="*/ 265368 h 290951"/>
                  <a:gd name="connsiteX61" fmla="*/ 495567 w 501988"/>
                  <a:gd name="connsiteY61" fmla="*/ 290946 h 290951"/>
                  <a:gd name="connsiteX0" fmla="*/ 0 w 501988"/>
                  <a:gd name="connsiteY0" fmla="*/ 105508 h 290951"/>
                  <a:gd name="connsiteX1" fmla="*/ 12789 w 501988"/>
                  <a:gd name="connsiteY1" fmla="*/ 79930 h 290951"/>
                  <a:gd name="connsiteX2" fmla="*/ 19184 w 501988"/>
                  <a:gd name="connsiteY2" fmla="*/ 73536 h 290951"/>
                  <a:gd name="connsiteX3" fmla="*/ 31972 w 501988"/>
                  <a:gd name="connsiteY3" fmla="*/ 70339 h 290951"/>
                  <a:gd name="connsiteX4" fmla="*/ 41564 w 501988"/>
                  <a:gd name="connsiteY4" fmla="*/ 54353 h 290951"/>
                  <a:gd name="connsiteX5" fmla="*/ 54353 w 501988"/>
                  <a:gd name="connsiteY5" fmla="*/ 41564 h 290951"/>
                  <a:gd name="connsiteX6" fmla="*/ 86325 w 501988"/>
                  <a:gd name="connsiteY6" fmla="*/ 35170 h 290951"/>
                  <a:gd name="connsiteX7" fmla="*/ 111903 w 501988"/>
                  <a:gd name="connsiteY7" fmla="*/ 41564 h 290951"/>
                  <a:gd name="connsiteX8" fmla="*/ 131086 w 501988"/>
                  <a:gd name="connsiteY8" fmla="*/ 47958 h 290951"/>
                  <a:gd name="connsiteX9" fmla="*/ 156663 w 501988"/>
                  <a:gd name="connsiteY9" fmla="*/ 54353 h 290951"/>
                  <a:gd name="connsiteX10" fmla="*/ 143875 w 501988"/>
                  <a:gd name="connsiteY10" fmla="*/ 70339 h 290951"/>
                  <a:gd name="connsiteX11" fmla="*/ 124691 w 501988"/>
                  <a:gd name="connsiteY11" fmla="*/ 76733 h 290951"/>
                  <a:gd name="connsiteX12" fmla="*/ 121494 w 501988"/>
                  <a:gd name="connsiteY12" fmla="*/ 95916 h 290951"/>
                  <a:gd name="connsiteX13" fmla="*/ 131086 w 501988"/>
                  <a:gd name="connsiteY13" fmla="*/ 99114 h 290951"/>
                  <a:gd name="connsiteX14" fmla="*/ 143875 w 501988"/>
                  <a:gd name="connsiteY14" fmla="*/ 102311 h 290951"/>
                  <a:gd name="connsiteX15" fmla="*/ 163058 w 501988"/>
                  <a:gd name="connsiteY15" fmla="*/ 108705 h 290951"/>
                  <a:gd name="connsiteX16" fmla="*/ 163058 w 501988"/>
                  <a:gd name="connsiteY16" fmla="*/ 140677 h 290951"/>
                  <a:gd name="connsiteX17" fmla="*/ 166255 w 501988"/>
                  <a:gd name="connsiteY17" fmla="*/ 131086 h 290951"/>
                  <a:gd name="connsiteX18" fmla="*/ 185438 w 501988"/>
                  <a:gd name="connsiteY18" fmla="*/ 127888 h 290951"/>
                  <a:gd name="connsiteX19" fmla="*/ 262171 w 501988"/>
                  <a:gd name="connsiteY19" fmla="*/ 124691 h 290951"/>
                  <a:gd name="connsiteX20" fmla="*/ 271763 w 501988"/>
                  <a:gd name="connsiteY20" fmla="*/ 118297 h 290951"/>
                  <a:gd name="connsiteX21" fmla="*/ 284551 w 501988"/>
                  <a:gd name="connsiteY21" fmla="*/ 102311 h 290951"/>
                  <a:gd name="connsiteX22" fmla="*/ 281354 w 501988"/>
                  <a:gd name="connsiteY22" fmla="*/ 92719 h 290951"/>
                  <a:gd name="connsiteX23" fmla="*/ 236593 w 501988"/>
                  <a:gd name="connsiteY23" fmla="*/ 83128 h 290951"/>
                  <a:gd name="connsiteX24" fmla="*/ 223805 w 501988"/>
                  <a:gd name="connsiteY24" fmla="*/ 79930 h 290951"/>
                  <a:gd name="connsiteX25" fmla="*/ 236593 w 501988"/>
                  <a:gd name="connsiteY25" fmla="*/ 54353 h 290951"/>
                  <a:gd name="connsiteX26" fmla="*/ 236660 w 501988"/>
                  <a:gd name="connsiteY26" fmla="*/ 38433 h 290951"/>
                  <a:gd name="connsiteX27" fmla="*/ 285367 w 501988"/>
                  <a:gd name="connsiteY27" fmla="*/ 24080 h 290951"/>
                  <a:gd name="connsiteX28" fmla="*/ 316524 w 501988"/>
                  <a:gd name="connsiteY28" fmla="*/ 28775 h 290951"/>
                  <a:gd name="connsiteX29" fmla="*/ 321353 w 501988"/>
                  <a:gd name="connsiteY29" fmla="*/ 8909 h 290951"/>
                  <a:gd name="connsiteX30" fmla="*/ 338904 w 501988"/>
                  <a:gd name="connsiteY30" fmla="*/ 12789 h 290951"/>
                  <a:gd name="connsiteX31" fmla="*/ 348496 w 501988"/>
                  <a:gd name="connsiteY31" fmla="*/ 9592 h 290951"/>
                  <a:gd name="connsiteX32" fmla="*/ 399651 w 501988"/>
                  <a:gd name="connsiteY32" fmla="*/ 0 h 290951"/>
                  <a:gd name="connsiteX33" fmla="*/ 386862 w 501988"/>
                  <a:gd name="connsiteY33" fmla="*/ 15986 h 290951"/>
                  <a:gd name="connsiteX34" fmla="*/ 380468 w 501988"/>
                  <a:gd name="connsiteY34" fmla="*/ 35170 h 290951"/>
                  <a:gd name="connsiteX35" fmla="*/ 370876 w 501988"/>
                  <a:gd name="connsiteY35" fmla="*/ 41564 h 290951"/>
                  <a:gd name="connsiteX36" fmla="*/ 361284 w 501988"/>
                  <a:gd name="connsiteY36" fmla="*/ 51156 h 290951"/>
                  <a:gd name="connsiteX37" fmla="*/ 351693 w 501988"/>
                  <a:gd name="connsiteY37" fmla="*/ 54353 h 290951"/>
                  <a:gd name="connsiteX38" fmla="*/ 335707 w 501988"/>
                  <a:gd name="connsiteY38" fmla="*/ 63944 h 290951"/>
                  <a:gd name="connsiteX39" fmla="*/ 319721 w 501988"/>
                  <a:gd name="connsiteY39" fmla="*/ 73536 h 290951"/>
                  <a:gd name="connsiteX40" fmla="*/ 306932 w 501988"/>
                  <a:gd name="connsiteY40" fmla="*/ 89522 h 290951"/>
                  <a:gd name="connsiteX41" fmla="*/ 316524 w 501988"/>
                  <a:gd name="connsiteY41" fmla="*/ 95916 h 290951"/>
                  <a:gd name="connsiteX42" fmla="*/ 322918 w 501988"/>
                  <a:gd name="connsiteY42" fmla="*/ 102311 h 290951"/>
                  <a:gd name="connsiteX43" fmla="*/ 326115 w 501988"/>
                  <a:gd name="connsiteY43" fmla="*/ 111902 h 290951"/>
                  <a:gd name="connsiteX44" fmla="*/ 332510 w 501988"/>
                  <a:gd name="connsiteY44" fmla="*/ 118297 h 290951"/>
                  <a:gd name="connsiteX45" fmla="*/ 351693 w 501988"/>
                  <a:gd name="connsiteY45" fmla="*/ 127888 h 290951"/>
                  <a:gd name="connsiteX46" fmla="*/ 364482 w 501988"/>
                  <a:gd name="connsiteY46" fmla="*/ 140677 h 290951"/>
                  <a:gd name="connsiteX47" fmla="*/ 370876 w 501988"/>
                  <a:gd name="connsiteY47" fmla="*/ 147072 h 290951"/>
                  <a:gd name="connsiteX48" fmla="*/ 390059 w 501988"/>
                  <a:gd name="connsiteY48" fmla="*/ 159860 h 290951"/>
                  <a:gd name="connsiteX49" fmla="*/ 393256 w 501988"/>
                  <a:gd name="connsiteY49" fmla="*/ 169452 h 290951"/>
                  <a:gd name="connsiteX50" fmla="*/ 402848 w 501988"/>
                  <a:gd name="connsiteY50" fmla="*/ 172649 h 290951"/>
                  <a:gd name="connsiteX51" fmla="*/ 409242 w 501988"/>
                  <a:gd name="connsiteY51" fmla="*/ 179044 h 290951"/>
                  <a:gd name="connsiteX52" fmla="*/ 418834 w 501988"/>
                  <a:gd name="connsiteY52" fmla="*/ 182241 h 290951"/>
                  <a:gd name="connsiteX53" fmla="*/ 428426 w 501988"/>
                  <a:gd name="connsiteY53" fmla="*/ 188635 h 290951"/>
                  <a:gd name="connsiteX54" fmla="*/ 447609 w 501988"/>
                  <a:gd name="connsiteY54" fmla="*/ 214213 h 290951"/>
                  <a:gd name="connsiteX55" fmla="*/ 457200 w 501988"/>
                  <a:gd name="connsiteY55" fmla="*/ 217410 h 290951"/>
                  <a:gd name="connsiteX56" fmla="*/ 463595 w 501988"/>
                  <a:gd name="connsiteY56" fmla="*/ 223805 h 290951"/>
                  <a:gd name="connsiteX57" fmla="*/ 482778 w 501988"/>
                  <a:gd name="connsiteY57" fmla="*/ 230199 h 290951"/>
                  <a:gd name="connsiteX58" fmla="*/ 485975 w 501988"/>
                  <a:gd name="connsiteY58" fmla="*/ 239791 h 290951"/>
                  <a:gd name="connsiteX59" fmla="*/ 492370 w 501988"/>
                  <a:gd name="connsiteY59" fmla="*/ 246185 h 290951"/>
                  <a:gd name="connsiteX60" fmla="*/ 501961 w 501988"/>
                  <a:gd name="connsiteY60" fmla="*/ 265368 h 290951"/>
                  <a:gd name="connsiteX61" fmla="*/ 495567 w 501988"/>
                  <a:gd name="connsiteY61" fmla="*/ 290946 h 290951"/>
                  <a:gd name="connsiteX0" fmla="*/ 0 w 501988"/>
                  <a:gd name="connsiteY0" fmla="*/ 106947 h 292390"/>
                  <a:gd name="connsiteX1" fmla="*/ 12789 w 501988"/>
                  <a:gd name="connsiteY1" fmla="*/ 81369 h 292390"/>
                  <a:gd name="connsiteX2" fmla="*/ 19184 w 501988"/>
                  <a:gd name="connsiteY2" fmla="*/ 74975 h 292390"/>
                  <a:gd name="connsiteX3" fmla="*/ 31972 w 501988"/>
                  <a:gd name="connsiteY3" fmla="*/ 71778 h 292390"/>
                  <a:gd name="connsiteX4" fmla="*/ 41564 w 501988"/>
                  <a:gd name="connsiteY4" fmla="*/ 55792 h 292390"/>
                  <a:gd name="connsiteX5" fmla="*/ 54353 w 501988"/>
                  <a:gd name="connsiteY5" fmla="*/ 43003 h 292390"/>
                  <a:gd name="connsiteX6" fmla="*/ 86325 w 501988"/>
                  <a:gd name="connsiteY6" fmla="*/ 36609 h 292390"/>
                  <a:gd name="connsiteX7" fmla="*/ 111903 w 501988"/>
                  <a:gd name="connsiteY7" fmla="*/ 43003 h 292390"/>
                  <a:gd name="connsiteX8" fmla="*/ 131086 w 501988"/>
                  <a:gd name="connsiteY8" fmla="*/ 49397 h 292390"/>
                  <a:gd name="connsiteX9" fmla="*/ 156663 w 501988"/>
                  <a:gd name="connsiteY9" fmla="*/ 55792 h 292390"/>
                  <a:gd name="connsiteX10" fmla="*/ 143875 w 501988"/>
                  <a:gd name="connsiteY10" fmla="*/ 71778 h 292390"/>
                  <a:gd name="connsiteX11" fmla="*/ 124691 w 501988"/>
                  <a:gd name="connsiteY11" fmla="*/ 78172 h 292390"/>
                  <a:gd name="connsiteX12" fmla="*/ 121494 w 501988"/>
                  <a:gd name="connsiteY12" fmla="*/ 97355 h 292390"/>
                  <a:gd name="connsiteX13" fmla="*/ 131086 w 501988"/>
                  <a:gd name="connsiteY13" fmla="*/ 100553 h 292390"/>
                  <a:gd name="connsiteX14" fmla="*/ 143875 w 501988"/>
                  <a:gd name="connsiteY14" fmla="*/ 103750 h 292390"/>
                  <a:gd name="connsiteX15" fmla="*/ 163058 w 501988"/>
                  <a:gd name="connsiteY15" fmla="*/ 110144 h 292390"/>
                  <a:gd name="connsiteX16" fmla="*/ 163058 w 501988"/>
                  <a:gd name="connsiteY16" fmla="*/ 142116 h 292390"/>
                  <a:gd name="connsiteX17" fmla="*/ 166255 w 501988"/>
                  <a:gd name="connsiteY17" fmla="*/ 132525 h 292390"/>
                  <a:gd name="connsiteX18" fmla="*/ 185438 w 501988"/>
                  <a:gd name="connsiteY18" fmla="*/ 129327 h 292390"/>
                  <a:gd name="connsiteX19" fmla="*/ 262171 w 501988"/>
                  <a:gd name="connsiteY19" fmla="*/ 126130 h 292390"/>
                  <a:gd name="connsiteX20" fmla="*/ 271763 w 501988"/>
                  <a:gd name="connsiteY20" fmla="*/ 119736 h 292390"/>
                  <a:gd name="connsiteX21" fmla="*/ 284551 w 501988"/>
                  <a:gd name="connsiteY21" fmla="*/ 103750 h 292390"/>
                  <a:gd name="connsiteX22" fmla="*/ 281354 w 501988"/>
                  <a:gd name="connsiteY22" fmla="*/ 94158 h 292390"/>
                  <a:gd name="connsiteX23" fmla="*/ 236593 w 501988"/>
                  <a:gd name="connsiteY23" fmla="*/ 84567 h 292390"/>
                  <a:gd name="connsiteX24" fmla="*/ 223805 w 501988"/>
                  <a:gd name="connsiteY24" fmla="*/ 81369 h 292390"/>
                  <a:gd name="connsiteX25" fmla="*/ 236593 w 501988"/>
                  <a:gd name="connsiteY25" fmla="*/ 55792 h 292390"/>
                  <a:gd name="connsiteX26" fmla="*/ 236660 w 501988"/>
                  <a:gd name="connsiteY26" fmla="*/ 39872 h 292390"/>
                  <a:gd name="connsiteX27" fmla="*/ 285367 w 501988"/>
                  <a:gd name="connsiteY27" fmla="*/ 25519 h 292390"/>
                  <a:gd name="connsiteX28" fmla="*/ 316524 w 501988"/>
                  <a:gd name="connsiteY28" fmla="*/ 30214 h 292390"/>
                  <a:gd name="connsiteX29" fmla="*/ 321353 w 501988"/>
                  <a:gd name="connsiteY29" fmla="*/ 10348 h 292390"/>
                  <a:gd name="connsiteX30" fmla="*/ 338904 w 501988"/>
                  <a:gd name="connsiteY30" fmla="*/ 14228 h 292390"/>
                  <a:gd name="connsiteX31" fmla="*/ 360403 w 501988"/>
                  <a:gd name="connsiteY31" fmla="*/ 1506 h 292390"/>
                  <a:gd name="connsiteX32" fmla="*/ 399651 w 501988"/>
                  <a:gd name="connsiteY32" fmla="*/ 1439 h 292390"/>
                  <a:gd name="connsiteX33" fmla="*/ 386862 w 501988"/>
                  <a:gd name="connsiteY33" fmla="*/ 17425 h 292390"/>
                  <a:gd name="connsiteX34" fmla="*/ 380468 w 501988"/>
                  <a:gd name="connsiteY34" fmla="*/ 36609 h 292390"/>
                  <a:gd name="connsiteX35" fmla="*/ 370876 w 501988"/>
                  <a:gd name="connsiteY35" fmla="*/ 43003 h 292390"/>
                  <a:gd name="connsiteX36" fmla="*/ 361284 w 501988"/>
                  <a:gd name="connsiteY36" fmla="*/ 52595 h 292390"/>
                  <a:gd name="connsiteX37" fmla="*/ 351693 w 501988"/>
                  <a:gd name="connsiteY37" fmla="*/ 55792 h 292390"/>
                  <a:gd name="connsiteX38" fmla="*/ 335707 w 501988"/>
                  <a:gd name="connsiteY38" fmla="*/ 65383 h 292390"/>
                  <a:gd name="connsiteX39" fmla="*/ 319721 w 501988"/>
                  <a:gd name="connsiteY39" fmla="*/ 74975 h 292390"/>
                  <a:gd name="connsiteX40" fmla="*/ 306932 w 501988"/>
                  <a:gd name="connsiteY40" fmla="*/ 90961 h 292390"/>
                  <a:gd name="connsiteX41" fmla="*/ 316524 w 501988"/>
                  <a:gd name="connsiteY41" fmla="*/ 97355 h 292390"/>
                  <a:gd name="connsiteX42" fmla="*/ 322918 w 501988"/>
                  <a:gd name="connsiteY42" fmla="*/ 103750 h 292390"/>
                  <a:gd name="connsiteX43" fmla="*/ 326115 w 501988"/>
                  <a:gd name="connsiteY43" fmla="*/ 113341 h 292390"/>
                  <a:gd name="connsiteX44" fmla="*/ 332510 w 501988"/>
                  <a:gd name="connsiteY44" fmla="*/ 119736 h 292390"/>
                  <a:gd name="connsiteX45" fmla="*/ 351693 w 501988"/>
                  <a:gd name="connsiteY45" fmla="*/ 129327 h 292390"/>
                  <a:gd name="connsiteX46" fmla="*/ 364482 w 501988"/>
                  <a:gd name="connsiteY46" fmla="*/ 142116 h 292390"/>
                  <a:gd name="connsiteX47" fmla="*/ 370876 w 501988"/>
                  <a:gd name="connsiteY47" fmla="*/ 148511 h 292390"/>
                  <a:gd name="connsiteX48" fmla="*/ 390059 w 501988"/>
                  <a:gd name="connsiteY48" fmla="*/ 161299 h 292390"/>
                  <a:gd name="connsiteX49" fmla="*/ 393256 w 501988"/>
                  <a:gd name="connsiteY49" fmla="*/ 170891 h 292390"/>
                  <a:gd name="connsiteX50" fmla="*/ 402848 w 501988"/>
                  <a:gd name="connsiteY50" fmla="*/ 174088 h 292390"/>
                  <a:gd name="connsiteX51" fmla="*/ 409242 w 501988"/>
                  <a:gd name="connsiteY51" fmla="*/ 180483 h 292390"/>
                  <a:gd name="connsiteX52" fmla="*/ 418834 w 501988"/>
                  <a:gd name="connsiteY52" fmla="*/ 183680 h 292390"/>
                  <a:gd name="connsiteX53" fmla="*/ 428426 w 501988"/>
                  <a:gd name="connsiteY53" fmla="*/ 190074 h 292390"/>
                  <a:gd name="connsiteX54" fmla="*/ 447609 w 501988"/>
                  <a:gd name="connsiteY54" fmla="*/ 215652 h 292390"/>
                  <a:gd name="connsiteX55" fmla="*/ 457200 w 501988"/>
                  <a:gd name="connsiteY55" fmla="*/ 218849 h 292390"/>
                  <a:gd name="connsiteX56" fmla="*/ 463595 w 501988"/>
                  <a:gd name="connsiteY56" fmla="*/ 225244 h 292390"/>
                  <a:gd name="connsiteX57" fmla="*/ 482778 w 501988"/>
                  <a:gd name="connsiteY57" fmla="*/ 231638 h 292390"/>
                  <a:gd name="connsiteX58" fmla="*/ 485975 w 501988"/>
                  <a:gd name="connsiteY58" fmla="*/ 241230 h 292390"/>
                  <a:gd name="connsiteX59" fmla="*/ 492370 w 501988"/>
                  <a:gd name="connsiteY59" fmla="*/ 247624 h 292390"/>
                  <a:gd name="connsiteX60" fmla="*/ 501961 w 501988"/>
                  <a:gd name="connsiteY60" fmla="*/ 266807 h 292390"/>
                  <a:gd name="connsiteX61" fmla="*/ 495567 w 501988"/>
                  <a:gd name="connsiteY61" fmla="*/ 292385 h 292390"/>
                  <a:gd name="connsiteX0" fmla="*/ 0 w 501988"/>
                  <a:gd name="connsiteY0" fmla="*/ 112652 h 298095"/>
                  <a:gd name="connsiteX1" fmla="*/ 12789 w 501988"/>
                  <a:gd name="connsiteY1" fmla="*/ 87074 h 298095"/>
                  <a:gd name="connsiteX2" fmla="*/ 19184 w 501988"/>
                  <a:gd name="connsiteY2" fmla="*/ 80680 h 298095"/>
                  <a:gd name="connsiteX3" fmla="*/ 31972 w 501988"/>
                  <a:gd name="connsiteY3" fmla="*/ 77483 h 298095"/>
                  <a:gd name="connsiteX4" fmla="*/ 41564 w 501988"/>
                  <a:gd name="connsiteY4" fmla="*/ 61497 h 298095"/>
                  <a:gd name="connsiteX5" fmla="*/ 54353 w 501988"/>
                  <a:gd name="connsiteY5" fmla="*/ 48708 h 298095"/>
                  <a:gd name="connsiteX6" fmla="*/ 86325 w 501988"/>
                  <a:gd name="connsiteY6" fmla="*/ 42314 h 298095"/>
                  <a:gd name="connsiteX7" fmla="*/ 111903 w 501988"/>
                  <a:gd name="connsiteY7" fmla="*/ 48708 h 298095"/>
                  <a:gd name="connsiteX8" fmla="*/ 131086 w 501988"/>
                  <a:gd name="connsiteY8" fmla="*/ 55102 h 298095"/>
                  <a:gd name="connsiteX9" fmla="*/ 156663 w 501988"/>
                  <a:gd name="connsiteY9" fmla="*/ 61497 h 298095"/>
                  <a:gd name="connsiteX10" fmla="*/ 143875 w 501988"/>
                  <a:gd name="connsiteY10" fmla="*/ 77483 h 298095"/>
                  <a:gd name="connsiteX11" fmla="*/ 124691 w 501988"/>
                  <a:gd name="connsiteY11" fmla="*/ 83877 h 298095"/>
                  <a:gd name="connsiteX12" fmla="*/ 121494 w 501988"/>
                  <a:gd name="connsiteY12" fmla="*/ 103060 h 298095"/>
                  <a:gd name="connsiteX13" fmla="*/ 131086 w 501988"/>
                  <a:gd name="connsiteY13" fmla="*/ 106258 h 298095"/>
                  <a:gd name="connsiteX14" fmla="*/ 143875 w 501988"/>
                  <a:gd name="connsiteY14" fmla="*/ 109455 h 298095"/>
                  <a:gd name="connsiteX15" fmla="*/ 163058 w 501988"/>
                  <a:gd name="connsiteY15" fmla="*/ 115849 h 298095"/>
                  <a:gd name="connsiteX16" fmla="*/ 163058 w 501988"/>
                  <a:gd name="connsiteY16" fmla="*/ 147821 h 298095"/>
                  <a:gd name="connsiteX17" fmla="*/ 166255 w 501988"/>
                  <a:gd name="connsiteY17" fmla="*/ 138230 h 298095"/>
                  <a:gd name="connsiteX18" fmla="*/ 185438 w 501988"/>
                  <a:gd name="connsiteY18" fmla="*/ 135032 h 298095"/>
                  <a:gd name="connsiteX19" fmla="*/ 262171 w 501988"/>
                  <a:gd name="connsiteY19" fmla="*/ 131835 h 298095"/>
                  <a:gd name="connsiteX20" fmla="*/ 271763 w 501988"/>
                  <a:gd name="connsiteY20" fmla="*/ 125441 h 298095"/>
                  <a:gd name="connsiteX21" fmla="*/ 284551 w 501988"/>
                  <a:gd name="connsiteY21" fmla="*/ 109455 h 298095"/>
                  <a:gd name="connsiteX22" fmla="*/ 281354 w 501988"/>
                  <a:gd name="connsiteY22" fmla="*/ 99863 h 298095"/>
                  <a:gd name="connsiteX23" fmla="*/ 236593 w 501988"/>
                  <a:gd name="connsiteY23" fmla="*/ 90272 h 298095"/>
                  <a:gd name="connsiteX24" fmla="*/ 223805 w 501988"/>
                  <a:gd name="connsiteY24" fmla="*/ 87074 h 298095"/>
                  <a:gd name="connsiteX25" fmla="*/ 236593 w 501988"/>
                  <a:gd name="connsiteY25" fmla="*/ 61497 h 298095"/>
                  <a:gd name="connsiteX26" fmla="*/ 236660 w 501988"/>
                  <a:gd name="connsiteY26" fmla="*/ 45577 h 298095"/>
                  <a:gd name="connsiteX27" fmla="*/ 285367 w 501988"/>
                  <a:gd name="connsiteY27" fmla="*/ 31224 h 298095"/>
                  <a:gd name="connsiteX28" fmla="*/ 316524 w 501988"/>
                  <a:gd name="connsiteY28" fmla="*/ 35919 h 298095"/>
                  <a:gd name="connsiteX29" fmla="*/ 321353 w 501988"/>
                  <a:gd name="connsiteY29" fmla="*/ 16053 h 298095"/>
                  <a:gd name="connsiteX30" fmla="*/ 338904 w 501988"/>
                  <a:gd name="connsiteY30" fmla="*/ 19933 h 298095"/>
                  <a:gd name="connsiteX31" fmla="*/ 360403 w 501988"/>
                  <a:gd name="connsiteY31" fmla="*/ 7211 h 298095"/>
                  <a:gd name="connsiteX32" fmla="*/ 399651 w 501988"/>
                  <a:gd name="connsiteY32" fmla="*/ 0 h 298095"/>
                  <a:gd name="connsiteX33" fmla="*/ 386862 w 501988"/>
                  <a:gd name="connsiteY33" fmla="*/ 23130 h 298095"/>
                  <a:gd name="connsiteX34" fmla="*/ 380468 w 501988"/>
                  <a:gd name="connsiteY34" fmla="*/ 42314 h 298095"/>
                  <a:gd name="connsiteX35" fmla="*/ 370876 w 501988"/>
                  <a:gd name="connsiteY35" fmla="*/ 48708 h 298095"/>
                  <a:gd name="connsiteX36" fmla="*/ 361284 w 501988"/>
                  <a:gd name="connsiteY36" fmla="*/ 58300 h 298095"/>
                  <a:gd name="connsiteX37" fmla="*/ 351693 w 501988"/>
                  <a:gd name="connsiteY37" fmla="*/ 61497 h 298095"/>
                  <a:gd name="connsiteX38" fmla="*/ 335707 w 501988"/>
                  <a:gd name="connsiteY38" fmla="*/ 71088 h 298095"/>
                  <a:gd name="connsiteX39" fmla="*/ 319721 w 501988"/>
                  <a:gd name="connsiteY39" fmla="*/ 80680 h 298095"/>
                  <a:gd name="connsiteX40" fmla="*/ 306932 w 501988"/>
                  <a:gd name="connsiteY40" fmla="*/ 96666 h 298095"/>
                  <a:gd name="connsiteX41" fmla="*/ 316524 w 501988"/>
                  <a:gd name="connsiteY41" fmla="*/ 103060 h 298095"/>
                  <a:gd name="connsiteX42" fmla="*/ 322918 w 501988"/>
                  <a:gd name="connsiteY42" fmla="*/ 109455 h 298095"/>
                  <a:gd name="connsiteX43" fmla="*/ 326115 w 501988"/>
                  <a:gd name="connsiteY43" fmla="*/ 119046 h 298095"/>
                  <a:gd name="connsiteX44" fmla="*/ 332510 w 501988"/>
                  <a:gd name="connsiteY44" fmla="*/ 125441 h 298095"/>
                  <a:gd name="connsiteX45" fmla="*/ 351693 w 501988"/>
                  <a:gd name="connsiteY45" fmla="*/ 135032 h 298095"/>
                  <a:gd name="connsiteX46" fmla="*/ 364482 w 501988"/>
                  <a:gd name="connsiteY46" fmla="*/ 147821 h 298095"/>
                  <a:gd name="connsiteX47" fmla="*/ 370876 w 501988"/>
                  <a:gd name="connsiteY47" fmla="*/ 154216 h 298095"/>
                  <a:gd name="connsiteX48" fmla="*/ 390059 w 501988"/>
                  <a:gd name="connsiteY48" fmla="*/ 167004 h 298095"/>
                  <a:gd name="connsiteX49" fmla="*/ 393256 w 501988"/>
                  <a:gd name="connsiteY49" fmla="*/ 176596 h 298095"/>
                  <a:gd name="connsiteX50" fmla="*/ 402848 w 501988"/>
                  <a:gd name="connsiteY50" fmla="*/ 179793 h 298095"/>
                  <a:gd name="connsiteX51" fmla="*/ 409242 w 501988"/>
                  <a:gd name="connsiteY51" fmla="*/ 186188 h 298095"/>
                  <a:gd name="connsiteX52" fmla="*/ 418834 w 501988"/>
                  <a:gd name="connsiteY52" fmla="*/ 189385 h 298095"/>
                  <a:gd name="connsiteX53" fmla="*/ 428426 w 501988"/>
                  <a:gd name="connsiteY53" fmla="*/ 195779 h 298095"/>
                  <a:gd name="connsiteX54" fmla="*/ 447609 w 501988"/>
                  <a:gd name="connsiteY54" fmla="*/ 221357 h 298095"/>
                  <a:gd name="connsiteX55" fmla="*/ 457200 w 501988"/>
                  <a:gd name="connsiteY55" fmla="*/ 224554 h 298095"/>
                  <a:gd name="connsiteX56" fmla="*/ 463595 w 501988"/>
                  <a:gd name="connsiteY56" fmla="*/ 230949 h 298095"/>
                  <a:gd name="connsiteX57" fmla="*/ 482778 w 501988"/>
                  <a:gd name="connsiteY57" fmla="*/ 237343 h 298095"/>
                  <a:gd name="connsiteX58" fmla="*/ 485975 w 501988"/>
                  <a:gd name="connsiteY58" fmla="*/ 246935 h 298095"/>
                  <a:gd name="connsiteX59" fmla="*/ 492370 w 501988"/>
                  <a:gd name="connsiteY59" fmla="*/ 253329 h 298095"/>
                  <a:gd name="connsiteX60" fmla="*/ 501961 w 501988"/>
                  <a:gd name="connsiteY60" fmla="*/ 272512 h 298095"/>
                  <a:gd name="connsiteX61" fmla="*/ 495567 w 501988"/>
                  <a:gd name="connsiteY61" fmla="*/ 298090 h 298095"/>
                  <a:gd name="connsiteX0" fmla="*/ 0 w 501988"/>
                  <a:gd name="connsiteY0" fmla="*/ 112652 h 298095"/>
                  <a:gd name="connsiteX1" fmla="*/ 12789 w 501988"/>
                  <a:gd name="connsiteY1" fmla="*/ 87074 h 298095"/>
                  <a:gd name="connsiteX2" fmla="*/ 19184 w 501988"/>
                  <a:gd name="connsiteY2" fmla="*/ 80680 h 298095"/>
                  <a:gd name="connsiteX3" fmla="*/ 31972 w 501988"/>
                  <a:gd name="connsiteY3" fmla="*/ 77483 h 298095"/>
                  <a:gd name="connsiteX4" fmla="*/ 41564 w 501988"/>
                  <a:gd name="connsiteY4" fmla="*/ 61497 h 298095"/>
                  <a:gd name="connsiteX5" fmla="*/ 54353 w 501988"/>
                  <a:gd name="connsiteY5" fmla="*/ 48708 h 298095"/>
                  <a:gd name="connsiteX6" fmla="*/ 86325 w 501988"/>
                  <a:gd name="connsiteY6" fmla="*/ 42314 h 298095"/>
                  <a:gd name="connsiteX7" fmla="*/ 111903 w 501988"/>
                  <a:gd name="connsiteY7" fmla="*/ 48708 h 298095"/>
                  <a:gd name="connsiteX8" fmla="*/ 131086 w 501988"/>
                  <a:gd name="connsiteY8" fmla="*/ 55102 h 298095"/>
                  <a:gd name="connsiteX9" fmla="*/ 156663 w 501988"/>
                  <a:gd name="connsiteY9" fmla="*/ 61497 h 298095"/>
                  <a:gd name="connsiteX10" fmla="*/ 143875 w 501988"/>
                  <a:gd name="connsiteY10" fmla="*/ 77483 h 298095"/>
                  <a:gd name="connsiteX11" fmla="*/ 124691 w 501988"/>
                  <a:gd name="connsiteY11" fmla="*/ 83877 h 298095"/>
                  <a:gd name="connsiteX12" fmla="*/ 121494 w 501988"/>
                  <a:gd name="connsiteY12" fmla="*/ 103060 h 298095"/>
                  <a:gd name="connsiteX13" fmla="*/ 131086 w 501988"/>
                  <a:gd name="connsiteY13" fmla="*/ 106258 h 298095"/>
                  <a:gd name="connsiteX14" fmla="*/ 143875 w 501988"/>
                  <a:gd name="connsiteY14" fmla="*/ 109455 h 298095"/>
                  <a:gd name="connsiteX15" fmla="*/ 163058 w 501988"/>
                  <a:gd name="connsiteY15" fmla="*/ 115849 h 298095"/>
                  <a:gd name="connsiteX16" fmla="*/ 163058 w 501988"/>
                  <a:gd name="connsiteY16" fmla="*/ 147821 h 298095"/>
                  <a:gd name="connsiteX17" fmla="*/ 166255 w 501988"/>
                  <a:gd name="connsiteY17" fmla="*/ 138230 h 298095"/>
                  <a:gd name="connsiteX18" fmla="*/ 185438 w 501988"/>
                  <a:gd name="connsiteY18" fmla="*/ 135032 h 298095"/>
                  <a:gd name="connsiteX19" fmla="*/ 262171 w 501988"/>
                  <a:gd name="connsiteY19" fmla="*/ 117548 h 298095"/>
                  <a:gd name="connsiteX20" fmla="*/ 271763 w 501988"/>
                  <a:gd name="connsiteY20" fmla="*/ 125441 h 298095"/>
                  <a:gd name="connsiteX21" fmla="*/ 284551 w 501988"/>
                  <a:gd name="connsiteY21" fmla="*/ 109455 h 298095"/>
                  <a:gd name="connsiteX22" fmla="*/ 281354 w 501988"/>
                  <a:gd name="connsiteY22" fmla="*/ 99863 h 298095"/>
                  <a:gd name="connsiteX23" fmla="*/ 236593 w 501988"/>
                  <a:gd name="connsiteY23" fmla="*/ 90272 h 298095"/>
                  <a:gd name="connsiteX24" fmla="*/ 223805 w 501988"/>
                  <a:gd name="connsiteY24" fmla="*/ 87074 h 298095"/>
                  <a:gd name="connsiteX25" fmla="*/ 236593 w 501988"/>
                  <a:gd name="connsiteY25" fmla="*/ 61497 h 298095"/>
                  <a:gd name="connsiteX26" fmla="*/ 236660 w 501988"/>
                  <a:gd name="connsiteY26" fmla="*/ 45577 h 298095"/>
                  <a:gd name="connsiteX27" fmla="*/ 285367 w 501988"/>
                  <a:gd name="connsiteY27" fmla="*/ 31224 h 298095"/>
                  <a:gd name="connsiteX28" fmla="*/ 316524 w 501988"/>
                  <a:gd name="connsiteY28" fmla="*/ 35919 h 298095"/>
                  <a:gd name="connsiteX29" fmla="*/ 321353 w 501988"/>
                  <a:gd name="connsiteY29" fmla="*/ 16053 h 298095"/>
                  <a:gd name="connsiteX30" fmla="*/ 338904 w 501988"/>
                  <a:gd name="connsiteY30" fmla="*/ 19933 h 298095"/>
                  <a:gd name="connsiteX31" fmla="*/ 360403 w 501988"/>
                  <a:gd name="connsiteY31" fmla="*/ 7211 h 298095"/>
                  <a:gd name="connsiteX32" fmla="*/ 399651 w 501988"/>
                  <a:gd name="connsiteY32" fmla="*/ 0 h 298095"/>
                  <a:gd name="connsiteX33" fmla="*/ 386862 w 501988"/>
                  <a:gd name="connsiteY33" fmla="*/ 23130 h 298095"/>
                  <a:gd name="connsiteX34" fmla="*/ 380468 w 501988"/>
                  <a:gd name="connsiteY34" fmla="*/ 42314 h 298095"/>
                  <a:gd name="connsiteX35" fmla="*/ 370876 w 501988"/>
                  <a:gd name="connsiteY35" fmla="*/ 48708 h 298095"/>
                  <a:gd name="connsiteX36" fmla="*/ 361284 w 501988"/>
                  <a:gd name="connsiteY36" fmla="*/ 58300 h 298095"/>
                  <a:gd name="connsiteX37" fmla="*/ 351693 w 501988"/>
                  <a:gd name="connsiteY37" fmla="*/ 61497 h 298095"/>
                  <a:gd name="connsiteX38" fmla="*/ 335707 w 501988"/>
                  <a:gd name="connsiteY38" fmla="*/ 71088 h 298095"/>
                  <a:gd name="connsiteX39" fmla="*/ 319721 w 501988"/>
                  <a:gd name="connsiteY39" fmla="*/ 80680 h 298095"/>
                  <a:gd name="connsiteX40" fmla="*/ 306932 w 501988"/>
                  <a:gd name="connsiteY40" fmla="*/ 96666 h 298095"/>
                  <a:gd name="connsiteX41" fmla="*/ 316524 w 501988"/>
                  <a:gd name="connsiteY41" fmla="*/ 103060 h 298095"/>
                  <a:gd name="connsiteX42" fmla="*/ 322918 w 501988"/>
                  <a:gd name="connsiteY42" fmla="*/ 109455 h 298095"/>
                  <a:gd name="connsiteX43" fmla="*/ 326115 w 501988"/>
                  <a:gd name="connsiteY43" fmla="*/ 119046 h 298095"/>
                  <a:gd name="connsiteX44" fmla="*/ 332510 w 501988"/>
                  <a:gd name="connsiteY44" fmla="*/ 125441 h 298095"/>
                  <a:gd name="connsiteX45" fmla="*/ 351693 w 501988"/>
                  <a:gd name="connsiteY45" fmla="*/ 135032 h 298095"/>
                  <a:gd name="connsiteX46" fmla="*/ 364482 w 501988"/>
                  <a:gd name="connsiteY46" fmla="*/ 147821 h 298095"/>
                  <a:gd name="connsiteX47" fmla="*/ 370876 w 501988"/>
                  <a:gd name="connsiteY47" fmla="*/ 154216 h 298095"/>
                  <a:gd name="connsiteX48" fmla="*/ 390059 w 501988"/>
                  <a:gd name="connsiteY48" fmla="*/ 167004 h 298095"/>
                  <a:gd name="connsiteX49" fmla="*/ 393256 w 501988"/>
                  <a:gd name="connsiteY49" fmla="*/ 176596 h 298095"/>
                  <a:gd name="connsiteX50" fmla="*/ 402848 w 501988"/>
                  <a:gd name="connsiteY50" fmla="*/ 179793 h 298095"/>
                  <a:gd name="connsiteX51" fmla="*/ 409242 w 501988"/>
                  <a:gd name="connsiteY51" fmla="*/ 186188 h 298095"/>
                  <a:gd name="connsiteX52" fmla="*/ 418834 w 501988"/>
                  <a:gd name="connsiteY52" fmla="*/ 189385 h 298095"/>
                  <a:gd name="connsiteX53" fmla="*/ 428426 w 501988"/>
                  <a:gd name="connsiteY53" fmla="*/ 195779 h 298095"/>
                  <a:gd name="connsiteX54" fmla="*/ 447609 w 501988"/>
                  <a:gd name="connsiteY54" fmla="*/ 221357 h 298095"/>
                  <a:gd name="connsiteX55" fmla="*/ 457200 w 501988"/>
                  <a:gd name="connsiteY55" fmla="*/ 224554 h 298095"/>
                  <a:gd name="connsiteX56" fmla="*/ 463595 w 501988"/>
                  <a:gd name="connsiteY56" fmla="*/ 230949 h 298095"/>
                  <a:gd name="connsiteX57" fmla="*/ 482778 w 501988"/>
                  <a:gd name="connsiteY57" fmla="*/ 237343 h 298095"/>
                  <a:gd name="connsiteX58" fmla="*/ 485975 w 501988"/>
                  <a:gd name="connsiteY58" fmla="*/ 246935 h 298095"/>
                  <a:gd name="connsiteX59" fmla="*/ 492370 w 501988"/>
                  <a:gd name="connsiteY59" fmla="*/ 253329 h 298095"/>
                  <a:gd name="connsiteX60" fmla="*/ 501961 w 501988"/>
                  <a:gd name="connsiteY60" fmla="*/ 272512 h 298095"/>
                  <a:gd name="connsiteX61" fmla="*/ 495567 w 501988"/>
                  <a:gd name="connsiteY61" fmla="*/ 298090 h 298095"/>
                  <a:gd name="connsiteX0" fmla="*/ 0 w 501988"/>
                  <a:gd name="connsiteY0" fmla="*/ 112652 h 298095"/>
                  <a:gd name="connsiteX1" fmla="*/ 12789 w 501988"/>
                  <a:gd name="connsiteY1" fmla="*/ 87074 h 298095"/>
                  <a:gd name="connsiteX2" fmla="*/ 19184 w 501988"/>
                  <a:gd name="connsiteY2" fmla="*/ 80680 h 298095"/>
                  <a:gd name="connsiteX3" fmla="*/ 31972 w 501988"/>
                  <a:gd name="connsiteY3" fmla="*/ 77483 h 298095"/>
                  <a:gd name="connsiteX4" fmla="*/ 41564 w 501988"/>
                  <a:gd name="connsiteY4" fmla="*/ 61497 h 298095"/>
                  <a:gd name="connsiteX5" fmla="*/ 54353 w 501988"/>
                  <a:gd name="connsiteY5" fmla="*/ 48708 h 298095"/>
                  <a:gd name="connsiteX6" fmla="*/ 86325 w 501988"/>
                  <a:gd name="connsiteY6" fmla="*/ 42314 h 298095"/>
                  <a:gd name="connsiteX7" fmla="*/ 111903 w 501988"/>
                  <a:gd name="connsiteY7" fmla="*/ 48708 h 298095"/>
                  <a:gd name="connsiteX8" fmla="*/ 131086 w 501988"/>
                  <a:gd name="connsiteY8" fmla="*/ 55102 h 298095"/>
                  <a:gd name="connsiteX9" fmla="*/ 156663 w 501988"/>
                  <a:gd name="connsiteY9" fmla="*/ 61497 h 298095"/>
                  <a:gd name="connsiteX10" fmla="*/ 143875 w 501988"/>
                  <a:gd name="connsiteY10" fmla="*/ 77483 h 298095"/>
                  <a:gd name="connsiteX11" fmla="*/ 124691 w 501988"/>
                  <a:gd name="connsiteY11" fmla="*/ 83877 h 298095"/>
                  <a:gd name="connsiteX12" fmla="*/ 121494 w 501988"/>
                  <a:gd name="connsiteY12" fmla="*/ 103060 h 298095"/>
                  <a:gd name="connsiteX13" fmla="*/ 131086 w 501988"/>
                  <a:gd name="connsiteY13" fmla="*/ 106258 h 298095"/>
                  <a:gd name="connsiteX14" fmla="*/ 143875 w 501988"/>
                  <a:gd name="connsiteY14" fmla="*/ 109455 h 298095"/>
                  <a:gd name="connsiteX15" fmla="*/ 163058 w 501988"/>
                  <a:gd name="connsiteY15" fmla="*/ 115849 h 298095"/>
                  <a:gd name="connsiteX16" fmla="*/ 163058 w 501988"/>
                  <a:gd name="connsiteY16" fmla="*/ 147821 h 298095"/>
                  <a:gd name="connsiteX17" fmla="*/ 166255 w 501988"/>
                  <a:gd name="connsiteY17" fmla="*/ 138230 h 298095"/>
                  <a:gd name="connsiteX18" fmla="*/ 185438 w 501988"/>
                  <a:gd name="connsiteY18" fmla="*/ 135032 h 298095"/>
                  <a:gd name="connsiteX19" fmla="*/ 262171 w 501988"/>
                  <a:gd name="connsiteY19" fmla="*/ 117548 h 298095"/>
                  <a:gd name="connsiteX20" fmla="*/ 271763 w 501988"/>
                  <a:gd name="connsiteY20" fmla="*/ 125441 h 298095"/>
                  <a:gd name="connsiteX21" fmla="*/ 284551 w 501988"/>
                  <a:gd name="connsiteY21" fmla="*/ 109455 h 298095"/>
                  <a:gd name="connsiteX22" fmla="*/ 281354 w 501988"/>
                  <a:gd name="connsiteY22" fmla="*/ 99863 h 298095"/>
                  <a:gd name="connsiteX23" fmla="*/ 236593 w 501988"/>
                  <a:gd name="connsiteY23" fmla="*/ 90272 h 298095"/>
                  <a:gd name="connsiteX24" fmla="*/ 223805 w 501988"/>
                  <a:gd name="connsiteY24" fmla="*/ 87074 h 298095"/>
                  <a:gd name="connsiteX25" fmla="*/ 236593 w 501988"/>
                  <a:gd name="connsiteY25" fmla="*/ 61497 h 298095"/>
                  <a:gd name="connsiteX26" fmla="*/ 236660 w 501988"/>
                  <a:gd name="connsiteY26" fmla="*/ 45577 h 298095"/>
                  <a:gd name="connsiteX27" fmla="*/ 285367 w 501988"/>
                  <a:gd name="connsiteY27" fmla="*/ 31224 h 298095"/>
                  <a:gd name="connsiteX28" fmla="*/ 316524 w 501988"/>
                  <a:gd name="connsiteY28" fmla="*/ 35919 h 298095"/>
                  <a:gd name="connsiteX29" fmla="*/ 321353 w 501988"/>
                  <a:gd name="connsiteY29" fmla="*/ 16053 h 298095"/>
                  <a:gd name="connsiteX30" fmla="*/ 338904 w 501988"/>
                  <a:gd name="connsiteY30" fmla="*/ 19933 h 298095"/>
                  <a:gd name="connsiteX31" fmla="*/ 360403 w 501988"/>
                  <a:gd name="connsiteY31" fmla="*/ 7211 h 298095"/>
                  <a:gd name="connsiteX32" fmla="*/ 399651 w 501988"/>
                  <a:gd name="connsiteY32" fmla="*/ 0 h 298095"/>
                  <a:gd name="connsiteX33" fmla="*/ 370193 w 501988"/>
                  <a:gd name="connsiteY33" fmla="*/ 32655 h 298095"/>
                  <a:gd name="connsiteX34" fmla="*/ 380468 w 501988"/>
                  <a:gd name="connsiteY34" fmla="*/ 42314 h 298095"/>
                  <a:gd name="connsiteX35" fmla="*/ 370876 w 501988"/>
                  <a:gd name="connsiteY35" fmla="*/ 48708 h 298095"/>
                  <a:gd name="connsiteX36" fmla="*/ 361284 w 501988"/>
                  <a:gd name="connsiteY36" fmla="*/ 58300 h 298095"/>
                  <a:gd name="connsiteX37" fmla="*/ 351693 w 501988"/>
                  <a:gd name="connsiteY37" fmla="*/ 61497 h 298095"/>
                  <a:gd name="connsiteX38" fmla="*/ 335707 w 501988"/>
                  <a:gd name="connsiteY38" fmla="*/ 71088 h 298095"/>
                  <a:gd name="connsiteX39" fmla="*/ 319721 w 501988"/>
                  <a:gd name="connsiteY39" fmla="*/ 80680 h 298095"/>
                  <a:gd name="connsiteX40" fmla="*/ 306932 w 501988"/>
                  <a:gd name="connsiteY40" fmla="*/ 96666 h 298095"/>
                  <a:gd name="connsiteX41" fmla="*/ 316524 w 501988"/>
                  <a:gd name="connsiteY41" fmla="*/ 103060 h 298095"/>
                  <a:gd name="connsiteX42" fmla="*/ 322918 w 501988"/>
                  <a:gd name="connsiteY42" fmla="*/ 109455 h 298095"/>
                  <a:gd name="connsiteX43" fmla="*/ 326115 w 501988"/>
                  <a:gd name="connsiteY43" fmla="*/ 119046 h 298095"/>
                  <a:gd name="connsiteX44" fmla="*/ 332510 w 501988"/>
                  <a:gd name="connsiteY44" fmla="*/ 125441 h 298095"/>
                  <a:gd name="connsiteX45" fmla="*/ 351693 w 501988"/>
                  <a:gd name="connsiteY45" fmla="*/ 135032 h 298095"/>
                  <a:gd name="connsiteX46" fmla="*/ 364482 w 501988"/>
                  <a:gd name="connsiteY46" fmla="*/ 147821 h 298095"/>
                  <a:gd name="connsiteX47" fmla="*/ 370876 w 501988"/>
                  <a:gd name="connsiteY47" fmla="*/ 154216 h 298095"/>
                  <a:gd name="connsiteX48" fmla="*/ 390059 w 501988"/>
                  <a:gd name="connsiteY48" fmla="*/ 167004 h 298095"/>
                  <a:gd name="connsiteX49" fmla="*/ 393256 w 501988"/>
                  <a:gd name="connsiteY49" fmla="*/ 176596 h 298095"/>
                  <a:gd name="connsiteX50" fmla="*/ 402848 w 501988"/>
                  <a:gd name="connsiteY50" fmla="*/ 179793 h 298095"/>
                  <a:gd name="connsiteX51" fmla="*/ 409242 w 501988"/>
                  <a:gd name="connsiteY51" fmla="*/ 186188 h 298095"/>
                  <a:gd name="connsiteX52" fmla="*/ 418834 w 501988"/>
                  <a:gd name="connsiteY52" fmla="*/ 189385 h 298095"/>
                  <a:gd name="connsiteX53" fmla="*/ 428426 w 501988"/>
                  <a:gd name="connsiteY53" fmla="*/ 195779 h 298095"/>
                  <a:gd name="connsiteX54" fmla="*/ 447609 w 501988"/>
                  <a:gd name="connsiteY54" fmla="*/ 221357 h 298095"/>
                  <a:gd name="connsiteX55" fmla="*/ 457200 w 501988"/>
                  <a:gd name="connsiteY55" fmla="*/ 224554 h 298095"/>
                  <a:gd name="connsiteX56" fmla="*/ 463595 w 501988"/>
                  <a:gd name="connsiteY56" fmla="*/ 230949 h 298095"/>
                  <a:gd name="connsiteX57" fmla="*/ 482778 w 501988"/>
                  <a:gd name="connsiteY57" fmla="*/ 237343 h 298095"/>
                  <a:gd name="connsiteX58" fmla="*/ 485975 w 501988"/>
                  <a:gd name="connsiteY58" fmla="*/ 246935 h 298095"/>
                  <a:gd name="connsiteX59" fmla="*/ 492370 w 501988"/>
                  <a:gd name="connsiteY59" fmla="*/ 253329 h 298095"/>
                  <a:gd name="connsiteX60" fmla="*/ 501961 w 501988"/>
                  <a:gd name="connsiteY60" fmla="*/ 272512 h 298095"/>
                  <a:gd name="connsiteX61" fmla="*/ 495567 w 501988"/>
                  <a:gd name="connsiteY61" fmla="*/ 298090 h 298095"/>
                  <a:gd name="connsiteX0" fmla="*/ 0 w 501988"/>
                  <a:gd name="connsiteY0" fmla="*/ 105467 h 290910"/>
                  <a:gd name="connsiteX1" fmla="*/ 12789 w 501988"/>
                  <a:gd name="connsiteY1" fmla="*/ 79889 h 290910"/>
                  <a:gd name="connsiteX2" fmla="*/ 19184 w 501988"/>
                  <a:gd name="connsiteY2" fmla="*/ 73495 h 290910"/>
                  <a:gd name="connsiteX3" fmla="*/ 31972 w 501988"/>
                  <a:gd name="connsiteY3" fmla="*/ 70298 h 290910"/>
                  <a:gd name="connsiteX4" fmla="*/ 41564 w 501988"/>
                  <a:gd name="connsiteY4" fmla="*/ 54312 h 290910"/>
                  <a:gd name="connsiteX5" fmla="*/ 54353 w 501988"/>
                  <a:gd name="connsiteY5" fmla="*/ 41523 h 290910"/>
                  <a:gd name="connsiteX6" fmla="*/ 86325 w 501988"/>
                  <a:gd name="connsiteY6" fmla="*/ 35129 h 290910"/>
                  <a:gd name="connsiteX7" fmla="*/ 111903 w 501988"/>
                  <a:gd name="connsiteY7" fmla="*/ 41523 h 290910"/>
                  <a:gd name="connsiteX8" fmla="*/ 131086 w 501988"/>
                  <a:gd name="connsiteY8" fmla="*/ 47917 h 290910"/>
                  <a:gd name="connsiteX9" fmla="*/ 156663 w 501988"/>
                  <a:gd name="connsiteY9" fmla="*/ 54312 h 290910"/>
                  <a:gd name="connsiteX10" fmla="*/ 143875 w 501988"/>
                  <a:gd name="connsiteY10" fmla="*/ 70298 h 290910"/>
                  <a:gd name="connsiteX11" fmla="*/ 124691 w 501988"/>
                  <a:gd name="connsiteY11" fmla="*/ 76692 h 290910"/>
                  <a:gd name="connsiteX12" fmla="*/ 121494 w 501988"/>
                  <a:gd name="connsiteY12" fmla="*/ 95875 h 290910"/>
                  <a:gd name="connsiteX13" fmla="*/ 131086 w 501988"/>
                  <a:gd name="connsiteY13" fmla="*/ 99073 h 290910"/>
                  <a:gd name="connsiteX14" fmla="*/ 143875 w 501988"/>
                  <a:gd name="connsiteY14" fmla="*/ 102270 h 290910"/>
                  <a:gd name="connsiteX15" fmla="*/ 163058 w 501988"/>
                  <a:gd name="connsiteY15" fmla="*/ 108664 h 290910"/>
                  <a:gd name="connsiteX16" fmla="*/ 163058 w 501988"/>
                  <a:gd name="connsiteY16" fmla="*/ 140636 h 290910"/>
                  <a:gd name="connsiteX17" fmla="*/ 166255 w 501988"/>
                  <a:gd name="connsiteY17" fmla="*/ 131045 h 290910"/>
                  <a:gd name="connsiteX18" fmla="*/ 185438 w 501988"/>
                  <a:gd name="connsiteY18" fmla="*/ 127847 h 290910"/>
                  <a:gd name="connsiteX19" fmla="*/ 262171 w 501988"/>
                  <a:gd name="connsiteY19" fmla="*/ 110363 h 290910"/>
                  <a:gd name="connsiteX20" fmla="*/ 271763 w 501988"/>
                  <a:gd name="connsiteY20" fmla="*/ 118256 h 290910"/>
                  <a:gd name="connsiteX21" fmla="*/ 284551 w 501988"/>
                  <a:gd name="connsiteY21" fmla="*/ 102270 h 290910"/>
                  <a:gd name="connsiteX22" fmla="*/ 281354 w 501988"/>
                  <a:gd name="connsiteY22" fmla="*/ 92678 h 290910"/>
                  <a:gd name="connsiteX23" fmla="*/ 236593 w 501988"/>
                  <a:gd name="connsiteY23" fmla="*/ 83087 h 290910"/>
                  <a:gd name="connsiteX24" fmla="*/ 223805 w 501988"/>
                  <a:gd name="connsiteY24" fmla="*/ 79889 h 290910"/>
                  <a:gd name="connsiteX25" fmla="*/ 236593 w 501988"/>
                  <a:gd name="connsiteY25" fmla="*/ 54312 h 290910"/>
                  <a:gd name="connsiteX26" fmla="*/ 236660 w 501988"/>
                  <a:gd name="connsiteY26" fmla="*/ 38392 h 290910"/>
                  <a:gd name="connsiteX27" fmla="*/ 285367 w 501988"/>
                  <a:gd name="connsiteY27" fmla="*/ 24039 h 290910"/>
                  <a:gd name="connsiteX28" fmla="*/ 316524 w 501988"/>
                  <a:gd name="connsiteY28" fmla="*/ 28734 h 290910"/>
                  <a:gd name="connsiteX29" fmla="*/ 321353 w 501988"/>
                  <a:gd name="connsiteY29" fmla="*/ 8868 h 290910"/>
                  <a:gd name="connsiteX30" fmla="*/ 338904 w 501988"/>
                  <a:gd name="connsiteY30" fmla="*/ 12748 h 290910"/>
                  <a:gd name="connsiteX31" fmla="*/ 360403 w 501988"/>
                  <a:gd name="connsiteY31" fmla="*/ 26 h 290910"/>
                  <a:gd name="connsiteX32" fmla="*/ 366314 w 501988"/>
                  <a:gd name="connsiteY32" fmla="*/ 16628 h 290910"/>
                  <a:gd name="connsiteX33" fmla="*/ 370193 w 501988"/>
                  <a:gd name="connsiteY33" fmla="*/ 25470 h 290910"/>
                  <a:gd name="connsiteX34" fmla="*/ 380468 w 501988"/>
                  <a:gd name="connsiteY34" fmla="*/ 35129 h 290910"/>
                  <a:gd name="connsiteX35" fmla="*/ 370876 w 501988"/>
                  <a:gd name="connsiteY35" fmla="*/ 41523 h 290910"/>
                  <a:gd name="connsiteX36" fmla="*/ 361284 w 501988"/>
                  <a:gd name="connsiteY36" fmla="*/ 51115 h 290910"/>
                  <a:gd name="connsiteX37" fmla="*/ 351693 w 501988"/>
                  <a:gd name="connsiteY37" fmla="*/ 54312 h 290910"/>
                  <a:gd name="connsiteX38" fmla="*/ 335707 w 501988"/>
                  <a:gd name="connsiteY38" fmla="*/ 63903 h 290910"/>
                  <a:gd name="connsiteX39" fmla="*/ 319721 w 501988"/>
                  <a:gd name="connsiteY39" fmla="*/ 73495 h 290910"/>
                  <a:gd name="connsiteX40" fmla="*/ 306932 w 501988"/>
                  <a:gd name="connsiteY40" fmla="*/ 89481 h 290910"/>
                  <a:gd name="connsiteX41" fmla="*/ 316524 w 501988"/>
                  <a:gd name="connsiteY41" fmla="*/ 95875 h 290910"/>
                  <a:gd name="connsiteX42" fmla="*/ 322918 w 501988"/>
                  <a:gd name="connsiteY42" fmla="*/ 102270 h 290910"/>
                  <a:gd name="connsiteX43" fmla="*/ 326115 w 501988"/>
                  <a:gd name="connsiteY43" fmla="*/ 111861 h 290910"/>
                  <a:gd name="connsiteX44" fmla="*/ 332510 w 501988"/>
                  <a:gd name="connsiteY44" fmla="*/ 118256 h 290910"/>
                  <a:gd name="connsiteX45" fmla="*/ 351693 w 501988"/>
                  <a:gd name="connsiteY45" fmla="*/ 127847 h 290910"/>
                  <a:gd name="connsiteX46" fmla="*/ 364482 w 501988"/>
                  <a:gd name="connsiteY46" fmla="*/ 140636 h 290910"/>
                  <a:gd name="connsiteX47" fmla="*/ 370876 w 501988"/>
                  <a:gd name="connsiteY47" fmla="*/ 147031 h 290910"/>
                  <a:gd name="connsiteX48" fmla="*/ 390059 w 501988"/>
                  <a:gd name="connsiteY48" fmla="*/ 159819 h 290910"/>
                  <a:gd name="connsiteX49" fmla="*/ 393256 w 501988"/>
                  <a:gd name="connsiteY49" fmla="*/ 169411 h 290910"/>
                  <a:gd name="connsiteX50" fmla="*/ 402848 w 501988"/>
                  <a:gd name="connsiteY50" fmla="*/ 172608 h 290910"/>
                  <a:gd name="connsiteX51" fmla="*/ 409242 w 501988"/>
                  <a:gd name="connsiteY51" fmla="*/ 179003 h 290910"/>
                  <a:gd name="connsiteX52" fmla="*/ 418834 w 501988"/>
                  <a:gd name="connsiteY52" fmla="*/ 182200 h 290910"/>
                  <a:gd name="connsiteX53" fmla="*/ 428426 w 501988"/>
                  <a:gd name="connsiteY53" fmla="*/ 188594 h 290910"/>
                  <a:gd name="connsiteX54" fmla="*/ 447609 w 501988"/>
                  <a:gd name="connsiteY54" fmla="*/ 214172 h 290910"/>
                  <a:gd name="connsiteX55" fmla="*/ 457200 w 501988"/>
                  <a:gd name="connsiteY55" fmla="*/ 217369 h 290910"/>
                  <a:gd name="connsiteX56" fmla="*/ 463595 w 501988"/>
                  <a:gd name="connsiteY56" fmla="*/ 223764 h 290910"/>
                  <a:gd name="connsiteX57" fmla="*/ 482778 w 501988"/>
                  <a:gd name="connsiteY57" fmla="*/ 230158 h 290910"/>
                  <a:gd name="connsiteX58" fmla="*/ 485975 w 501988"/>
                  <a:gd name="connsiteY58" fmla="*/ 239750 h 290910"/>
                  <a:gd name="connsiteX59" fmla="*/ 492370 w 501988"/>
                  <a:gd name="connsiteY59" fmla="*/ 246144 h 290910"/>
                  <a:gd name="connsiteX60" fmla="*/ 501961 w 501988"/>
                  <a:gd name="connsiteY60" fmla="*/ 265327 h 290910"/>
                  <a:gd name="connsiteX61" fmla="*/ 495567 w 501988"/>
                  <a:gd name="connsiteY61" fmla="*/ 290905 h 290910"/>
                  <a:gd name="connsiteX0" fmla="*/ 0 w 501988"/>
                  <a:gd name="connsiteY0" fmla="*/ 122121 h 307564"/>
                  <a:gd name="connsiteX1" fmla="*/ 12789 w 501988"/>
                  <a:gd name="connsiteY1" fmla="*/ 96543 h 307564"/>
                  <a:gd name="connsiteX2" fmla="*/ 19184 w 501988"/>
                  <a:gd name="connsiteY2" fmla="*/ 90149 h 307564"/>
                  <a:gd name="connsiteX3" fmla="*/ 31972 w 501988"/>
                  <a:gd name="connsiteY3" fmla="*/ 86952 h 307564"/>
                  <a:gd name="connsiteX4" fmla="*/ 41564 w 501988"/>
                  <a:gd name="connsiteY4" fmla="*/ 70966 h 307564"/>
                  <a:gd name="connsiteX5" fmla="*/ 54353 w 501988"/>
                  <a:gd name="connsiteY5" fmla="*/ 58177 h 307564"/>
                  <a:gd name="connsiteX6" fmla="*/ 86325 w 501988"/>
                  <a:gd name="connsiteY6" fmla="*/ 51783 h 307564"/>
                  <a:gd name="connsiteX7" fmla="*/ 111903 w 501988"/>
                  <a:gd name="connsiteY7" fmla="*/ 58177 h 307564"/>
                  <a:gd name="connsiteX8" fmla="*/ 131086 w 501988"/>
                  <a:gd name="connsiteY8" fmla="*/ 64571 h 307564"/>
                  <a:gd name="connsiteX9" fmla="*/ 156663 w 501988"/>
                  <a:gd name="connsiteY9" fmla="*/ 70966 h 307564"/>
                  <a:gd name="connsiteX10" fmla="*/ 143875 w 501988"/>
                  <a:gd name="connsiteY10" fmla="*/ 86952 h 307564"/>
                  <a:gd name="connsiteX11" fmla="*/ 124691 w 501988"/>
                  <a:gd name="connsiteY11" fmla="*/ 93346 h 307564"/>
                  <a:gd name="connsiteX12" fmla="*/ 121494 w 501988"/>
                  <a:gd name="connsiteY12" fmla="*/ 112529 h 307564"/>
                  <a:gd name="connsiteX13" fmla="*/ 131086 w 501988"/>
                  <a:gd name="connsiteY13" fmla="*/ 115727 h 307564"/>
                  <a:gd name="connsiteX14" fmla="*/ 143875 w 501988"/>
                  <a:gd name="connsiteY14" fmla="*/ 118924 h 307564"/>
                  <a:gd name="connsiteX15" fmla="*/ 163058 w 501988"/>
                  <a:gd name="connsiteY15" fmla="*/ 125318 h 307564"/>
                  <a:gd name="connsiteX16" fmla="*/ 163058 w 501988"/>
                  <a:gd name="connsiteY16" fmla="*/ 157290 h 307564"/>
                  <a:gd name="connsiteX17" fmla="*/ 166255 w 501988"/>
                  <a:gd name="connsiteY17" fmla="*/ 147699 h 307564"/>
                  <a:gd name="connsiteX18" fmla="*/ 185438 w 501988"/>
                  <a:gd name="connsiteY18" fmla="*/ 144501 h 307564"/>
                  <a:gd name="connsiteX19" fmla="*/ 262171 w 501988"/>
                  <a:gd name="connsiteY19" fmla="*/ 127017 h 307564"/>
                  <a:gd name="connsiteX20" fmla="*/ 271763 w 501988"/>
                  <a:gd name="connsiteY20" fmla="*/ 134910 h 307564"/>
                  <a:gd name="connsiteX21" fmla="*/ 284551 w 501988"/>
                  <a:gd name="connsiteY21" fmla="*/ 118924 h 307564"/>
                  <a:gd name="connsiteX22" fmla="*/ 281354 w 501988"/>
                  <a:gd name="connsiteY22" fmla="*/ 109332 h 307564"/>
                  <a:gd name="connsiteX23" fmla="*/ 236593 w 501988"/>
                  <a:gd name="connsiteY23" fmla="*/ 99741 h 307564"/>
                  <a:gd name="connsiteX24" fmla="*/ 223805 w 501988"/>
                  <a:gd name="connsiteY24" fmla="*/ 96543 h 307564"/>
                  <a:gd name="connsiteX25" fmla="*/ 236593 w 501988"/>
                  <a:gd name="connsiteY25" fmla="*/ 70966 h 307564"/>
                  <a:gd name="connsiteX26" fmla="*/ 236660 w 501988"/>
                  <a:gd name="connsiteY26" fmla="*/ 55046 h 307564"/>
                  <a:gd name="connsiteX27" fmla="*/ 285367 w 501988"/>
                  <a:gd name="connsiteY27" fmla="*/ 40693 h 307564"/>
                  <a:gd name="connsiteX28" fmla="*/ 316524 w 501988"/>
                  <a:gd name="connsiteY28" fmla="*/ 45388 h 307564"/>
                  <a:gd name="connsiteX29" fmla="*/ 321353 w 501988"/>
                  <a:gd name="connsiteY29" fmla="*/ 25522 h 307564"/>
                  <a:gd name="connsiteX30" fmla="*/ 338904 w 501988"/>
                  <a:gd name="connsiteY30" fmla="*/ 29402 h 307564"/>
                  <a:gd name="connsiteX31" fmla="*/ 374691 w 501988"/>
                  <a:gd name="connsiteY31" fmla="*/ 11 h 307564"/>
                  <a:gd name="connsiteX32" fmla="*/ 366314 w 501988"/>
                  <a:gd name="connsiteY32" fmla="*/ 33282 h 307564"/>
                  <a:gd name="connsiteX33" fmla="*/ 370193 w 501988"/>
                  <a:gd name="connsiteY33" fmla="*/ 42124 h 307564"/>
                  <a:gd name="connsiteX34" fmla="*/ 380468 w 501988"/>
                  <a:gd name="connsiteY34" fmla="*/ 51783 h 307564"/>
                  <a:gd name="connsiteX35" fmla="*/ 370876 w 501988"/>
                  <a:gd name="connsiteY35" fmla="*/ 58177 h 307564"/>
                  <a:gd name="connsiteX36" fmla="*/ 361284 w 501988"/>
                  <a:gd name="connsiteY36" fmla="*/ 67769 h 307564"/>
                  <a:gd name="connsiteX37" fmla="*/ 351693 w 501988"/>
                  <a:gd name="connsiteY37" fmla="*/ 70966 h 307564"/>
                  <a:gd name="connsiteX38" fmla="*/ 335707 w 501988"/>
                  <a:gd name="connsiteY38" fmla="*/ 80557 h 307564"/>
                  <a:gd name="connsiteX39" fmla="*/ 319721 w 501988"/>
                  <a:gd name="connsiteY39" fmla="*/ 90149 h 307564"/>
                  <a:gd name="connsiteX40" fmla="*/ 306932 w 501988"/>
                  <a:gd name="connsiteY40" fmla="*/ 106135 h 307564"/>
                  <a:gd name="connsiteX41" fmla="*/ 316524 w 501988"/>
                  <a:gd name="connsiteY41" fmla="*/ 112529 h 307564"/>
                  <a:gd name="connsiteX42" fmla="*/ 322918 w 501988"/>
                  <a:gd name="connsiteY42" fmla="*/ 118924 h 307564"/>
                  <a:gd name="connsiteX43" fmla="*/ 326115 w 501988"/>
                  <a:gd name="connsiteY43" fmla="*/ 128515 h 307564"/>
                  <a:gd name="connsiteX44" fmla="*/ 332510 w 501988"/>
                  <a:gd name="connsiteY44" fmla="*/ 134910 h 307564"/>
                  <a:gd name="connsiteX45" fmla="*/ 351693 w 501988"/>
                  <a:gd name="connsiteY45" fmla="*/ 144501 h 307564"/>
                  <a:gd name="connsiteX46" fmla="*/ 364482 w 501988"/>
                  <a:gd name="connsiteY46" fmla="*/ 157290 h 307564"/>
                  <a:gd name="connsiteX47" fmla="*/ 370876 w 501988"/>
                  <a:gd name="connsiteY47" fmla="*/ 163685 h 307564"/>
                  <a:gd name="connsiteX48" fmla="*/ 390059 w 501988"/>
                  <a:gd name="connsiteY48" fmla="*/ 176473 h 307564"/>
                  <a:gd name="connsiteX49" fmla="*/ 393256 w 501988"/>
                  <a:gd name="connsiteY49" fmla="*/ 186065 h 307564"/>
                  <a:gd name="connsiteX50" fmla="*/ 402848 w 501988"/>
                  <a:gd name="connsiteY50" fmla="*/ 189262 h 307564"/>
                  <a:gd name="connsiteX51" fmla="*/ 409242 w 501988"/>
                  <a:gd name="connsiteY51" fmla="*/ 195657 h 307564"/>
                  <a:gd name="connsiteX52" fmla="*/ 418834 w 501988"/>
                  <a:gd name="connsiteY52" fmla="*/ 198854 h 307564"/>
                  <a:gd name="connsiteX53" fmla="*/ 428426 w 501988"/>
                  <a:gd name="connsiteY53" fmla="*/ 205248 h 307564"/>
                  <a:gd name="connsiteX54" fmla="*/ 447609 w 501988"/>
                  <a:gd name="connsiteY54" fmla="*/ 230826 h 307564"/>
                  <a:gd name="connsiteX55" fmla="*/ 457200 w 501988"/>
                  <a:gd name="connsiteY55" fmla="*/ 234023 h 307564"/>
                  <a:gd name="connsiteX56" fmla="*/ 463595 w 501988"/>
                  <a:gd name="connsiteY56" fmla="*/ 240418 h 307564"/>
                  <a:gd name="connsiteX57" fmla="*/ 482778 w 501988"/>
                  <a:gd name="connsiteY57" fmla="*/ 246812 h 307564"/>
                  <a:gd name="connsiteX58" fmla="*/ 485975 w 501988"/>
                  <a:gd name="connsiteY58" fmla="*/ 256404 h 307564"/>
                  <a:gd name="connsiteX59" fmla="*/ 492370 w 501988"/>
                  <a:gd name="connsiteY59" fmla="*/ 262798 h 307564"/>
                  <a:gd name="connsiteX60" fmla="*/ 501961 w 501988"/>
                  <a:gd name="connsiteY60" fmla="*/ 281981 h 307564"/>
                  <a:gd name="connsiteX61" fmla="*/ 495567 w 501988"/>
                  <a:gd name="connsiteY61" fmla="*/ 307559 h 307564"/>
                  <a:gd name="connsiteX0" fmla="*/ 0 w 501988"/>
                  <a:gd name="connsiteY0" fmla="*/ 117362 h 302805"/>
                  <a:gd name="connsiteX1" fmla="*/ 12789 w 501988"/>
                  <a:gd name="connsiteY1" fmla="*/ 91784 h 302805"/>
                  <a:gd name="connsiteX2" fmla="*/ 19184 w 501988"/>
                  <a:gd name="connsiteY2" fmla="*/ 85390 h 302805"/>
                  <a:gd name="connsiteX3" fmla="*/ 31972 w 501988"/>
                  <a:gd name="connsiteY3" fmla="*/ 82193 h 302805"/>
                  <a:gd name="connsiteX4" fmla="*/ 41564 w 501988"/>
                  <a:gd name="connsiteY4" fmla="*/ 66207 h 302805"/>
                  <a:gd name="connsiteX5" fmla="*/ 54353 w 501988"/>
                  <a:gd name="connsiteY5" fmla="*/ 53418 h 302805"/>
                  <a:gd name="connsiteX6" fmla="*/ 86325 w 501988"/>
                  <a:gd name="connsiteY6" fmla="*/ 47024 h 302805"/>
                  <a:gd name="connsiteX7" fmla="*/ 111903 w 501988"/>
                  <a:gd name="connsiteY7" fmla="*/ 53418 h 302805"/>
                  <a:gd name="connsiteX8" fmla="*/ 131086 w 501988"/>
                  <a:gd name="connsiteY8" fmla="*/ 59812 h 302805"/>
                  <a:gd name="connsiteX9" fmla="*/ 156663 w 501988"/>
                  <a:gd name="connsiteY9" fmla="*/ 66207 h 302805"/>
                  <a:gd name="connsiteX10" fmla="*/ 143875 w 501988"/>
                  <a:gd name="connsiteY10" fmla="*/ 82193 h 302805"/>
                  <a:gd name="connsiteX11" fmla="*/ 124691 w 501988"/>
                  <a:gd name="connsiteY11" fmla="*/ 88587 h 302805"/>
                  <a:gd name="connsiteX12" fmla="*/ 121494 w 501988"/>
                  <a:gd name="connsiteY12" fmla="*/ 107770 h 302805"/>
                  <a:gd name="connsiteX13" fmla="*/ 131086 w 501988"/>
                  <a:gd name="connsiteY13" fmla="*/ 110968 h 302805"/>
                  <a:gd name="connsiteX14" fmla="*/ 143875 w 501988"/>
                  <a:gd name="connsiteY14" fmla="*/ 114165 h 302805"/>
                  <a:gd name="connsiteX15" fmla="*/ 163058 w 501988"/>
                  <a:gd name="connsiteY15" fmla="*/ 120559 h 302805"/>
                  <a:gd name="connsiteX16" fmla="*/ 163058 w 501988"/>
                  <a:gd name="connsiteY16" fmla="*/ 152531 h 302805"/>
                  <a:gd name="connsiteX17" fmla="*/ 166255 w 501988"/>
                  <a:gd name="connsiteY17" fmla="*/ 142940 h 302805"/>
                  <a:gd name="connsiteX18" fmla="*/ 185438 w 501988"/>
                  <a:gd name="connsiteY18" fmla="*/ 139742 h 302805"/>
                  <a:gd name="connsiteX19" fmla="*/ 262171 w 501988"/>
                  <a:gd name="connsiteY19" fmla="*/ 122258 h 302805"/>
                  <a:gd name="connsiteX20" fmla="*/ 271763 w 501988"/>
                  <a:gd name="connsiteY20" fmla="*/ 130151 h 302805"/>
                  <a:gd name="connsiteX21" fmla="*/ 284551 w 501988"/>
                  <a:gd name="connsiteY21" fmla="*/ 114165 h 302805"/>
                  <a:gd name="connsiteX22" fmla="*/ 281354 w 501988"/>
                  <a:gd name="connsiteY22" fmla="*/ 104573 h 302805"/>
                  <a:gd name="connsiteX23" fmla="*/ 236593 w 501988"/>
                  <a:gd name="connsiteY23" fmla="*/ 94982 h 302805"/>
                  <a:gd name="connsiteX24" fmla="*/ 223805 w 501988"/>
                  <a:gd name="connsiteY24" fmla="*/ 91784 h 302805"/>
                  <a:gd name="connsiteX25" fmla="*/ 236593 w 501988"/>
                  <a:gd name="connsiteY25" fmla="*/ 66207 h 302805"/>
                  <a:gd name="connsiteX26" fmla="*/ 236660 w 501988"/>
                  <a:gd name="connsiteY26" fmla="*/ 50287 h 302805"/>
                  <a:gd name="connsiteX27" fmla="*/ 285367 w 501988"/>
                  <a:gd name="connsiteY27" fmla="*/ 35934 h 302805"/>
                  <a:gd name="connsiteX28" fmla="*/ 316524 w 501988"/>
                  <a:gd name="connsiteY28" fmla="*/ 40629 h 302805"/>
                  <a:gd name="connsiteX29" fmla="*/ 321353 w 501988"/>
                  <a:gd name="connsiteY29" fmla="*/ 20763 h 302805"/>
                  <a:gd name="connsiteX30" fmla="*/ 338904 w 501988"/>
                  <a:gd name="connsiteY30" fmla="*/ 24643 h 302805"/>
                  <a:gd name="connsiteX31" fmla="*/ 391360 w 501988"/>
                  <a:gd name="connsiteY31" fmla="*/ 15 h 302805"/>
                  <a:gd name="connsiteX32" fmla="*/ 366314 w 501988"/>
                  <a:gd name="connsiteY32" fmla="*/ 28523 h 302805"/>
                  <a:gd name="connsiteX33" fmla="*/ 370193 w 501988"/>
                  <a:gd name="connsiteY33" fmla="*/ 37365 h 302805"/>
                  <a:gd name="connsiteX34" fmla="*/ 380468 w 501988"/>
                  <a:gd name="connsiteY34" fmla="*/ 47024 h 302805"/>
                  <a:gd name="connsiteX35" fmla="*/ 370876 w 501988"/>
                  <a:gd name="connsiteY35" fmla="*/ 53418 h 302805"/>
                  <a:gd name="connsiteX36" fmla="*/ 361284 w 501988"/>
                  <a:gd name="connsiteY36" fmla="*/ 63010 h 302805"/>
                  <a:gd name="connsiteX37" fmla="*/ 351693 w 501988"/>
                  <a:gd name="connsiteY37" fmla="*/ 66207 h 302805"/>
                  <a:gd name="connsiteX38" fmla="*/ 335707 w 501988"/>
                  <a:gd name="connsiteY38" fmla="*/ 75798 h 302805"/>
                  <a:gd name="connsiteX39" fmla="*/ 319721 w 501988"/>
                  <a:gd name="connsiteY39" fmla="*/ 85390 h 302805"/>
                  <a:gd name="connsiteX40" fmla="*/ 306932 w 501988"/>
                  <a:gd name="connsiteY40" fmla="*/ 101376 h 302805"/>
                  <a:gd name="connsiteX41" fmla="*/ 316524 w 501988"/>
                  <a:gd name="connsiteY41" fmla="*/ 107770 h 302805"/>
                  <a:gd name="connsiteX42" fmla="*/ 322918 w 501988"/>
                  <a:gd name="connsiteY42" fmla="*/ 114165 h 302805"/>
                  <a:gd name="connsiteX43" fmla="*/ 326115 w 501988"/>
                  <a:gd name="connsiteY43" fmla="*/ 123756 h 302805"/>
                  <a:gd name="connsiteX44" fmla="*/ 332510 w 501988"/>
                  <a:gd name="connsiteY44" fmla="*/ 130151 h 302805"/>
                  <a:gd name="connsiteX45" fmla="*/ 351693 w 501988"/>
                  <a:gd name="connsiteY45" fmla="*/ 139742 h 302805"/>
                  <a:gd name="connsiteX46" fmla="*/ 364482 w 501988"/>
                  <a:gd name="connsiteY46" fmla="*/ 152531 h 302805"/>
                  <a:gd name="connsiteX47" fmla="*/ 370876 w 501988"/>
                  <a:gd name="connsiteY47" fmla="*/ 158926 h 302805"/>
                  <a:gd name="connsiteX48" fmla="*/ 390059 w 501988"/>
                  <a:gd name="connsiteY48" fmla="*/ 171714 h 302805"/>
                  <a:gd name="connsiteX49" fmla="*/ 393256 w 501988"/>
                  <a:gd name="connsiteY49" fmla="*/ 181306 h 302805"/>
                  <a:gd name="connsiteX50" fmla="*/ 402848 w 501988"/>
                  <a:gd name="connsiteY50" fmla="*/ 184503 h 302805"/>
                  <a:gd name="connsiteX51" fmla="*/ 409242 w 501988"/>
                  <a:gd name="connsiteY51" fmla="*/ 190898 h 302805"/>
                  <a:gd name="connsiteX52" fmla="*/ 418834 w 501988"/>
                  <a:gd name="connsiteY52" fmla="*/ 194095 h 302805"/>
                  <a:gd name="connsiteX53" fmla="*/ 428426 w 501988"/>
                  <a:gd name="connsiteY53" fmla="*/ 200489 h 302805"/>
                  <a:gd name="connsiteX54" fmla="*/ 447609 w 501988"/>
                  <a:gd name="connsiteY54" fmla="*/ 226067 h 302805"/>
                  <a:gd name="connsiteX55" fmla="*/ 457200 w 501988"/>
                  <a:gd name="connsiteY55" fmla="*/ 229264 h 302805"/>
                  <a:gd name="connsiteX56" fmla="*/ 463595 w 501988"/>
                  <a:gd name="connsiteY56" fmla="*/ 235659 h 302805"/>
                  <a:gd name="connsiteX57" fmla="*/ 482778 w 501988"/>
                  <a:gd name="connsiteY57" fmla="*/ 242053 h 302805"/>
                  <a:gd name="connsiteX58" fmla="*/ 485975 w 501988"/>
                  <a:gd name="connsiteY58" fmla="*/ 251645 h 302805"/>
                  <a:gd name="connsiteX59" fmla="*/ 492370 w 501988"/>
                  <a:gd name="connsiteY59" fmla="*/ 258039 h 302805"/>
                  <a:gd name="connsiteX60" fmla="*/ 501961 w 501988"/>
                  <a:gd name="connsiteY60" fmla="*/ 277222 h 302805"/>
                  <a:gd name="connsiteX61" fmla="*/ 495567 w 501988"/>
                  <a:gd name="connsiteY61" fmla="*/ 302800 h 302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501988" h="302805">
                    <a:moveTo>
                      <a:pt x="0" y="117362"/>
                    </a:moveTo>
                    <a:cubicBezTo>
                      <a:pt x="4959" y="104966"/>
                      <a:pt x="5129" y="101359"/>
                      <a:pt x="12789" y="91784"/>
                    </a:cubicBezTo>
                    <a:cubicBezTo>
                      <a:pt x="14672" y="89430"/>
                      <a:pt x="16488" y="86738"/>
                      <a:pt x="19184" y="85390"/>
                    </a:cubicBezTo>
                    <a:cubicBezTo>
                      <a:pt x="23114" y="83425"/>
                      <a:pt x="27709" y="83259"/>
                      <a:pt x="31972" y="82193"/>
                    </a:cubicBezTo>
                    <a:cubicBezTo>
                      <a:pt x="55602" y="58563"/>
                      <a:pt x="20811" y="95260"/>
                      <a:pt x="41564" y="66207"/>
                    </a:cubicBezTo>
                    <a:cubicBezTo>
                      <a:pt x="45068" y="61301"/>
                      <a:pt x="48504" y="54880"/>
                      <a:pt x="54353" y="53418"/>
                    </a:cubicBezTo>
                    <a:cubicBezTo>
                      <a:pt x="73431" y="48649"/>
                      <a:pt x="62808" y="50943"/>
                      <a:pt x="86325" y="47024"/>
                    </a:cubicBezTo>
                    <a:cubicBezTo>
                      <a:pt x="94851" y="49155"/>
                      <a:pt x="103566" y="50639"/>
                      <a:pt x="111903" y="53418"/>
                    </a:cubicBezTo>
                    <a:cubicBezTo>
                      <a:pt x="118297" y="55549"/>
                      <a:pt x="124547" y="58177"/>
                      <a:pt x="131086" y="59812"/>
                    </a:cubicBezTo>
                    <a:lnTo>
                      <a:pt x="156663" y="66207"/>
                    </a:lnTo>
                    <a:cubicBezTo>
                      <a:pt x="154405" y="69594"/>
                      <a:pt x="148429" y="79916"/>
                      <a:pt x="143875" y="82193"/>
                    </a:cubicBezTo>
                    <a:cubicBezTo>
                      <a:pt x="137846" y="85207"/>
                      <a:pt x="124691" y="88587"/>
                      <a:pt x="124691" y="88587"/>
                    </a:cubicBezTo>
                    <a:cubicBezTo>
                      <a:pt x="118484" y="94795"/>
                      <a:pt x="112765" y="96859"/>
                      <a:pt x="121494" y="107770"/>
                    </a:cubicBezTo>
                    <a:cubicBezTo>
                      <a:pt x="123599" y="110402"/>
                      <a:pt x="127845" y="110042"/>
                      <a:pt x="131086" y="110968"/>
                    </a:cubicBezTo>
                    <a:cubicBezTo>
                      <a:pt x="135311" y="112175"/>
                      <a:pt x="139666" y="112902"/>
                      <a:pt x="143875" y="114165"/>
                    </a:cubicBezTo>
                    <a:cubicBezTo>
                      <a:pt x="150331" y="116102"/>
                      <a:pt x="163058" y="120559"/>
                      <a:pt x="163058" y="120559"/>
                    </a:cubicBezTo>
                    <a:cubicBezTo>
                      <a:pt x="160462" y="130942"/>
                      <a:pt x="155932" y="141841"/>
                      <a:pt x="163058" y="152531"/>
                    </a:cubicBezTo>
                    <a:cubicBezTo>
                      <a:pt x="164927" y="155335"/>
                      <a:pt x="163329" y="144612"/>
                      <a:pt x="166255" y="142940"/>
                    </a:cubicBezTo>
                    <a:cubicBezTo>
                      <a:pt x="171883" y="139724"/>
                      <a:pt x="169452" y="143189"/>
                      <a:pt x="185438" y="139742"/>
                    </a:cubicBezTo>
                    <a:cubicBezTo>
                      <a:pt x="201424" y="136295"/>
                      <a:pt x="236593" y="123324"/>
                      <a:pt x="262171" y="122258"/>
                    </a:cubicBezTo>
                    <a:cubicBezTo>
                      <a:pt x="265368" y="120127"/>
                      <a:pt x="268033" y="131500"/>
                      <a:pt x="271763" y="130151"/>
                    </a:cubicBezTo>
                    <a:cubicBezTo>
                      <a:pt x="275493" y="128802"/>
                      <a:pt x="279805" y="121283"/>
                      <a:pt x="284551" y="114165"/>
                    </a:cubicBezTo>
                    <a:cubicBezTo>
                      <a:pt x="283485" y="110968"/>
                      <a:pt x="283459" y="107205"/>
                      <a:pt x="281354" y="104573"/>
                    </a:cubicBezTo>
                    <a:cubicBezTo>
                      <a:pt x="271725" y="92536"/>
                      <a:pt x="245698" y="95810"/>
                      <a:pt x="236593" y="94982"/>
                    </a:cubicBezTo>
                    <a:cubicBezTo>
                      <a:pt x="232330" y="93916"/>
                      <a:pt x="225348" y="95898"/>
                      <a:pt x="223805" y="91784"/>
                    </a:cubicBezTo>
                    <a:cubicBezTo>
                      <a:pt x="215642" y="70014"/>
                      <a:pt x="225146" y="70023"/>
                      <a:pt x="236593" y="66207"/>
                    </a:cubicBezTo>
                    <a:cubicBezTo>
                      <a:pt x="239790" y="64075"/>
                      <a:pt x="228531" y="55332"/>
                      <a:pt x="236660" y="50287"/>
                    </a:cubicBezTo>
                    <a:cubicBezTo>
                      <a:pt x="244789" y="45242"/>
                      <a:pt x="267162" y="38534"/>
                      <a:pt x="285367" y="35934"/>
                    </a:cubicBezTo>
                    <a:cubicBezTo>
                      <a:pt x="295753" y="37499"/>
                      <a:pt x="310526" y="43157"/>
                      <a:pt x="316524" y="40629"/>
                    </a:cubicBezTo>
                    <a:cubicBezTo>
                      <a:pt x="322522" y="38101"/>
                      <a:pt x="318156" y="21829"/>
                      <a:pt x="321353" y="20763"/>
                    </a:cubicBezTo>
                    <a:cubicBezTo>
                      <a:pt x="325616" y="16500"/>
                      <a:pt x="327236" y="28101"/>
                      <a:pt x="338904" y="24643"/>
                    </a:cubicBezTo>
                    <a:cubicBezTo>
                      <a:pt x="350572" y="21185"/>
                      <a:pt x="386792" y="-632"/>
                      <a:pt x="391360" y="15"/>
                    </a:cubicBezTo>
                    <a:cubicBezTo>
                      <a:pt x="395928" y="662"/>
                      <a:pt x="347393" y="31677"/>
                      <a:pt x="366314" y="28523"/>
                    </a:cubicBezTo>
                    <a:cubicBezTo>
                      <a:pt x="354654" y="63505"/>
                      <a:pt x="367834" y="34282"/>
                      <a:pt x="370193" y="37365"/>
                    </a:cubicBezTo>
                    <a:cubicBezTo>
                      <a:pt x="372552" y="40448"/>
                      <a:pt x="380354" y="44349"/>
                      <a:pt x="380468" y="47024"/>
                    </a:cubicBezTo>
                    <a:cubicBezTo>
                      <a:pt x="380582" y="49699"/>
                      <a:pt x="373828" y="50958"/>
                      <a:pt x="370876" y="53418"/>
                    </a:cubicBezTo>
                    <a:cubicBezTo>
                      <a:pt x="367402" y="56313"/>
                      <a:pt x="365046" y="60502"/>
                      <a:pt x="361284" y="63010"/>
                    </a:cubicBezTo>
                    <a:cubicBezTo>
                      <a:pt x="358480" y="64879"/>
                      <a:pt x="354890" y="65141"/>
                      <a:pt x="351693" y="66207"/>
                    </a:cubicBezTo>
                    <a:cubicBezTo>
                      <a:pt x="335486" y="82411"/>
                      <a:pt x="356463" y="63344"/>
                      <a:pt x="335707" y="75798"/>
                    </a:cubicBezTo>
                    <a:cubicBezTo>
                      <a:pt x="313764" y="88964"/>
                      <a:pt x="346888" y="76334"/>
                      <a:pt x="319721" y="85390"/>
                    </a:cubicBezTo>
                    <a:cubicBezTo>
                      <a:pt x="317464" y="87647"/>
                      <a:pt x="306259" y="98013"/>
                      <a:pt x="306932" y="101376"/>
                    </a:cubicBezTo>
                    <a:cubicBezTo>
                      <a:pt x="307686" y="105144"/>
                      <a:pt x="313523" y="105370"/>
                      <a:pt x="316524" y="107770"/>
                    </a:cubicBezTo>
                    <a:cubicBezTo>
                      <a:pt x="318878" y="109653"/>
                      <a:pt x="320787" y="112033"/>
                      <a:pt x="322918" y="114165"/>
                    </a:cubicBezTo>
                    <a:cubicBezTo>
                      <a:pt x="323984" y="117362"/>
                      <a:pt x="324381" y="120866"/>
                      <a:pt x="326115" y="123756"/>
                    </a:cubicBezTo>
                    <a:cubicBezTo>
                      <a:pt x="327666" y="126341"/>
                      <a:pt x="330156" y="128268"/>
                      <a:pt x="332510" y="130151"/>
                    </a:cubicBezTo>
                    <a:cubicBezTo>
                      <a:pt x="341364" y="137234"/>
                      <a:pt x="341562" y="136365"/>
                      <a:pt x="351693" y="139742"/>
                    </a:cubicBezTo>
                    <a:lnTo>
                      <a:pt x="364482" y="152531"/>
                    </a:lnTo>
                    <a:cubicBezTo>
                      <a:pt x="366613" y="154663"/>
                      <a:pt x="368368" y="157254"/>
                      <a:pt x="370876" y="158926"/>
                    </a:cubicBezTo>
                    <a:lnTo>
                      <a:pt x="390059" y="171714"/>
                    </a:lnTo>
                    <a:cubicBezTo>
                      <a:pt x="391125" y="174911"/>
                      <a:pt x="390873" y="178923"/>
                      <a:pt x="393256" y="181306"/>
                    </a:cubicBezTo>
                    <a:cubicBezTo>
                      <a:pt x="395639" y="183689"/>
                      <a:pt x="399958" y="182769"/>
                      <a:pt x="402848" y="184503"/>
                    </a:cubicBezTo>
                    <a:cubicBezTo>
                      <a:pt x="405433" y="186054"/>
                      <a:pt x="406657" y="189347"/>
                      <a:pt x="409242" y="190898"/>
                    </a:cubicBezTo>
                    <a:cubicBezTo>
                      <a:pt x="412132" y="192632"/>
                      <a:pt x="415819" y="192588"/>
                      <a:pt x="418834" y="194095"/>
                    </a:cubicBezTo>
                    <a:cubicBezTo>
                      <a:pt x="422271" y="195813"/>
                      <a:pt x="425229" y="198358"/>
                      <a:pt x="428426" y="200489"/>
                    </a:cubicBezTo>
                    <a:cubicBezTo>
                      <a:pt x="429489" y="202083"/>
                      <a:pt x="441034" y="222122"/>
                      <a:pt x="447609" y="226067"/>
                    </a:cubicBezTo>
                    <a:cubicBezTo>
                      <a:pt x="450499" y="227801"/>
                      <a:pt x="454003" y="228198"/>
                      <a:pt x="457200" y="229264"/>
                    </a:cubicBezTo>
                    <a:cubicBezTo>
                      <a:pt x="459332" y="231396"/>
                      <a:pt x="460899" y="234311"/>
                      <a:pt x="463595" y="235659"/>
                    </a:cubicBezTo>
                    <a:cubicBezTo>
                      <a:pt x="469624" y="238673"/>
                      <a:pt x="482778" y="242053"/>
                      <a:pt x="482778" y="242053"/>
                    </a:cubicBezTo>
                    <a:cubicBezTo>
                      <a:pt x="483844" y="245250"/>
                      <a:pt x="484241" y="248755"/>
                      <a:pt x="485975" y="251645"/>
                    </a:cubicBezTo>
                    <a:cubicBezTo>
                      <a:pt x="487526" y="254230"/>
                      <a:pt x="490487" y="255685"/>
                      <a:pt x="492370" y="258039"/>
                    </a:cubicBezTo>
                    <a:cubicBezTo>
                      <a:pt x="499452" y="266891"/>
                      <a:pt x="498585" y="267093"/>
                      <a:pt x="501961" y="277222"/>
                    </a:cubicBezTo>
                    <a:cubicBezTo>
                      <a:pt x="498632" y="303857"/>
                      <a:pt x="507356" y="302800"/>
                      <a:pt x="495567" y="302800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271" name="Freeform 48270"/>
              <p:cNvSpPr/>
              <p:nvPr/>
            </p:nvSpPr>
            <p:spPr>
              <a:xfrm>
                <a:off x="3020349" y="4031674"/>
                <a:ext cx="297936" cy="498763"/>
              </a:xfrm>
              <a:custGeom>
                <a:avLst/>
                <a:gdLst>
                  <a:gd name="connsiteX0" fmla="*/ 70449 w 319831"/>
                  <a:gd name="connsiteY0" fmla="*/ 463594 h 498763"/>
                  <a:gd name="connsiteX1" fmla="*/ 86435 w 319831"/>
                  <a:gd name="connsiteY1" fmla="*/ 450805 h 498763"/>
                  <a:gd name="connsiteX2" fmla="*/ 89632 w 319831"/>
                  <a:gd name="connsiteY2" fmla="*/ 425228 h 498763"/>
                  <a:gd name="connsiteX3" fmla="*/ 105618 w 319831"/>
                  <a:gd name="connsiteY3" fmla="*/ 396453 h 498763"/>
                  <a:gd name="connsiteX4" fmla="*/ 127999 w 319831"/>
                  <a:gd name="connsiteY4" fmla="*/ 374072 h 498763"/>
                  <a:gd name="connsiteX5" fmla="*/ 147182 w 319831"/>
                  <a:gd name="connsiteY5" fmla="*/ 367678 h 498763"/>
                  <a:gd name="connsiteX6" fmla="*/ 137590 w 319831"/>
                  <a:gd name="connsiteY6" fmla="*/ 361284 h 498763"/>
                  <a:gd name="connsiteX7" fmla="*/ 115210 w 319831"/>
                  <a:gd name="connsiteY7" fmla="*/ 354889 h 498763"/>
                  <a:gd name="connsiteX8" fmla="*/ 102421 w 319831"/>
                  <a:gd name="connsiteY8" fmla="*/ 348495 h 498763"/>
                  <a:gd name="connsiteX9" fmla="*/ 96027 w 319831"/>
                  <a:gd name="connsiteY9" fmla="*/ 338903 h 498763"/>
                  <a:gd name="connsiteX10" fmla="*/ 92830 w 319831"/>
                  <a:gd name="connsiteY10" fmla="*/ 329312 h 498763"/>
                  <a:gd name="connsiteX11" fmla="*/ 86435 w 319831"/>
                  <a:gd name="connsiteY11" fmla="*/ 322917 h 498763"/>
                  <a:gd name="connsiteX12" fmla="*/ 80041 w 319831"/>
                  <a:gd name="connsiteY12" fmla="*/ 313326 h 498763"/>
                  <a:gd name="connsiteX13" fmla="*/ 67252 w 319831"/>
                  <a:gd name="connsiteY13" fmla="*/ 274959 h 498763"/>
                  <a:gd name="connsiteX14" fmla="*/ 64055 w 319831"/>
                  <a:gd name="connsiteY14" fmla="*/ 265368 h 498763"/>
                  <a:gd name="connsiteX15" fmla="*/ 51266 w 319831"/>
                  <a:gd name="connsiteY15" fmla="*/ 246184 h 498763"/>
                  <a:gd name="connsiteX16" fmla="*/ 44872 w 319831"/>
                  <a:gd name="connsiteY16" fmla="*/ 236593 h 498763"/>
                  <a:gd name="connsiteX17" fmla="*/ 38477 w 319831"/>
                  <a:gd name="connsiteY17" fmla="*/ 230198 h 498763"/>
                  <a:gd name="connsiteX18" fmla="*/ 35280 w 319831"/>
                  <a:gd name="connsiteY18" fmla="*/ 220607 h 498763"/>
                  <a:gd name="connsiteX19" fmla="*/ 28885 w 319831"/>
                  <a:gd name="connsiteY19" fmla="*/ 214212 h 498763"/>
                  <a:gd name="connsiteX20" fmla="*/ 19294 w 319831"/>
                  <a:gd name="connsiteY20" fmla="*/ 185437 h 498763"/>
                  <a:gd name="connsiteX21" fmla="*/ 16097 w 319831"/>
                  <a:gd name="connsiteY21" fmla="*/ 175846 h 498763"/>
                  <a:gd name="connsiteX22" fmla="*/ 9702 w 319831"/>
                  <a:gd name="connsiteY22" fmla="*/ 169451 h 498763"/>
                  <a:gd name="connsiteX23" fmla="*/ 6505 w 319831"/>
                  <a:gd name="connsiteY23" fmla="*/ 156663 h 498763"/>
                  <a:gd name="connsiteX24" fmla="*/ 111 w 319831"/>
                  <a:gd name="connsiteY24" fmla="*/ 150268 h 498763"/>
                  <a:gd name="connsiteX25" fmla="*/ 9702 w 319831"/>
                  <a:gd name="connsiteY25" fmla="*/ 131085 h 498763"/>
                  <a:gd name="connsiteX26" fmla="*/ 16097 w 319831"/>
                  <a:gd name="connsiteY26" fmla="*/ 111902 h 498763"/>
                  <a:gd name="connsiteX27" fmla="*/ 19294 w 319831"/>
                  <a:gd name="connsiteY27" fmla="*/ 102310 h 498763"/>
                  <a:gd name="connsiteX28" fmla="*/ 60858 w 319831"/>
                  <a:gd name="connsiteY28" fmla="*/ 95916 h 498763"/>
                  <a:gd name="connsiteX29" fmla="*/ 86435 w 319831"/>
                  <a:gd name="connsiteY29" fmla="*/ 73535 h 498763"/>
                  <a:gd name="connsiteX30" fmla="*/ 92830 w 319831"/>
                  <a:gd name="connsiteY30" fmla="*/ 67141 h 498763"/>
                  <a:gd name="connsiteX31" fmla="*/ 102421 w 319831"/>
                  <a:gd name="connsiteY31" fmla="*/ 63944 h 498763"/>
                  <a:gd name="connsiteX32" fmla="*/ 118407 w 319831"/>
                  <a:gd name="connsiteY32" fmla="*/ 51155 h 498763"/>
                  <a:gd name="connsiteX33" fmla="*/ 140788 w 319831"/>
                  <a:gd name="connsiteY33" fmla="*/ 31972 h 498763"/>
                  <a:gd name="connsiteX34" fmla="*/ 150379 w 319831"/>
                  <a:gd name="connsiteY34" fmla="*/ 28775 h 498763"/>
                  <a:gd name="connsiteX35" fmla="*/ 175957 w 319831"/>
                  <a:gd name="connsiteY35" fmla="*/ 9591 h 498763"/>
                  <a:gd name="connsiteX36" fmla="*/ 195140 w 319831"/>
                  <a:gd name="connsiteY36" fmla="*/ 0 h 498763"/>
                  <a:gd name="connsiteX37" fmla="*/ 204732 w 319831"/>
                  <a:gd name="connsiteY37" fmla="*/ 3197 h 498763"/>
                  <a:gd name="connsiteX38" fmla="*/ 214323 w 319831"/>
                  <a:gd name="connsiteY38" fmla="*/ 9591 h 498763"/>
                  <a:gd name="connsiteX39" fmla="*/ 233506 w 319831"/>
                  <a:gd name="connsiteY39" fmla="*/ 15986 h 498763"/>
                  <a:gd name="connsiteX40" fmla="*/ 243098 w 319831"/>
                  <a:gd name="connsiteY40" fmla="*/ 19183 h 498763"/>
                  <a:gd name="connsiteX41" fmla="*/ 252690 w 319831"/>
                  <a:gd name="connsiteY41" fmla="*/ 22380 h 498763"/>
                  <a:gd name="connsiteX42" fmla="*/ 259084 w 319831"/>
                  <a:gd name="connsiteY42" fmla="*/ 47958 h 498763"/>
                  <a:gd name="connsiteX43" fmla="*/ 255887 w 319831"/>
                  <a:gd name="connsiteY43" fmla="*/ 79930 h 498763"/>
                  <a:gd name="connsiteX44" fmla="*/ 252690 w 319831"/>
                  <a:gd name="connsiteY44" fmla="*/ 89521 h 498763"/>
                  <a:gd name="connsiteX45" fmla="*/ 243098 w 319831"/>
                  <a:gd name="connsiteY45" fmla="*/ 92719 h 498763"/>
                  <a:gd name="connsiteX46" fmla="*/ 214323 w 319831"/>
                  <a:gd name="connsiteY46" fmla="*/ 95916 h 498763"/>
                  <a:gd name="connsiteX47" fmla="*/ 195140 w 319831"/>
                  <a:gd name="connsiteY47" fmla="*/ 102310 h 498763"/>
                  <a:gd name="connsiteX48" fmla="*/ 185548 w 319831"/>
                  <a:gd name="connsiteY48" fmla="*/ 105507 h 498763"/>
                  <a:gd name="connsiteX49" fmla="*/ 182351 w 319831"/>
                  <a:gd name="connsiteY49" fmla="*/ 124691 h 498763"/>
                  <a:gd name="connsiteX50" fmla="*/ 179154 w 319831"/>
                  <a:gd name="connsiteY50" fmla="*/ 147071 h 498763"/>
                  <a:gd name="connsiteX51" fmla="*/ 159971 w 319831"/>
                  <a:gd name="connsiteY51" fmla="*/ 143874 h 498763"/>
                  <a:gd name="connsiteX52" fmla="*/ 150379 w 319831"/>
                  <a:gd name="connsiteY52" fmla="*/ 140677 h 498763"/>
                  <a:gd name="connsiteX53" fmla="*/ 156774 w 319831"/>
                  <a:gd name="connsiteY53" fmla="*/ 159860 h 498763"/>
                  <a:gd name="connsiteX54" fmla="*/ 166365 w 319831"/>
                  <a:gd name="connsiteY54" fmla="*/ 175846 h 498763"/>
                  <a:gd name="connsiteX55" fmla="*/ 175957 w 319831"/>
                  <a:gd name="connsiteY55" fmla="*/ 191832 h 498763"/>
                  <a:gd name="connsiteX56" fmla="*/ 179154 w 319831"/>
                  <a:gd name="connsiteY56" fmla="*/ 201424 h 498763"/>
                  <a:gd name="connsiteX57" fmla="*/ 185548 w 319831"/>
                  <a:gd name="connsiteY57" fmla="*/ 211015 h 498763"/>
                  <a:gd name="connsiteX58" fmla="*/ 188746 w 319831"/>
                  <a:gd name="connsiteY58" fmla="*/ 220607 h 498763"/>
                  <a:gd name="connsiteX59" fmla="*/ 198337 w 319831"/>
                  <a:gd name="connsiteY59" fmla="*/ 223804 h 498763"/>
                  <a:gd name="connsiteX60" fmla="*/ 236704 w 319831"/>
                  <a:gd name="connsiteY60" fmla="*/ 233396 h 498763"/>
                  <a:gd name="connsiteX61" fmla="*/ 246295 w 319831"/>
                  <a:gd name="connsiteY61" fmla="*/ 239790 h 498763"/>
                  <a:gd name="connsiteX62" fmla="*/ 243098 w 319831"/>
                  <a:gd name="connsiteY62" fmla="*/ 262170 h 498763"/>
                  <a:gd name="connsiteX63" fmla="*/ 236704 w 319831"/>
                  <a:gd name="connsiteY63" fmla="*/ 271762 h 498763"/>
                  <a:gd name="connsiteX64" fmla="*/ 239901 w 319831"/>
                  <a:gd name="connsiteY64" fmla="*/ 300537 h 498763"/>
                  <a:gd name="connsiteX65" fmla="*/ 262281 w 319831"/>
                  <a:gd name="connsiteY65" fmla="*/ 284551 h 498763"/>
                  <a:gd name="connsiteX66" fmla="*/ 284662 w 319831"/>
                  <a:gd name="connsiteY66" fmla="*/ 287748 h 498763"/>
                  <a:gd name="connsiteX67" fmla="*/ 291056 w 319831"/>
                  <a:gd name="connsiteY67" fmla="*/ 297340 h 498763"/>
                  <a:gd name="connsiteX68" fmla="*/ 297451 w 319831"/>
                  <a:gd name="connsiteY68" fmla="*/ 303734 h 498763"/>
                  <a:gd name="connsiteX69" fmla="*/ 310239 w 319831"/>
                  <a:gd name="connsiteY69" fmla="*/ 322917 h 498763"/>
                  <a:gd name="connsiteX70" fmla="*/ 313437 w 319831"/>
                  <a:gd name="connsiteY70" fmla="*/ 332509 h 498763"/>
                  <a:gd name="connsiteX71" fmla="*/ 319831 w 319831"/>
                  <a:gd name="connsiteY71" fmla="*/ 342100 h 498763"/>
                  <a:gd name="connsiteX72" fmla="*/ 262281 w 319831"/>
                  <a:gd name="connsiteY72" fmla="*/ 345298 h 498763"/>
                  <a:gd name="connsiteX73" fmla="*/ 252690 w 319831"/>
                  <a:gd name="connsiteY73" fmla="*/ 351692 h 498763"/>
                  <a:gd name="connsiteX74" fmla="*/ 255887 w 319831"/>
                  <a:gd name="connsiteY74" fmla="*/ 386861 h 498763"/>
                  <a:gd name="connsiteX75" fmla="*/ 275070 w 319831"/>
                  <a:gd name="connsiteY75" fmla="*/ 393256 h 498763"/>
                  <a:gd name="connsiteX76" fmla="*/ 268676 w 319831"/>
                  <a:gd name="connsiteY76" fmla="*/ 402847 h 498763"/>
                  <a:gd name="connsiteX77" fmla="*/ 262281 w 319831"/>
                  <a:gd name="connsiteY77" fmla="*/ 409242 h 498763"/>
                  <a:gd name="connsiteX78" fmla="*/ 259084 w 319831"/>
                  <a:gd name="connsiteY78" fmla="*/ 418833 h 498763"/>
                  <a:gd name="connsiteX79" fmla="*/ 281465 w 319831"/>
                  <a:gd name="connsiteY79" fmla="*/ 434819 h 498763"/>
                  <a:gd name="connsiteX80" fmla="*/ 287859 w 319831"/>
                  <a:gd name="connsiteY80" fmla="*/ 441214 h 498763"/>
                  <a:gd name="connsiteX81" fmla="*/ 284662 w 319831"/>
                  <a:gd name="connsiteY81" fmla="*/ 460397 h 498763"/>
                  <a:gd name="connsiteX82" fmla="*/ 291056 w 319831"/>
                  <a:gd name="connsiteY82" fmla="*/ 485975 h 498763"/>
                  <a:gd name="connsiteX83" fmla="*/ 284662 w 319831"/>
                  <a:gd name="connsiteY83" fmla="*/ 498763 h 498763"/>
                  <a:gd name="connsiteX0" fmla="*/ 70449 w 319831"/>
                  <a:gd name="connsiteY0" fmla="*/ 463594 h 498763"/>
                  <a:gd name="connsiteX1" fmla="*/ 86435 w 319831"/>
                  <a:gd name="connsiteY1" fmla="*/ 450805 h 498763"/>
                  <a:gd name="connsiteX2" fmla="*/ 89632 w 319831"/>
                  <a:gd name="connsiteY2" fmla="*/ 425228 h 498763"/>
                  <a:gd name="connsiteX3" fmla="*/ 105618 w 319831"/>
                  <a:gd name="connsiteY3" fmla="*/ 396453 h 498763"/>
                  <a:gd name="connsiteX4" fmla="*/ 127999 w 319831"/>
                  <a:gd name="connsiteY4" fmla="*/ 374072 h 498763"/>
                  <a:gd name="connsiteX5" fmla="*/ 147182 w 319831"/>
                  <a:gd name="connsiteY5" fmla="*/ 367678 h 498763"/>
                  <a:gd name="connsiteX6" fmla="*/ 137590 w 319831"/>
                  <a:gd name="connsiteY6" fmla="*/ 361284 h 498763"/>
                  <a:gd name="connsiteX7" fmla="*/ 115210 w 319831"/>
                  <a:gd name="connsiteY7" fmla="*/ 354889 h 498763"/>
                  <a:gd name="connsiteX8" fmla="*/ 102421 w 319831"/>
                  <a:gd name="connsiteY8" fmla="*/ 348495 h 498763"/>
                  <a:gd name="connsiteX9" fmla="*/ 96027 w 319831"/>
                  <a:gd name="connsiteY9" fmla="*/ 338903 h 498763"/>
                  <a:gd name="connsiteX10" fmla="*/ 92830 w 319831"/>
                  <a:gd name="connsiteY10" fmla="*/ 329312 h 498763"/>
                  <a:gd name="connsiteX11" fmla="*/ 86435 w 319831"/>
                  <a:gd name="connsiteY11" fmla="*/ 322917 h 498763"/>
                  <a:gd name="connsiteX12" fmla="*/ 80041 w 319831"/>
                  <a:gd name="connsiteY12" fmla="*/ 313326 h 498763"/>
                  <a:gd name="connsiteX13" fmla="*/ 67252 w 319831"/>
                  <a:gd name="connsiteY13" fmla="*/ 274959 h 498763"/>
                  <a:gd name="connsiteX14" fmla="*/ 64055 w 319831"/>
                  <a:gd name="connsiteY14" fmla="*/ 265368 h 498763"/>
                  <a:gd name="connsiteX15" fmla="*/ 51266 w 319831"/>
                  <a:gd name="connsiteY15" fmla="*/ 246184 h 498763"/>
                  <a:gd name="connsiteX16" fmla="*/ 44872 w 319831"/>
                  <a:gd name="connsiteY16" fmla="*/ 236593 h 498763"/>
                  <a:gd name="connsiteX17" fmla="*/ 38477 w 319831"/>
                  <a:gd name="connsiteY17" fmla="*/ 230198 h 498763"/>
                  <a:gd name="connsiteX18" fmla="*/ 35280 w 319831"/>
                  <a:gd name="connsiteY18" fmla="*/ 220607 h 498763"/>
                  <a:gd name="connsiteX19" fmla="*/ 28885 w 319831"/>
                  <a:gd name="connsiteY19" fmla="*/ 214212 h 498763"/>
                  <a:gd name="connsiteX20" fmla="*/ 19294 w 319831"/>
                  <a:gd name="connsiteY20" fmla="*/ 185437 h 498763"/>
                  <a:gd name="connsiteX21" fmla="*/ 16097 w 319831"/>
                  <a:gd name="connsiteY21" fmla="*/ 175846 h 498763"/>
                  <a:gd name="connsiteX22" fmla="*/ 9702 w 319831"/>
                  <a:gd name="connsiteY22" fmla="*/ 169451 h 498763"/>
                  <a:gd name="connsiteX23" fmla="*/ 6505 w 319831"/>
                  <a:gd name="connsiteY23" fmla="*/ 156663 h 498763"/>
                  <a:gd name="connsiteX24" fmla="*/ 111 w 319831"/>
                  <a:gd name="connsiteY24" fmla="*/ 150268 h 498763"/>
                  <a:gd name="connsiteX25" fmla="*/ 9702 w 319831"/>
                  <a:gd name="connsiteY25" fmla="*/ 131085 h 498763"/>
                  <a:gd name="connsiteX26" fmla="*/ 16097 w 319831"/>
                  <a:gd name="connsiteY26" fmla="*/ 111902 h 498763"/>
                  <a:gd name="connsiteX27" fmla="*/ 19294 w 319831"/>
                  <a:gd name="connsiteY27" fmla="*/ 102310 h 498763"/>
                  <a:gd name="connsiteX28" fmla="*/ 60858 w 319831"/>
                  <a:gd name="connsiteY28" fmla="*/ 95916 h 498763"/>
                  <a:gd name="connsiteX29" fmla="*/ 86435 w 319831"/>
                  <a:gd name="connsiteY29" fmla="*/ 73535 h 498763"/>
                  <a:gd name="connsiteX30" fmla="*/ 92830 w 319831"/>
                  <a:gd name="connsiteY30" fmla="*/ 67141 h 498763"/>
                  <a:gd name="connsiteX31" fmla="*/ 102421 w 319831"/>
                  <a:gd name="connsiteY31" fmla="*/ 63944 h 498763"/>
                  <a:gd name="connsiteX32" fmla="*/ 108882 w 319831"/>
                  <a:gd name="connsiteY32" fmla="*/ 34486 h 498763"/>
                  <a:gd name="connsiteX33" fmla="*/ 140788 w 319831"/>
                  <a:gd name="connsiteY33" fmla="*/ 31972 h 498763"/>
                  <a:gd name="connsiteX34" fmla="*/ 150379 w 319831"/>
                  <a:gd name="connsiteY34" fmla="*/ 28775 h 498763"/>
                  <a:gd name="connsiteX35" fmla="*/ 175957 w 319831"/>
                  <a:gd name="connsiteY35" fmla="*/ 9591 h 498763"/>
                  <a:gd name="connsiteX36" fmla="*/ 195140 w 319831"/>
                  <a:gd name="connsiteY36" fmla="*/ 0 h 498763"/>
                  <a:gd name="connsiteX37" fmla="*/ 204732 w 319831"/>
                  <a:gd name="connsiteY37" fmla="*/ 3197 h 498763"/>
                  <a:gd name="connsiteX38" fmla="*/ 214323 w 319831"/>
                  <a:gd name="connsiteY38" fmla="*/ 9591 h 498763"/>
                  <a:gd name="connsiteX39" fmla="*/ 233506 w 319831"/>
                  <a:gd name="connsiteY39" fmla="*/ 15986 h 498763"/>
                  <a:gd name="connsiteX40" fmla="*/ 243098 w 319831"/>
                  <a:gd name="connsiteY40" fmla="*/ 19183 h 498763"/>
                  <a:gd name="connsiteX41" fmla="*/ 252690 w 319831"/>
                  <a:gd name="connsiteY41" fmla="*/ 22380 h 498763"/>
                  <a:gd name="connsiteX42" fmla="*/ 259084 w 319831"/>
                  <a:gd name="connsiteY42" fmla="*/ 47958 h 498763"/>
                  <a:gd name="connsiteX43" fmla="*/ 255887 w 319831"/>
                  <a:gd name="connsiteY43" fmla="*/ 79930 h 498763"/>
                  <a:gd name="connsiteX44" fmla="*/ 252690 w 319831"/>
                  <a:gd name="connsiteY44" fmla="*/ 89521 h 498763"/>
                  <a:gd name="connsiteX45" fmla="*/ 243098 w 319831"/>
                  <a:gd name="connsiteY45" fmla="*/ 92719 h 498763"/>
                  <a:gd name="connsiteX46" fmla="*/ 214323 w 319831"/>
                  <a:gd name="connsiteY46" fmla="*/ 95916 h 498763"/>
                  <a:gd name="connsiteX47" fmla="*/ 195140 w 319831"/>
                  <a:gd name="connsiteY47" fmla="*/ 102310 h 498763"/>
                  <a:gd name="connsiteX48" fmla="*/ 185548 w 319831"/>
                  <a:gd name="connsiteY48" fmla="*/ 105507 h 498763"/>
                  <a:gd name="connsiteX49" fmla="*/ 182351 w 319831"/>
                  <a:gd name="connsiteY49" fmla="*/ 124691 h 498763"/>
                  <a:gd name="connsiteX50" fmla="*/ 179154 w 319831"/>
                  <a:gd name="connsiteY50" fmla="*/ 147071 h 498763"/>
                  <a:gd name="connsiteX51" fmla="*/ 159971 w 319831"/>
                  <a:gd name="connsiteY51" fmla="*/ 143874 h 498763"/>
                  <a:gd name="connsiteX52" fmla="*/ 150379 w 319831"/>
                  <a:gd name="connsiteY52" fmla="*/ 140677 h 498763"/>
                  <a:gd name="connsiteX53" fmla="*/ 156774 w 319831"/>
                  <a:gd name="connsiteY53" fmla="*/ 159860 h 498763"/>
                  <a:gd name="connsiteX54" fmla="*/ 166365 w 319831"/>
                  <a:gd name="connsiteY54" fmla="*/ 175846 h 498763"/>
                  <a:gd name="connsiteX55" fmla="*/ 175957 w 319831"/>
                  <a:gd name="connsiteY55" fmla="*/ 191832 h 498763"/>
                  <a:gd name="connsiteX56" fmla="*/ 179154 w 319831"/>
                  <a:gd name="connsiteY56" fmla="*/ 201424 h 498763"/>
                  <a:gd name="connsiteX57" fmla="*/ 185548 w 319831"/>
                  <a:gd name="connsiteY57" fmla="*/ 211015 h 498763"/>
                  <a:gd name="connsiteX58" fmla="*/ 188746 w 319831"/>
                  <a:gd name="connsiteY58" fmla="*/ 220607 h 498763"/>
                  <a:gd name="connsiteX59" fmla="*/ 198337 w 319831"/>
                  <a:gd name="connsiteY59" fmla="*/ 223804 h 498763"/>
                  <a:gd name="connsiteX60" fmla="*/ 236704 w 319831"/>
                  <a:gd name="connsiteY60" fmla="*/ 233396 h 498763"/>
                  <a:gd name="connsiteX61" fmla="*/ 246295 w 319831"/>
                  <a:gd name="connsiteY61" fmla="*/ 239790 h 498763"/>
                  <a:gd name="connsiteX62" fmla="*/ 243098 w 319831"/>
                  <a:gd name="connsiteY62" fmla="*/ 262170 h 498763"/>
                  <a:gd name="connsiteX63" fmla="*/ 236704 w 319831"/>
                  <a:gd name="connsiteY63" fmla="*/ 271762 h 498763"/>
                  <a:gd name="connsiteX64" fmla="*/ 239901 w 319831"/>
                  <a:gd name="connsiteY64" fmla="*/ 300537 h 498763"/>
                  <a:gd name="connsiteX65" fmla="*/ 262281 w 319831"/>
                  <a:gd name="connsiteY65" fmla="*/ 284551 h 498763"/>
                  <a:gd name="connsiteX66" fmla="*/ 284662 w 319831"/>
                  <a:gd name="connsiteY66" fmla="*/ 287748 h 498763"/>
                  <a:gd name="connsiteX67" fmla="*/ 291056 w 319831"/>
                  <a:gd name="connsiteY67" fmla="*/ 297340 h 498763"/>
                  <a:gd name="connsiteX68" fmla="*/ 297451 w 319831"/>
                  <a:gd name="connsiteY68" fmla="*/ 303734 h 498763"/>
                  <a:gd name="connsiteX69" fmla="*/ 310239 w 319831"/>
                  <a:gd name="connsiteY69" fmla="*/ 322917 h 498763"/>
                  <a:gd name="connsiteX70" fmla="*/ 313437 w 319831"/>
                  <a:gd name="connsiteY70" fmla="*/ 332509 h 498763"/>
                  <a:gd name="connsiteX71" fmla="*/ 319831 w 319831"/>
                  <a:gd name="connsiteY71" fmla="*/ 342100 h 498763"/>
                  <a:gd name="connsiteX72" fmla="*/ 262281 w 319831"/>
                  <a:gd name="connsiteY72" fmla="*/ 345298 h 498763"/>
                  <a:gd name="connsiteX73" fmla="*/ 252690 w 319831"/>
                  <a:gd name="connsiteY73" fmla="*/ 351692 h 498763"/>
                  <a:gd name="connsiteX74" fmla="*/ 255887 w 319831"/>
                  <a:gd name="connsiteY74" fmla="*/ 386861 h 498763"/>
                  <a:gd name="connsiteX75" fmla="*/ 275070 w 319831"/>
                  <a:gd name="connsiteY75" fmla="*/ 393256 h 498763"/>
                  <a:gd name="connsiteX76" fmla="*/ 268676 w 319831"/>
                  <a:gd name="connsiteY76" fmla="*/ 402847 h 498763"/>
                  <a:gd name="connsiteX77" fmla="*/ 262281 w 319831"/>
                  <a:gd name="connsiteY77" fmla="*/ 409242 h 498763"/>
                  <a:gd name="connsiteX78" fmla="*/ 259084 w 319831"/>
                  <a:gd name="connsiteY78" fmla="*/ 418833 h 498763"/>
                  <a:gd name="connsiteX79" fmla="*/ 281465 w 319831"/>
                  <a:gd name="connsiteY79" fmla="*/ 434819 h 498763"/>
                  <a:gd name="connsiteX80" fmla="*/ 287859 w 319831"/>
                  <a:gd name="connsiteY80" fmla="*/ 441214 h 498763"/>
                  <a:gd name="connsiteX81" fmla="*/ 284662 w 319831"/>
                  <a:gd name="connsiteY81" fmla="*/ 460397 h 498763"/>
                  <a:gd name="connsiteX82" fmla="*/ 291056 w 319831"/>
                  <a:gd name="connsiteY82" fmla="*/ 485975 h 498763"/>
                  <a:gd name="connsiteX83" fmla="*/ 284662 w 319831"/>
                  <a:gd name="connsiteY83" fmla="*/ 498763 h 498763"/>
                  <a:gd name="connsiteX0" fmla="*/ 70449 w 319831"/>
                  <a:gd name="connsiteY0" fmla="*/ 463594 h 498763"/>
                  <a:gd name="connsiteX1" fmla="*/ 86435 w 319831"/>
                  <a:gd name="connsiteY1" fmla="*/ 450805 h 498763"/>
                  <a:gd name="connsiteX2" fmla="*/ 89632 w 319831"/>
                  <a:gd name="connsiteY2" fmla="*/ 425228 h 498763"/>
                  <a:gd name="connsiteX3" fmla="*/ 105618 w 319831"/>
                  <a:gd name="connsiteY3" fmla="*/ 396453 h 498763"/>
                  <a:gd name="connsiteX4" fmla="*/ 127999 w 319831"/>
                  <a:gd name="connsiteY4" fmla="*/ 374072 h 498763"/>
                  <a:gd name="connsiteX5" fmla="*/ 147182 w 319831"/>
                  <a:gd name="connsiteY5" fmla="*/ 367678 h 498763"/>
                  <a:gd name="connsiteX6" fmla="*/ 137590 w 319831"/>
                  <a:gd name="connsiteY6" fmla="*/ 361284 h 498763"/>
                  <a:gd name="connsiteX7" fmla="*/ 115210 w 319831"/>
                  <a:gd name="connsiteY7" fmla="*/ 354889 h 498763"/>
                  <a:gd name="connsiteX8" fmla="*/ 102421 w 319831"/>
                  <a:gd name="connsiteY8" fmla="*/ 348495 h 498763"/>
                  <a:gd name="connsiteX9" fmla="*/ 96027 w 319831"/>
                  <a:gd name="connsiteY9" fmla="*/ 338903 h 498763"/>
                  <a:gd name="connsiteX10" fmla="*/ 92830 w 319831"/>
                  <a:gd name="connsiteY10" fmla="*/ 329312 h 498763"/>
                  <a:gd name="connsiteX11" fmla="*/ 86435 w 319831"/>
                  <a:gd name="connsiteY11" fmla="*/ 322917 h 498763"/>
                  <a:gd name="connsiteX12" fmla="*/ 80041 w 319831"/>
                  <a:gd name="connsiteY12" fmla="*/ 313326 h 498763"/>
                  <a:gd name="connsiteX13" fmla="*/ 67252 w 319831"/>
                  <a:gd name="connsiteY13" fmla="*/ 274959 h 498763"/>
                  <a:gd name="connsiteX14" fmla="*/ 64055 w 319831"/>
                  <a:gd name="connsiteY14" fmla="*/ 265368 h 498763"/>
                  <a:gd name="connsiteX15" fmla="*/ 51266 w 319831"/>
                  <a:gd name="connsiteY15" fmla="*/ 246184 h 498763"/>
                  <a:gd name="connsiteX16" fmla="*/ 44872 w 319831"/>
                  <a:gd name="connsiteY16" fmla="*/ 236593 h 498763"/>
                  <a:gd name="connsiteX17" fmla="*/ 38477 w 319831"/>
                  <a:gd name="connsiteY17" fmla="*/ 230198 h 498763"/>
                  <a:gd name="connsiteX18" fmla="*/ 35280 w 319831"/>
                  <a:gd name="connsiteY18" fmla="*/ 220607 h 498763"/>
                  <a:gd name="connsiteX19" fmla="*/ 28885 w 319831"/>
                  <a:gd name="connsiteY19" fmla="*/ 214212 h 498763"/>
                  <a:gd name="connsiteX20" fmla="*/ 19294 w 319831"/>
                  <a:gd name="connsiteY20" fmla="*/ 185437 h 498763"/>
                  <a:gd name="connsiteX21" fmla="*/ 16097 w 319831"/>
                  <a:gd name="connsiteY21" fmla="*/ 175846 h 498763"/>
                  <a:gd name="connsiteX22" fmla="*/ 9702 w 319831"/>
                  <a:gd name="connsiteY22" fmla="*/ 169451 h 498763"/>
                  <a:gd name="connsiteX23" fmla="*/ 6505 w 319831"/>
                  <a:gd name="connsiteY23" fmla="*/ 156663 h 498763"/>
                  <a:gd name="connsiteX24" fmla="*/ 111 w 319831"/>
                  <a:gd name="connsiteY24" fmla="*/ 150268 h 498763"/>
                  <a:gd name="connsiteX25" fmla="*/ 9702 w 319831"/>
                  <a:gd name="connsiteY25" fmla="*/ 131085 h 498763"/>
                  <a:gd name="connsiteX26" fmla="*/ 16097 w 319831"/>
                  <a:gd name="connsiteY26" fmla="*/ 111902 h 498763"/>
                  <a:gd name="connsiteX27" fmla="*/ 19294 w 319831"/>
                  <a:gd name="connsiteY27" fmla="*/ 102310 h 498763"/>
                  <a:gd name="connsiteX28" fmla="*/ 60858 w 319831"/>
                  <a:gd name="connsiteY28" fmla="*/ 95916 h 498763"/>
                  <a:gd name="connsiteX29" fmla="*/ 88816 w 319831"/>
                  <a:gd name="connsiteY29" fmla="*/ 61629 h 498763"/>
                  <a:gd name="connsiteX30" fmla="*/ 92830 w 319831"/>
                  <a:gd name="connsiteY30" fmla="*/ 67141 h 498763"/>
                  <a:gd name="connsiteX31" fmla="*/ 102421 w 319831"/>
                  <a:gd name="connsiteY31" fmla="*/ 63944 h 498763"/>
                  <a:gd name="connsiteX32" fmla="*/ 108882 w 319831"/>
                  <a:gd name="connsiteY32" fmla="*/ 34486 h 498763"/>
                  <a:gd name="connsiteX33" fmla="*/ 140788 w 319831"/>
                  <a:gd name="connsiteY33" fmla="*/ 31972 h 498763"/>
                  <a:gd name="connsiteX34" fmla="*/ 150379 w 319831"/>
                  <a:gd name="connsiteY34" fmla="*/ 28775 h 498763"/>
                  <a:gd name="connsiteX35" fmla="*/ 175957 w 319831"/>
                  <a:gd name="connsiteY35" fmla="*/ 9591 h 498763"/>
                  <a:gd name="connsiteX36" fmla="*/ 195140 w 319831"/>
                  <a:gd name="connsiteY36" fmla="*/ 0 h 498763"/>
                  <a:gd name="connsiteX37" fmla="*/ 204732 w 319831"/>
                  <a:gd name="connsiteY37" fmla="*/ 3197 h 498763"/>
                  <a:gd name="connsiteX38" fmla="*/ 214323 w 319831"/>
                  <a:gd name="connsiteY38" fmla="*/ 9591 h 498763"/>
                  <a:gd name="connsiteX39" fmla="*/ 233506 w 319831"/>
                  <a:gd name="connsiteY39" fmla="*/ 15986 h 498763"/>
                  <a:gd name="connsiteX40" fmla="*/ 243098 w 319831"/>
                  <a:gd name="connsiteY40" fmla="*/ 19183 h 498763"/>
                  <a:gd name="connsiteX41" fmla="*/ 252690 w 319831"/>
                  <a:gd name="connsiteY41" fmla="*/ 22380 h 498763"/>
                  <a:gd name="connsiteX42" fmla="*/ 259084 w 319831"/>
                  <a:gd name="connsiteY42" fmla="*/ 47958 h 498763"/>
                  <a:gd name="connsiteX43" fmla="*/ 255887 w 319831"/>
                  <a:gd name="connsiteY43" fmla="*/ 79930 h 498763"/>
                  <a:gd name="connsiteX44" fmla="*/ 252690 w 319831"/>
                  <a:gd name="connsiteY44" fmla="*/ 89521 h 498763"/>
                  <a:gd name="connsiteX45" fmla="*/ 243098 w 319831"/>
                  <a:gd name="connsiteY45" fmla="*/ 92719 h 498763"/>
                  <a:gd name="connsiteX46" fmla="*/ 214323 w 319831"/>
                  <a:gd name="connsiteY46" fmla="*/ 95916 h 498763"/>
                  <a:gd name="connsiteX47" fmla="*/ 195140 w 319831"/>
                  <a:gd name="connsiteY47" fmla="*/ 102310 h 498763"/>
                  <a:gd name="connsiteX48" fmla="*/ 185548 w 319831"/>
                  <a:gd name="connsiteY48" fmla="*/ 105507 h 498763"/>
                  <a:gd name="connsiteX49" fmla="*/ 182351 w 319831"/>
                  <a:gd name="connsiteY49" fmla="*/ 124691 h 498763"/>
                  <a:gd name="connsiteX50" fmla="*/ 179154 w 319831"/>
                  <a:gd name="connsiteY50" fmla="*/ 147071 h 498763"/>
                  <a:gd name="connsiteX51" fmla="*/ 159971 w 319831"/>
                  <a:gd name="connsiteY51" fmla="*/ 143874 h 498763"/>
                  <a:gd name="connsiteX52" fmla="*/ 150379 w 319831"/>
                  <a:gd name="connsiteY52" fmla="*/ 140677 h 498763"/>
                  <a:gd name="connsiteX53" fmla="*/ 156774 w 319831"/>
                  <a:gd name="connsiteY53" fmla="*/ 159860 h 498763"/>
                  <a:gd name="connsiteX54" fmla="*/ 166365 w 319831"/>
                  <a:gd name="connsiteY54" fmla="*/ 175846 h 498763"/>
                  <a:gd name="connsiteX55" fmla="*/ 175957 w 319831"/>
                  <a:gd name="connsiteY55" fmla="*/ 191832 h 498763"/>
                  <a:gd name="connsiteX56" fmla="*/ 179154 w 319831"/>
                  <a:gd name="connsiteY56" fmla="*/ 201424 h 498763"/>
                  <a:gd name="connsiteX57" fmla="*/ 185548 w 319831"/>
                  <a:gd name="connsiteY57" fmla="*/ 211015 h 498763"/>
                  <a:gd name="connsiteX58" fmla="*/ 188746 w 319831"/>
                  <a:gd name="connsiteY58" fmla="*/ 220607 h 498763"/>
                  <a:gd name="connsiteX59" fmla="*/ 198337 w 319831"/>
                  <a:gd name="connsiteY59" fmla="*/ 223804 h 498763"/>
                  <a:gd name="connsiteX60" fmla="*/ 236704 w 319831"/>
                  <a:gd name="connsiteY60" fmla="*/ 233396 h 498763"/>
                  <a:gd name="connsiteX61" fmla="*/ 246295 w 319831"/>
                  <a:gd name="connsiteY61" fmla="*/ 239790 h 498763"/>
                  <a:gd name="connsiteX62" fmla="*/ 243098 w 319831"/>
                  <a:gd name="connsiteY62" fmla="*/ 262170 h 498763"/>
                  <a:gd name="connsiteX63" fmla="*/ 236704 w 319831"/>
                  <a:gd name="connsiteY63" fmla="*/ 271762 h 498763"/>
                  <a:gd name="connsiteX64" fmla="*/ 239901 w 319831"/>
                  <a:gd name="connsiteY64" fmla="*/ 300537 h 498763"/>
                  <a:gd name="connsiteX65" fmla="*/ 262281 w 319831"/>
                  <a:gd name="connsiteY65" fmla="*/ 284551 h 498763"/>
                  <a:gd name="connsiteX66" fmla="*/ 284662 w 319831"/>
                  <a:gd name="connsiteY66" fmla="*/ 287748 h 498763"/>
                  <a:gd name="connsiteX67" fmla="*/ 291056 w 319831"/>
                  <a:gd name="connsiteY67" fmla="*/ 297340 h 498763"/>
                  <a:gd name="connsiteX68" fmla="*/ 297451 w 319831"/>
                  <a:gd name="connsiteY68" fmla="*/ 303734 h 498763"/>
                  <a:gd name="connsiteX69" fmla="*/ 310239 w 319831"/>
                  <a:gd name="connsiteY69" fmla="*/ 322917 h 498763"/>
                  <a:gd name="connsiteX70" fmla="*/ 313437 w 319831"/>
                  <a:gd name="connsiteY70" fmla="*/ 332509 h 498763"/>
                  <a:gd name="connsiteX71" fmla="*/ 319831 w 319831"/>
                  <a:gd name="connsiteY71" fmla="*/ 342100 h 498763"/>
                  <a:gd name="connsiteX72" fmla="*/ 262281 w 319831"/>
                  <a:gd name="connsiteY72" fmla="*/ 345298 h 498763"/>
                  <a:gd name="connsiteX73" fmla="*/ 252690 w 319831"/>
                  <a:gd name="connsiteY73" fmla="*/ 351692 h 498763"/>
                  <a:gd name="connsiteX74" fmla="*/ 255887 w 319831"/>
                  <a:gd name="connsiteY74" fmla="*/ 386861 h 498763"/>
                  <a:gd name="connsiteX75" fmla="*/ 275070 w 319831"/>
                  <a:gd name="connsiteY75" fmla="*/ 393256 h 498763"/>
                  <a:gd name="connsiteX76" fmla="*/ 268676 w 319831"/>
                  <a:gd name="connsiteY76" fmla="*/ 402847 h 498763"/>
                  <a:gd name="connsiteX77" fmla="*/ 262281 w 319831"/>
                  <a:gd name="connsiteY77" fmla="*/ 409242 h 498763"/>
                  <a:gd name="connsiteX78" fmla="*/ 259084 w 319831"/>
                  <a:gd name="connsiteY78" fmla="*/ 418833 h 498763"/>
                  <a:gd name="connsiteX79" fmla="*/ 281465 w 319831"/>
                  <a:gd name="connsiteY79" fmla="*/ 434819 h 498763"/>
                  <a:gd name="connsiteX80" fmla="*/ 287859 w 319831"/>
                  <a:gd name="connsiteY80" fmla="*/ 441214 h 498763"/>
                  <a:gd name="connsiteX81" fmla="*/ 284662 w 319831"/>
                  <a:gd name="connsiteY81" fmla="*/ 460397 h 498763"/>
                  <a:gd name="connsiteX82" fmla="*/ 291056 w 319831"/>
                  <a:gd name="connsiteY82" fmla="*/ 485975 h 498763"/>
                  <a:gd name="connsiteX83" fmla="*/ 284662 w 319831"/>
                  <a:gd name="connsiteY83" fmla="*/ 498763 h 498763"/>
                  <a:gd name="connsiteX0" fmla="*/ 70449 w 319831"/>
                  <a:gd name="connsiteY0" fmla="*/ 463594 h 498763"/>
                  <a:gd name="connsiteX1" fmla="*/ 86435 w 319831"/>
                  <a:gd name="connsiteY1" fmla="*/ 450805 h 498763"/>
                  <a:gd name="connsiteX2" fmla="*/ 89632 w 319831"/>
                  <a:gd name="connsiteY2" fmla="*/ 425228 h 498763"/>
                  <a:gd name="connsiteX3" fmla="*/ 105618 w 319831"/>
                  <a:gd name="connsiteY3" fmla="*/ 396453 h 498763"/>
                  <a:gd name="connsiteX4" fmla="*/ 127999 w 319831"/>
                  <a:gd name="connsiteY4" fmla="*/ 374072 h 498763"/>
                  <a:gd name="connsiteX5" fmla="*/ 147182 w 319831"/>
                  <a:gd name="connsiteY5" fmla="*/ 367678 h 498763"/>
                  <a:gd name="connsiteX6" fmla="*/ 137590 w 319831"/>
                  <a:gd name="connsiteY6" fmla="*/ 361284 h 498763"/>
                  <a:gd name="connsiteX7" fmla="*/ 115210 w 319831"/>
                  <a:gd name="connsiteY7" fmla="*/ 354889 h 498763"/>
                  <a:gd name="connsiteX8" fmla="*/ 102421 w 319831"/>
                  <a:gd name="connsiteY8" fmla="*/ 348495 h 498763"/>
                  <a:gd name="connsiteX9" fmla="*/ 96027 w 319831"/>
                  <a:gd name="connsiteY9" fmla="*/ 338903 h 498763"/>
                  <a:gd name="connsiteX10" fmla="*/ 92830 w 319831"/>
                  <a:gd name="connsiteY10" fmla="*/ 329312 h 498763"/>
                  <a:gd name="connsiteX11" fmla="*/ 86435 w 319831"/>
                  <a:gd name="connsiteY11" fmla="*/ 322917 h 498763"/>
                  <a:gd name="connsiteX12" fmla="*/ 80041 w 319831"/>
                  <a:gd name="connsiteY12" fmla="*/ 313326 h 498763"/>
                  <a:gd name="connsiteX13" fmla="*/ 67252 w 319831"/>
                  <a:gd name="connsiteY13" fmla="*/ 274959 h 498763"/>
                  <a:gd name="connsiteX14" fmla="*/ 64055 w 319831"/>
                  <a:gd name="connsiteY14" fmla="*/ 265368 h 498763"/>
                  <a:gd name="connsiteX15" fmla="*/ 51266 w 319831"/>
                  <a:gd name="connsiteY15" fmla="*/ 246184 h 498763"/>
                  <a:gd name="connsiteX16" fmla="*/ 44872 w 319831"/>
                  <a:gd name="connsiteY16" fmla="*/ 236593 h 498763"/>
                  <a:gd name="connsiteX17" fmla="*/ 38477 w 319831"/>
                  <a:gd name="connsiteY17" fmla="*/ 230198 h 498763"/>
                  <a:gd name="connsiteX18" fmla="*/ 35280 w 319831"/>
                  <a:gd name="connsiteY18" fmla="*/ 220607 h 498763"/>
                  <a:gd name="connsiteX19" fmla="*/ 28885 w 319831"/>
                  <a:gd name="connsiteY19" fmla="*/ 214212 h 498763"/>
                  <a:gd name="connsiteX20" fmla="*/ 19294 w 319831"/>
                  <a:gd name="connsiteY20" fmla="*/ 185437 h 498763"/>
                  <a:gd name="connsiteX21" fmla="*/ 16097 w 319831"/>
                  <a:gd name="connsiteY21" fmla="*/ 175846 h 498763"/>
                  <a:gd name="connsiteX22" fmla="*/ 9702 w 319831"/>
                  <a:gd name="connsiteY22" fmla="*/ 169451 h 498763"/>
                  <a:gd name="connsiteX23" fmla="*/ 6505 w 319831"/>
                  <a:gd name="connsiteY23" fmla="*/ 156663 h 498763"/>
                  <a:gd name="connsiteX24" fmla="*/ 111 w 319831"/>
                  <a:gd name="connsiteY24" fmla="*/ 150268 h 498763"/>
                  <a:gd name="connsiteX25" fmla="*/ 9702 w 319831"/>
                  <a:gd name="connsiteY25" fmla="*/ 131085 h 498763"/>
                  <a:gd name="connsiteX26" fmla="*/ 16097 w 319831"/>
                  <a:gd name="connsiteY26" fmla="*/ 111902 h 498763"/>
                  <a:gd name="connsiteX27" fmla="*/ 19294 w 319831"/>
                  <a:gd name="connsiteY27" fmla="*/ 102310 h 498763"/>
                  <a:gd name="connsiteX28" fmla="*/ 43256 w 319831"/>
                  <a:gd name="connsiteY28" fmla="*/ 85508 h 498763"/>
                  <a:gd name="connsiteX29" fmla="*/ 60858 w 319831"/>
                  <a:gd name="connsiteY29" fmla="*/ 95916 h 498763"/>
                  <a:gd name="connsiteX30" fmla="*/ 88816 w 319831"/>
                  <a:gd name="connsiteY30" fmla="*/ 61629 h 498763"/>
                  <a:gd name="connsiteX31" fmla="*/ 92830 w 319831"/>
                  <a:gd name="connsiteY31" fmla="*/ 67141 h 498763"/>
                  <a:gd name="connsiteX32" fmla="*/ 102421 w 319831"/>
                  <a:gd name="connsiteY32" fmla="*/ 63944 h 498763"/>
                  <a:gd name="connsiteX33" fmla="*/ 108882 w 319831"/>
                  <a:gd name="connsiteY33" fmla="*/ 34486 h 498763"/>
                  <a:gd name="connsiteX34" fmla="*/ 140788 w 319831"/>
                  <a:gd name="connsiteY34" fmla="*/ 31972 h 498763"/>
                  <a:gd name="connsiteX35" fmla="*/ 150379 w 319831"/>
                  <a:gd name="connsiteY35" fmla="*/ 28775 h 498763"/>
                  <a:gd name="connsiteX36" fmla="*/ 175957 w 319831"/>
                  <a:gd name="connsiteY36" fmla="*/ 9591 h 498763"/>
                  <a:gd name="connsiteX37" fmla="*/ 195140 w 319831"/>
                  <a:gd name="connsiteY37" fmla="*/ 0 h 498763"/>
                  <a:gd name="connsiteX38" fmla="*/ 204732 w 319831"/>
                  <a:gd name="connsiteY38" fmla="*/ 3197 h 498763"/>
                  <a:gd name="connsiteX39" fmla="*/ 214323 w 319831"/>
                  <a:gd name="connsiteY39" fmla="*/ 9591 h 498763"/>
                  <a:gd name="connsiteX40" fmla="*/ 233506 w 319831"/>
                  <a:gd name="connsiteY40" fmla="*/ 15986 h 498763"/>
                  <a:gd name="connsiteX41" fmla="*/ 243098 w 319831"/>
                  <a:gd name="connsiteY41" fmla="*/ 19183 h 498763"/>
                  <a:gd name="connsiteX42" fmla="*/ 252690 w 319831"/>
                  <a:gd name="connsiteY42" fmla="*/ 22380 h 498763"/>
                  <a:gd name="connsiteX43" fmla="*/ 259084 w 319831"/>
                  <a:gd name="connsiteY43" fmla="*/ 47958 h 498763"/>
                  <a:gd name="connsiteX44" fmla="*/ 255887 w 319831"/>
                  <a:gd name="connsiteY44" fmla="*/ 79930 h 498763"/>
                  <a:gd name="connsiteX45" fmla="*/ 252690 w 319831"/>
                  <a:gd name="connsiteY45" fmla="*/ 89521 h 498763"/>
                  <a:gd name="connsiteX46" fmla="*/ 243098 w 319831"/>
                  <a:gd name="connsiteY46" fmla="*/ 92719 h 498763"/>
                  <a:gd name="connsiteX47" fmla="*/ 214323 w 319831"/>
                  <a:gd name="connsiteY47" fmla="*/ 95916 h 498763"/>
                  <a:gd name="connsiteX48" fmla="*/ 195140 w 319831"/>
                  <a:gd name="connsiteY48" fmla="*/ 102310 h 498763"/>
                  <a:gd name="connsiteX49" fmla="*/ 185548 w 319831"/>
                  <a:gd name="connsiteY49" fmla="*/ 105507 h 498763"/>
                  <a:gd name="connsiteX50" fmla="*/ 182351 w 319831"/>
                  <a:gd name="connsiteY50" fmla="*/ 124691 h 498763"/>
                  <a:gd name="connsiteX51" fmla="*/ 179154 w 319831"/>
                  <a:gd name="connsiteY51" fmla="*/ 147071 h 498763"/>
                  <a:gd name="connsiteX52" fmla="*/ 159971 w 319831"/>
                  <a:gd name="connsiteY52" fmla="*/ 143874 h 498763"/>
                  <a:gd name="connsiteX53" fmla="*/ 150379 w 319831"/>
                  <a:gd name="connsiteY53" fmla="*/ 140677 h 498763"/>
                  <a:gd name="connsiteX54" fmla="*/ 156774 w 319831"/>
                  <a:gd name="connsiteY54" fmla="*/ 159860 h 498763"/>
                  <a:gd name="connsiteX55" fmla="*/ 166365 w 319831"/>
                  <a:gd name="connsiteY55" fmla="*/ 175846 h 498763"/>
                  <a:gd name="connsiteX56" fmla="*/ 175957 w 319831"/>
                  <a:gd name="connsiteY56" fmla="*/ 191832 h 498763"/>
                  <a:gd name="connsiteX57" fmla="*/ 179154 w 319831"/>
                  <a:gd name="connsiteY57" fmla="*/ 201424 h 498763"/>
                  <a:gd name="connsiteX58" fmla="*/ 185548 w 319831"/>
                  <a:gd name="connsiteY58" fmla="*/ 211015 h 498763"/>
                  <a:gd name="connsiteX59" fmla="*/ 188746 w 319831"/>
                  <a:gd name="connsiteY59" fmla="*/ 220607 h 498763"/>
                  <a:gd name="connsiteX60" fmla="*/ 198337 w 319831"/>
                  <a:gd name="connsiteY60" fmla="*/ 223804 h 498763"/>
                  <a:gd name="connsiteX61" fmla="*/ 236704 w 319831"/>
                  <a:gd name="connsiteY61" fmla="*/ 233396 h 498763"/>
                  <a:gd name="connsiteX62" fmla="*/ 246295 w 319831"/>
                  <a:gd name="connsiteY62" fmla="*/ 239790 h 498763"/>
                  <a:gd name="connsiteX63" fmla="*/ 243098 w 319831"/>
                  <a:gd name="connsiteY63" fmla="*/ 262170 h 498763"/>
                  <a:gd name="connsiteX64" fmla="*/ 236704 w 319831"/>
                  <a:gd name="connsiteY64" fmla="*/ 271762 h 498763"/>
                  <a:gd name="connsiteX65" fmla="*/ 239901 w 319831"/>
                  <a:gd name="connsiteY65" fmla="*/ 300537 h 498763"/>
                  <a:gd name="connsiteX66" fmla="*/ 262281 w 319831"/>
                  <a:gd name="connsiteY66" fmla="*/ 284551 h 498763"/>
                  <a:gd name="connsiteX67" fmla="*/ 284662 w 319831"/>
                  <a:gd name="connsiteY67" fmla="*/ 287748 h 498763"/>
                  <a:gd name="connsiteX68" fmla="*/ 291056 w 319831"/>
                  <a:gd name="connsiteY68" fmla="*/ 297340 h 498763"/>
                  <a:gd name="connsiteX69" fmla="*/ 297451 w 319831"/>
                  <a:gd name="connsiteY69" fmla="*/ 303734 h 498763"/>
                  <a:gd name="connsiteX70" fmla="*/ 310239 w 319831"/>
                  <a:gd name="connsiteY70" fmla="*/ 322917 h 498763"/>
                  <a:gd name="connsiteX71" fmla="*/ 313437 w 319831"/>
                  <a:gd name="connsiteY71" fmla="*/ 332509 h 498763"/>
                  <a:gd name="connsiteX72" fmla="*/ 319831 w 319831"/>
                  <a:gd name="connsiteY72" fmla="*/ 342100 h 498763"/>
                  <a:gd name="connsiteX73" fmla="*/ 262281 w 319831"/>
                  <a:gd name="connsiteY73" fmla="*/ 345298 h 498763"/>
                  <a:gd name="connsiteX74" fmla="*/ 252690 w 319831"/>
                  <a:gd name="connsiteY74" fmla="*/ 351692 h 498763"/>
                  <a:gd name="connsiteX75" fmla="*/ 255887 w 319831"/>
                  <a:gd name="connsiteY75" fmla="*/ 386861 h 498763"/>
                  <a:gd name="connsiteX76" fmla="*/ 275070 w 319831"/>
                  <a:gd name="connsiteY76" fmla="*/ 393256 h 498763"/>
                  <a:gd name="connsiteX77" fmla="*/ 268676 w 319831"/>
                  <a:gd name="connsiteY77" fmla="*/ 402847 h 498763"/>
                  <a:gd name="connsiteX78" fmla="*/ 262281 w 319831"/>
                  <a:gd name="connsiteY78" fmla="*/ 409242 h 498763"/>
                  <a:gd name="connsiteX79" fmla="*/ 259084 w 319831"/>
                  <a:gd name="connsiteY79" fmla="*/ 418833 h 498763"/>
                  <a:gd name="connsiteX80" fmla="*/ 281465 w 319831"/>
                  <a:gd name="connsiteY80" fmla="*/ 434819 h 498763"/>
                  <a:gd name="connsiteX81" fmla="*/ 287859 w 319831"/>
                  <a:gd name="connsiteY81" fmla="*/ 441214 h 498763"/>
                  <a:gd name="connsiteX82" fmla="*/ 284662 w 319831"/>
                  <a:gd name="connsiteY82" fmla="*/ 460397 h 498763"/>
                  <a:gd name="connsiteX83" fmla="*/ 291056 w 319831"/>
                  <a:gd name="connsiteY83" fmla="*/ 485975 h 498763"/>
                  <a:gd name="connsiteX84" fmla="*/ 284662 w 319831"/>
                  <a:gd name="connsiteY84" fmla="*/ 498763 h 498763"/>
                  <a:gd name="connsiteX0" fmla="*/ 70449 w 319831"/>
                  <a:gd name="connsiteY0" fmla="*/ 463594 h 498763"/>
                  <a:gd name="connsiteX1" fmla="*/ 86435 w 319831"/>
                  <a:gd name="connsiteY1" fmla="*/ 450805 h 498763"/>
                  <a:gd name="connsiteX2" fmla="*/ 89632 w 319831"/>
                  <a:gd name="connsiteY2" fmla="*/ 425228 h 498763"/>
                  <a:gd name="connsiteX3" fmla="*/ 105618 w 319831"/>
                  <a:gd name="connsiteY3" fmla="*/ 396453 h 498763"/>
                  <a:gd name="connsiteX4" fmla="*/ 127999 w 319831"/>
                  <a:gd name="connsiteY4" fmla="*/ 374072 h 498763"/>
                  <a:gd name="connsiteX5" fmla="*/ 147182 w 319831"/>
                  <a:gd name="connsiteY5" fmla="*/ 367678 h 498763"/>
                  <a:gd name="connsiteX6" fmla="*/ 137590 w 319831"/>
                  <a:gd name="connsiteY6" fmla="*/ 361284 h 498763"/>
                  <a:gd name="connsiteX7" fmla="*/ 115210 w 319831"/>
                  <a:gd name="connsiteY7" fmla="*/ 354889 h 498763"/>
                  <a:gd name="connsiteX8" fmla="*/ 102421 w 319831"/>
                  <a:gd name="connsiteY8" fmla="*/ 348495 h 498763"/>
                  <a:gd name="connsiteX9" fmla="*/ 96027 w 319831"/>
                  <a:gd name="connsiteY9" fmla="*/ 338903 h 498763"/>
                  <a:gd name="connsiteX10" fmla="*/ 92830 w 319831"/>
                  <a:gd name="connsiteY10" fmla="*/ 329312 h 498763"/>
                  <a:gd name="connsiteX11" fmla="*/ 86435 w 319831"/>
                  <a:gd name="connsiteY11" fmla="*/ 322917 h 498763"/>
                  <a:gd name="connsiteX12" fmla="*/ 80041 w 319831"/>
                  <a:gd name="connsiteY12" fmla="*/ 313326 h 498763"/>
                  <a:gd name="connsiteX13" fmla="*/ 67252 w 319831"/>
                  <a:gd name="connsiteY13" fmla="*/ 274959 h 498763"/>
                  <a:gd name="connsiteX14" fmla="*/ 64055 w 319831"/>
                  <a:gd name="connsiteY14" fmla="*/ 265368 h 498763"/>
                  <a:gd name="connsiteX15" fmla="*/ 51266 w 319831"/>
                  <a:gd name="connsiteY15" fmla="*/ 246184 h 498763"/>
                  <a:gd name="connsiteX16" fmla="*/ 44872 w 319831"/>
                  <a:gd name="connsiteY16" fmla="*/ 236593 h 498763"/>
                  <a:gd name="connsiteX17" fmla="*/ 38477 w 319831"/>
                  <a:gd name="connsiteY17" fmla="*/ 230198 h 498763"/>
                  <a:gd name="connsiteX18" fmla="*/ 35280 w 319831"/>
                  <a:gd name="connsiteY18" fmla="*/ 220607 h 498763"/>
                  <a:gd name="connsiteX19" fmla="*/ 28885 w 319831"/>
                  <a:gd name="connsiteY19" fmla="*/ 214212 h 498763"/>
                  <a:gd name="connsiteX20" fmla="*/ 19294 w 319831"/>
                  <a:gd name="connsiteY20" fmla="*/ 185437 h 498763"/>
                  <a:gd name="connsiteX21" fmla="*/ 16097 w 319831"/>
                  <a:gd name="connsiteY21" fmla="*/ 175846 h 498763"/>
                  <a:gd name="connsiteX22" fmla="*/ 9702 w 319831"/>
                  <a:gd name="connsiteY22" fmla="*/ 169451 h 498763"/>
                  <a:gd name="connsiteX23" fmla="*/ 6505 w 319831"/>
                  <a:gd name="connsiteY23" fmla="*/ 156663 h 498763"/>
                  <a:gd name="connsiteX24" fmla="*/ 111 w 319831"/>
                  <a:gd name="connsiteY24" fmla="*/ 150268 h 498763"/>
                  <a:gd name="connsiteX25" fmla="*/ 9702 w 319831"/>
                  <a:gd name="connsiteY25" fmla="*/ 131085 h 498763"/>
                  <a:gd name="connsiteX26" fmla="*/ 16097 w 319831"/>
                  <a:gd name="connsiteY26" fmla="*/ 111902 h 498763"/>
                  <a:gd name="connsiteX27" fmla="*/ 19294 w 319831"/>
                  <a:gd name="connsiteY27" fmla="*/ 102310 h 498763"/>
                  <a:gd name="connsiteX28" fmla="*/ 43256 w 319831"/>
                  <a:gd name="connsiteY28" fmla="*/ 85508 h 498763"/>
                  <a:gd name="connsiteX29" fmla="*/ 65620 w 319831"/>
                  <a:gd name="connsiteY29" fmla="*/ 86391 h 498763"/>
                  <a:gd name="connsiteX30" fmla="*/ 88816 w 319831"/>
                  <a:gd name="connsiteY30" fmla="*/ 61629 h 498763"/>
                  <a:gd name="connsiteX31" fmla="*/ 92830 w 319831"/>
                  <a:gd name="connsiteY31" fmla="*/ 67141 h 498763"/>
                  <a:gd name="connsiteX32" fmla="*/ 102421 w 319831"/>
                  <a:gd name="connsiteY32" fmla="*/ 63944 h 498763"/>
                  <a:gd name="connsiteX33" fmla="*/ 108882 w 319831"/>
                  <a:gd name="connsiteY33" fmla="*/ 34486 h 498763"/>
                  <a:gd name="connsiteX34" fmla="*/ 140788 w 319831"/>
                  <a:gd name="connsiteY34" fmla="*/ 31972 h 498763"/>
                  <a:gd name="connsiteX35" fmla="*/ 150379 w 319831"/>
                  <a:gd name="connsiteY35" fmla="*/ 28775 h 498763"/>
                  <a:gd name="connsiteX36" fmla="*/ 175957 w 319831"/>
                  <a:gd name="connsiteY36" fmla="*/ 9591 h 498763"/>
                  <a:gd name="connsiteX37" fmla="*/ 195140 w 319831"/>
                  <a:gd name="connsiteY37" fmla="*/ 0 h 498763"/>
                  <a:gd name="connsiteX38" fmla="*/ 204732 w 319831"/>
                  <a:gd name="connsiteY38" fmla="*/ 3197 h 498763"/>
                  <a:gd name="connsiteX39" fmla="*/ 214323 w 319831"/>
                  <a:gd name="connsiteY39" fmla="*/ 9591 h 498763"/>
                  <a:gd name="connsiteX40" fmla="*/ 233506 w 319831"/>
                  <a:gd name="connsiteY40" fmla="*/ 15986 h 498763"/>
                  <a:gd name="connsiteX41" fmla="*/ 243098 w 319831"/>
                  <a:gd name="connsiteY41" fmla="*/ 19183 h 498763"/>
                  <a:gd name="connsiteX42" fmla="*/ 252690 w 319831"/>
                  <a:gd name="connsiteY42" fmla="*/ 22380 h 498763"/>
                  <a:gd name="connsiteX43" fmla="*/ 259084 w 319831"/>
                  <a:gd name="connsiteY43" fmla="*/ 47958 h 498763"/>
                  <a:gd name="connsiteX44" fmla="*/ 255887 w 319831"/>
                  <a:gd name="connsiteY44" fmla="*/ 79930 h 498763"/>
                  <a:gd name="connsiteX45" fmla="*/ 252690 w 319831"/>
                  <a:gd name="connsiteY45" fmla="*/ 89521 h 498763"/>
                  <a:gd name="connsiteX46" fmla="*/ 243098 w 319831"/>
                  <a:gd name="connsiteY46" fmla="*/ 92719 h 498763"/>
                  <a:gd name="connsiteX47" fmla="*/ 214323 w 319831"/>
                  <a:gd name="connsiteY47" fmla="*/ 95916 h 498763"/>
                  <a:gd name="connsiteX48" fmla="*/ 195140 w 319831"/>
                  <a:gd name="connsiteY48" fmla="*/ 102310 h 498763"/>
                  <a:gd name="connsiteX49" fmla="*/ 185548 w 319831"/>
                  <a:gd name="connsiteY49" fmla="*/ 105507 h 498763"/>
                  <a:gd name="connsiteX50" fmla="*/ 182351 w 319831"/>
                  <a:gd name="connsiteY50" fmla="*/ 124691 h 498763"/>
                  <a:gd name="connsiteX51" fmla="*/ 179154 w 319831"/>
                  <a:gd name="connsiteY51" fmla="*/ 147071 h 498763"/>
                  <a:gd name="connsiteX52" fmla="*/ 159971 w 319831"/>
                  <a:gd name="connsiteY52" fmla="*/ 143874 h 498763"/>
                  <a:gd name="connsiteX53" fmla="*/ 150379 w 319831"/>
                  <a:gd name="connsiteY53" fmla="*/ 140677 h 498763"/>
                  <a:gd name="connsiteX54" fmla="*/ 156774 w 319831"/>
                  <a:gd name="connsiteY54" fmla="*/ 159860 h 498763"/>
                  <a:gd name="connsiteX55" fmla="*/ 166365 w 319831"/>
                  <a:gd name="connsiteY55" fmla="*/ 175846 h 498763"/>
                  <a:gd name="connsiteX56" fmla="*/ 175957 w 319831"/>
                  <a:gd name="connsiteY56" fmla="*/ 191832 h 498763"/>
                  <a:gd name="connsiteX57" fmla="*/ 179154 w 319831"/>
                  <a:gd name="connsiteY57" fmla="*/ 201424 h 498763"/>
                  <a:gd name="connsiteX58" fmla="*/ 185548 w 319831"/>
                  <a:gd name="connsiteY58" fmla="*/ 211015 h 498763"/>
                  <a:gd name="connsiteX59" fmla="*/ 188746 w 319831"/>
                  <a:gd name="connsiteY59" fmla="*/ 220607 h 498763"/>
                  <a:gd name="connsiteX60" fmla="*/ 198337 w 319831"/>
                  <a:gd name="connsiteY60" fmla="*/ 223804 h 498763"/>
                  <a:gd name="connsiteX61" fmla="*/ 236704 w 319831"/>
                  <a:gd name="connsiteY61" fmla="*/ 233396 h 498763"/>
                  <a:gd name="connsiteX62" fmla="*/ 246295 w 319831"/>
                  <a:gd name="connsiteY62" fmla="*/ 239790 h 498763"/>
                  <a:gd name="connsiteX63" fmla="*/ 243098 w 319831"/>
                  <a:gd name="connsiteY63" fmla="*/ 262170 h 498763"/>
                  <a:gd name="connsiteX64" fmla="*/ 236704 w 319831"/>
                  <a:gd name="connsiteY64" fmla="*/ 271762 h 498763"/>
                  <a:gd name="connsiteX65" fmla="*/ 239901 w 319831"/>
                  <a:gd name="connsiteY65" fmla="*/ 300537 h 498763"/>
                  <a:gd name="connsiteX66" fmla="*/ 262281 w 319831"/>
                  <a:gd name="connsiteY66" fmla="*/ 284551 h 498763"/>
                  <a:gd name="connsiteX67" fmla="*/ 284662 w 319831"/>
                  <a:gd name="connsiteY67" fmla="*/ 287748 h 498763"/>
                  <a:gd name="connsiteX68" fmla="*/ 291056 w 319831"/>
                  <a:gd name="connsiteY68" fmla="*/ 297340 h 498763"/>
                  <a:gd name="connsiteX69" fmla="*/ 297451 w 319831"/>
                  <a:gd name="connsiteY69" fmla="*/ 303734 h 498763"/>
                  <a:gd name="connsiteX70" fmla="*/ 310239 w 319831"/>
                  <a:gd name="connsiteY70" fmla="*/ 322917 h 498763"/>
                  <a:gd name="connsiteX71" fmla="*/ 313437 w 319831"/>
                  <a:gd name="connsiteY71" fmla="*/ 332509 h 498763"/>
                  <a:gd name="connsiteX72" fmla="*/ 319831 w 319831"/>
                  <a:gd name="connsiteY72" fmla="*/ 342100 h 498763"/>
                  <a:gd name="connsiteX73" fmla="*/ 262281 w 319831"/>
                  <a:gd name="connsiteY73" fmla="*/ 345298 h 498763"/>
                  <a:gd name="connsiteX74" fmla="*/ 252690 w 319831"/>
                  <a:gd name="connsiteY74" fmla="*/ 351692 h 498763"/>
                  <a:gd name="connsiteX75" fmla="*/ 255887 w 319831"/>
                  <a:gd name="connsiteY75" fmla="*/ 386861 h 498763"/>
                  <a:gd name="connsiteX76" fmla="*/ 275070 w 319831"/>
                  <a:gd name="connsiteY76" fmla="*/ 393256 h 498763"/>
                  <a:gd name="connsiteX77" fmla="*/ 268676 w 319831"/>
                  <a:gd name="connsiteY77" fmla="*/ 402847 h 498763"/>
                  <a:gd name="connsiteX78" fmla="*/ 262281 w 319831"/>
                  <a:gd name="connsiteY78" fmla="*/ 409242 h 498763"/>
                  <a:gd name="connsiteX79" fmla="*/ 259084 w 319831"/>
                  <a:gd name="connsiteY79" fmla="*/ 418833 h 498763"/>
                  <a:gd name="connsiteX80" fmla="*/ 281465 w 319831"/>
                  <a:gd name="connsiteY80" fmla="*/ 434819 h 498763"/>
                  <a:gd name="connsiteX81" fmla="*/ 287859 w 319831"/>
                  <a:gd name="connsiteY81" fmla="*/ 441214 h 498763"/>
                  <a:gd name="connsiteX82" fmla="*/ 284662 w 319831"/>
                  <a:gd name="connsiteY82" fmla="*/ 460397 h 498763"/>
                  <a:gd name="connsiteX83" fmla="*/ 291056 w 319831"/>
                  <a:gd name="connsiteY83" fmla="*/ 485975 h 498763"/>
                  <a:gd name="connsiteX84" fmla="*/ 284662 w 319831"/>
                  <a:gd name="connsiteY84" fmla="*/ 498763 h 498763"/>
                  <a:gd name="connsiteX0" fmla="*/ 73279 w 322661"/>
                  <a:gd name="connsiteY0" fmla="*/ 463594 h 498763"/>
                  <a:gd name="connsiteX1" fmla="*/ 89265 w 322661"/>
                  <a:gd name="connsiteY1" fmla="*/ 450805 h 498763"/>
                  <a:gd name="connsiteX2" fmla="*/ 92462 w 322661"/>
                  <a:gd name="connsiteY2" fmla="*/ 425228 h 498763"/>
                  <a:gd name="connsiteX3" fmla="*/ 108448 w 322661"/>
                  <a:gd name="connsiteY3" fmla="*/ 396453 h 498763"/>
                  <a:gd name="connsiteX4" fmla="*/ 130829 w 322661"/>
                  <a:gd name="connsiteY4" fmla="*/ 374072 h 498763"/>
                  <a:gd name="connsiteX5" fmla="*/ 150012 w 322661"/>
                  <a:gd name="connsiteY5" fmla="*/ 367678 h 498763"/>
                  <a:gd name="connsiteX6" fmla="*/ 140420 w 322661"/>
                  <a:gd name="connsiteY6" fmla="*/ 361284 h 498763"/>
                  <a:gd name="connsiteX7" fmla="*/ 118040 w 322661"/>
                  <a:gd name="connsiteY7" fmla="*/ 354889 h 498763"/>
                  <a:gd name="connsiteX8" fmla="*/ 105251 w 322661"/>
                  <a:gd name="connsiteY8" fmla="*/ 348495 h 498763"/>
                  <a:gd name="connsiteX9" fmla="*/ 98857 w 322661"/>
                  <a:gd name="connsiteY9" fmla="*/ 338903 h 498763"/>
                  <a:gd name="connsiteX10" fmla="*/ 95660 w 322661"/>
                  <a:gd name="connsiteY10" fmla="*/ 329312 h 498763"/>
                  <a:gd name="connsiteX11" fmla="*/ 89265 w 322661"/>
                  <a:gd name="connsiteY11" fmla="*/ 322917 h 498763"/>
                  <a:gd name="connsiteX12" fmla="*/ 82871 w 322661"/>
                  <a:gd name="connsiteY12" fmla="*/ 313326 h 498763"/>
                  <a:gd name="connsiteX13" fmla="*/ 70082 w 322661"/>
                  <a:gd name="connsiteY13" fmla="*/ 274959 h 498763"/>
                  <a:gd name="connsiteX14" fmla="*/ 66885 w 322661"/>
                  <a:gd name="connsiteY14" fmla="*/ 265368 h 498763"/>
                  <a:gd name="connsiteX15" fmla="*/ 54096 w 322661"/>
                  <a:gd name="connsiteY15" fmla="*/ 246184 h 498763"/>
                  <a:gd name="connsiteX16" fmla="*/ 47702 w 322661"/>
                  <a:gd name="connsiteY16" fmla="*/ 236593 h 498763"/>
                  <a:gd name="connsiteX17" fmla="*/ 41307 w 322661"/>
                  <a:gd name="connsiteY17" fmla="*/ 230198 h 498763"/>
                  <a:gd name="connsiteX18" fmla="*/ 38110 w 322661"/>
                  <a:gd name="connsiteY18" fmla="*/ 220607 h 498763"/>
                  <a:gd name="connsiteX19" fmla="*/ 31715 w 322661"/>
                  <a:gd name="connsiteY19" fmla="*/ 214212 h 498763"/>
                  <a:gd name="connsiteX20" fmla="*/ 22124 w 322661"/>
                  <a:gd name="connsiteY20" fmla="*/ 185437 h 498763"/>
                  <a:gd name="connsiteX21" fmla="*/ 18927 w 322661"/>
                  <a:gd name="connsiteY21" fmla="*/ 175846 h 498763"/>
                  <a:gd name="connsiteX22" fmla="*/ 12532 w 322661"/>
                  <a:gd name="connsiteY22" fmla="*/ 169451 h 498763"/>
                  <a:gd name="connsiteX23" fmla="*/ 9335 w 322661"/>
                  <a:gd name="connsiteY23" fmla="*/ 156663 h 498763"/>
                  <a:gd name="connsiteX24" fmla="*/ 2941 w 322661"/>
                  <a:gd name="connsiteY24" fmla="*/ 150268 h 498763"/>
                  <a:gd name="connsiteX25" fmla="*/ 626 w 322661"/>
                  <a:gd name="connsiteY25" fmla="*/ 131085 h 498763"/>
                  <a:gd name="connsiteX26" fmla="*/ 18927 w 322661"/>
                  <a:gd name="connsiteY26" fmla="*/ 111902 h 498763"/>
                  <a:gd name="connsiteX27" fmla="*/ 22124 w 322661"/>
                  <a:gd name="connsiteY27" fmla="*/ 102310 h 498763"/>
                  <a:gd name="connsiteX28" fmla="*/ 46086 w 322661"/>
                  <a:gd name="connsiteY28" fmla="*/ 85508 h 498763"/>
                  <a:gd name="connsiteX29" fmla="*/ 68450 w 322661"/>
                  <a:gd name="connsiteY29" fmla="*/ 86391 h 498763"/>
                  <a:gd name="connsiteX30" fmla="*/ 91646 w 322661"/>
                  <a:gd name="connsiteY30" fmla="*/ 61629 h 498763"/>
                  <a:gd name="connsiteX31" fmla="*/ 95660 w 322661"/>
                  <a:gd name="connsiteY31" fmla="*/ 67141 h 498763"/>
                  <a:gd name="connsiteX32" fmla="*/ 105251 w 322661"/>
                  <a:gd name="connsiteY32" fmla="*/ 63944 h 498763"/>
                  <a:gd name="connsiteX33" fmla="*/ 111712 w 322661"/>
                  <a:gd name="connsiteY33" fmla="*/ 34486 h 498763"/>
                  <a:gd name="connsiteX34" fmla="*/ 143618 w 322661"/>
                  <a:gd name="connsiteY34" fmla="*/ 31972 h 498763"/>
                  <a:gd name="connsiteX35" fmla="*/ 153209 w 322661"/>
                  <a:gd name="connsiteY35" fmla="*/ 28775 h 498763"/>
                  <a:gd name="connsiteX36" fmla="*/ 178787 w 322661"/>
                  <a:gd name="connsiteY36" fmla="*/ 9591 h 498763"/>
                  <a:gd name="connsiteX37" fmla="*/ 197970 w 322661"/>
                  <a:gd name="connsiteY37" fmla="*/ 0 h 498763"/>
                  <a:gd name="connsiteX38" fmla="*/ 207562 w 322661"/>
                  <a:gd name="connsiteY38" fmla="*/ 3197 h 498763"/>
                  <a:gd name="connsiteX39" fmla="*/ 217153 w 322661"/>
                  <a:gd name="connsiteY39" fmla="*/ 9591 h 498763"/>
                  <a:gd name="connsiteX40" fmla="*/ 236336 w 322661"/>
                  <a:gd name="connsiteY40" fmla="*/ 15986 h 498763"/>
                  <a:gd name="connsiteX41" fmla="*/ 245928 w 322661"/>
                  <a:gd name="connsiteY41" fmla="*/ 19183 h 498763"/>
                  <a:gd name="connsiteX42" fmla="*/ 255520 w 322661"/>
                  <a:gd name="connsiteY42" fmla="*/ 22380 h 498763"/>
                  <a:gd name="connsiteX43" fmla="*/ 261914 w 322661"/>
                  <a:gd name="connsiteY43" fmla="*/ 47958 h 498763"/>
                  <a:gd name="connsiteX44" fmla="*/ 258717 w 322661"/>
                  <a:gd name="connsiteY44" fmla="*/ 79930 h 498763"/>
                  <a:gd name="connsiteX45" fmla="*/ 255520 w 322661"/>
                  <a:gd name="connsiteY45" fmla="*/ 89521 h 498763"/>
                  <a:gd name="connsiteX46" fmla="*/ 245928 w 322661"/>
                  <a:gd name="connsiteY46" fmla="*/ 92719 h 498763"/>
                  <a:gd name="connsiteX47" fmla="*/ 217153 w 322661"/>
                  <a:gd name="connsiteY47" fmla="*/ 95916 h 498763"/>
                  <a:gd name="connsiteX48" fmla="*/ 197970 w 322661"/>
                  <a:gd name="connsiteY48" fmla="*/ 102310 h 498763"/>
                  <a:gd name="connsiteX49" fmla="*/ 188378 w 322661"/>
                  <a:gd name="connsiteY49" fmla="*/ 105507 h 498763"/>
                  <a:gd name="connsiteX50" fmla="*/ 185181 w 322661"/>
                  <a:gd name="connsiteY50" fmla="*/ 124691 h 498763"/>
                  <a:gd name="connsiteX51" fmla="*/ 181984 w 322661"/>
                  <a:gd name="connsiteY51" fmla="*/ 147071 h 498763"/>
                  <a:gd name="connsiteX52" fmla="*/ 162801 w 322661"/>
                  <a:gd name="connsiteY52" fmla="*/ 143874 h 498763"/>
                  <a:gd name="connsiteX53" fmla="*/ 153209 w 322661"/>
                  <a:gd name="connsiteY53" fmla="*/ 140677 h 498763"/>
                  <a:gd name="connsiteX54" fmla="*/ 159604 w 322661"/>
                  <a:gd name="connsiteY54" fmla="*/ 159860 h 498763"/>
                  <a:gd name="connsiteX55" fmla="*/ 169195 w 322661"/>
                  <a:gd name="connsiteY55" fmla="*/ 175846 h 498763"/>
                  <a:gd name="connsiteX56" fmla="*/ 178787 w 322661"/>
                  <a:gd name="connsiteY56" fmla="*/ 191832 h 498763"/>
                  <a:gd name="connsiteX57" fmla="*/ 181984 w 322661"/>
                  <a:gd name="connsiteY57" fmla="*/ 201424 h 498763"/>
                  <a:gd name="connsiteX58" fmla="*/ 188378 w 322661"/>
                  <a:gd name="connsiteY58" fmla="*/ 211015 h 498763"/>
                  <a:gd name="connsiteX59" fmla="*/ 191576 w 322661"/>
                  <a:gd name="connsiteY59" fmla="*/ 220607 h 498763"/>
                  <a:gd name="connsiteX60" fmla="*/ 201167 w 322661"/>
                  <a:gd name="connsiteY60" fmla="*/ 223804 h 498763"/>
                  <a:gd name="connsiteX61" fmla="*/ 239534 w 322661"/>
                  <a:gd name="connsiteY61" fmla="*/ 233396 h 498763"/>
                  <a:gd name="connsiteX62" fmla="*/ 249125 w 322661"/>
                  <a:gd name="connsiteY62" fmla="*/ 239790 h 498763"/>
                  <a:gd name="connsiteX63" fmla="*/ 245928 w 322661"/>
                  <a:gd name="connsiteY63" fmla="*/ 262170 h 498763"/>
                  <a:gd name="connsiteX64" fmla="*/ 239534 w 322661"/>
                  <a:gd name="connsiteY64" fmla="*/ 271762 h 498763"/>
                  <a:gd name="connsiteX65" fmla="*/ 242731 w 322661"/>
                  <a:gd name="connsiteY65" fmla="*/ 300537 h 498763"/>
                  <a:gd name="connsiteX66" fmla="*/ 265111 w 322661"/>
                  <a:gd name="connsiteY66" fmla="*/ 284551 h 498763"/>
                  <a:gd name="connsiteX67" fmla="*/ 287492 w 322661"/>
                  <a:gd name="connsiteY67" fmla="*/ 287748 h 498763"/>
                  <a:gd name="connsiteX68" fmla="*/ 293886 w 322661"/>
                  <a:gd name="connsiteY68" fmla="*/ 297340 h 498763"/>
                  <a:gd name="connsiteX69" fmla="*/ 300281 w 322661"/>
                  <a:gd name="connsiteY69" fmla="*/ 303734 h 498763"/>
                  <a:gd name="connsiteX70" fmla="*/ 313069 w 322661"/>
                  <a:gd name="connsiteY70" fmla="*/ 322917 h 498763"/>
                  <a:gd name="connsiteX71" fmla="*/ 316267 w 322661"/>
                  <a:gd name="connsiteY71" fmla="*/ 332509 h 498763"/>
                  <a:gd name="connsiteX72" fmla="*/ 322661 w 322661"/>
                  <a:gd name="connsiteY72" fmla="*/ 342100 h 498763"/>
                  <a:gd name="connsiteX73" fmla="*/ 265111 w 322661"/>
                  <a:gd name="connsiteY73" fmla="*/ 345298 h 498763"/>
                  <a:gd name="connsiteX74" fmla="*/ 255520 w 322661"/>
                  <a:gd name="connsiteY74" fmla="*/ 351692 h 498763"/>
                  <a:gd name="connsiteX75" fmla="*/ 258717 w 322661"/>
                  <a:gd name="connsiteY75" fmla="*/ 386861 h 498763"/>
                  <a:gd name="connsiteX76" fmla="*/ 277900 w 322661"/>
                  <a:gd name="connsiteY76" fmla="*/ 393256 h 498763"/>
                  <a:gd name="connsiteX77" fmla="*/ 271506 w 322661"/>
                  <a:gd name="connsiteY77" fmla="*/ 402847 h 498763"/>
                  <a:gd name="connsiteX78" fmla="*/ 265111 w 322661"/>
                  <a:gd name="connsiteY78" fmla="*/ 409242 h 498763"/>
                  <a:gd name="connsiteX79" fmla="*/ 261914 w 322661"/>
                  <a:gd name="connsiteY79" fmla="*/ 418833 h 498763"/>
                  <a:gd name="connsiteX80" fmla="*/ 284295 w 322661"/>
                  <a:gd name="connsiteY80" fmla="*/ 434819 h 498763"/>
                  <a:gd name="connsiteX81" fmla="*/ 290689 w 322661"/>
                  <a:gd name="connsiteY81" fmla="*/ 441214 h 498763"/>
                  <a:gd name="connsiteX82" fmla="*/ 287492 w 322661"/>
                  <a:gd name="connsiteY82" fmla="*/ 460397 h 498763"/>
                  <a:gd name="connsiteX83" fmla="*/ 293886 w 322661"/>
                  <a:gd name="connsiteY83" fmla="*/ 485975 h 498763"/>
                  <a:gd name="connsiteX84" fmla="*/ 287492 w 322661"/>
                  <a:gd name="connsiteY84" fmla="*/ 498763 h 498763"/>
                  <a:gd name="connsiteX0" fmla="*/ 73279 w 322661"/>
                  <a:gd name="connsiteY0" fmla="*/ 463594 h 498763"/>
                  <a:gd name="connsiteX1" fmla="*/ 89265 w 322661"/>
                  <a:gd name="connsiteY1" fmla="*/ 450805 h 498763"/>
                  <a:gd name="connsiteX2" fmla="*/ 92462 w 322661"/>
                  <a:gd name="connsiteY2" fmla="*/ 425228 h 498763"/>
                  <a:gd name="connsiteX3" fmla="*/ 108448 w 322661"/>
                  <a:gd name="connsiteY3" fmla="*/ 396453 h 498763"/>
                  <a:gd name="connsiteX4" fmla="*/ 130829 w 322661"/>
                  <a:gd name="connsiteY4" fmla="*/ 374072 h 498763"/>
                  <a:gd name="connsiteX5" fmla="*/ 150012 w 322661"/>
                  <a:gd name="connsiteY5" fmla="*/ 367678 h 498763"/>
                  <a:gd name="connsiteX6" fmla="*/ 140420 w 322661"/>
                  <a:gd name="connsiteY6" fmla="*/ 361284 h 498763"/>
                  <a:gd name="connsiteX7" fmla="*/ 118040 w 322661"/>
                  <a:gd name="connsiteY7" fmla="*/ 354889 h 498763"/>
                  <a:gd name="connsiteX8" fmla="*/ 105251 w 322661"/>
                  <a:gd name="connsiteY8" fmla="*/ 348495 h 498763"/>
                  <a:gd name="connsiteX9" fmla="*/ 98857 w 322661"/>
                  <a:gd name="connsiteY9" fmla="*/ 338903 h 498763"/>
                  <a:gd name="connsiteX10" fmla="*/ 95660 w 322661"/>
                  <a:gd name="connsiteY10" fmla="*/ 329312 h 498763"/>
                  <a:gd name="connsiteX11" fmla="*/ 89265 w 322661"/>
                  <a:gd name="connsiteY11" fmla="*/ 322917 h 498763"/>
                  <a:gd name="connsiteX12" fmla="*/ 82871 w 322661"/>
                  <a:gd name="connsiteY12" fmla="*/ 313326 h 498763"/>
                  <a:gd name="connsiteX13" fmla="*/ 70082 w 322661"/>
                  <a:gd name="connsiteY13" fmla="*/ 274959 h 498763"/>
                  <a:gd name="connsiteX14" fmla="*/ 66885 w 322661"/>
                  <a:gd name="connsiteY14" fmla="*/ 265368 h 498763"/>
                  <a:gd name="connsiteX15" fmla="*/ 54096 w 322661"/>
                  <a:gd name="connsiteY15" fmla="*/ 246184 h 498763"/>
                  <a:gd name="connsiteX16" fmla="*/ 47702 w 322661"/>
                  <a:gd name="connsiteY16" fmla="*/ 236593 h 498763"/>
                  <a:gd name="connsiteX17" fmla="*/ 41307 w 322661"/>
                  <a:gd name="connsiteY17" fmla="*/ 230198 h 498763"/>
                  <a:gd name="connsiteX18" fmla="*/ 38110 w 322661"/>
                  <a:gd name="connsiteY18" fmla="*/ 220607 h 498763"/>
                  <a:gd name="connsiteX19" fmla="*/ 31715 w 322661"/>
                  <a:gd name="connsiteY19" fmla="*/ 214212 h 498763"/>
                  <a:gd name="connsiteX20" fmla="*/ 22124 w 322661"/>
                  <a:gd name="connsiteY20" fmla="*/ 185437 h 498763"/>
                  <a:gd name="connsiteX21" fmla="*/ 18927 w 322661"/>
                  <a:gd name="connsiteY21" fmla="*/ 175846 h 498763"/>
                  <a:gd name="connsiteX22" fmla="*/ 12532 w 322661"/>
                  <a:gd name="connsiteY22" fmla="*/ 169451 h 498763"/>
                  <a:gd name="connsiteX23" fmla="*/ 9335 w 322661"/>
                  <a:gd name="connsiteY23" fmla="*/ 156663 h 498763"/>
                  <a:gd name="connsiteX24" fmla="*/ 2941 w 322661"/>
                  <a:gd name="connsiteY24" fmla="*/ 150268 h 498763"/>
                  <a:gd name="connsiteX25" fmla="*/ 626 w 322661"/>
                  <a:gd name="connsiteY25" fmla="*/ 131085 h 498763"/>
                  <a:gd name="connsiteX26" fmla="*/ 18927 w 322661"/>
                  <a:gd name="connsiteY26" fmla="*/ 111902 h 498763"/>
                  <a:gd name="connsiteX27" fmla="*/ 22124 w 322661"/>
                  <a:gd name="connsiteY27" fmla="*/ 102310 h 498763"/>
                  <a:gd name="connsiteX28" fmla="*/ 46086 w 322661"/>
                  <a:gd name="connsiteY28" fmla="*/ 85508 h 498763"/>
                  <a:gd name="connsiteX29" fmla="*/ 68450 w 322661"/>
                  <a:gd name="connsiteY29" fmla="*/ 86391 h 498763"/>
                  <a:gd name="connsiteX30" fmla="*/ 91646 w 322661"/>
                  <a:gd name="connsiteY30" fmla="*/ 61629 h 498763"/>
                  <a:gd name="connsiteX31" fmla="*/ 95660 w 322661"/>
                  <a:gd name="connsiteY31" fmla="*/ 67141 h 498763"/>
                  <a:gd name="connsiteX32" fmla="*/ 105251 w 322661"/>
                  <a:gd name="connsiteY32" fmla="*/ 63944 h 498763"/>
                  <a:gd name="connsiteX33" fmla="*/ 111712 w 322661"/>
                  <a:gd name="connsiteY33" fmla="*/ 34486 h 498763"/>
                  <a:gd name="connsiteX34" fmla="*/ 143618 w 322661"/>
                  <a:gd name="connsiteY34" fmla="*/ 31972 h 498763"/>
                  <a:gd name="connsiteX35" fmla="*/ 153209 w 322661"/>
                  <a:gd name="connsiteY35" fmla="*/ 28775 h 498763"/>
                  <a:gd name="connsiteX36" fmla="*/ 178787 w 322661"/>
                  <a:gd name="connsiteY36" fmla="*/ 9591 h 498763"/>
                  <a:gd name="connsiteX37" fmla="*/ 197970 w 322661"/>
                  <a:gd name="connsiteY37" fmla="*/ 0 h 498763"/>
                  <a:gd name="connsiteX38" fmla="*/ 207562 w 322661"/>
                  <a:gd name="connsiteY38" fmla="*/ 3197 h 498763"/>
                  <a:gd name="connsiteX39" fmla="*/ 217153 w 322661"/>
                  <a:gd name="connsiteY39" fmla="*/ 9591 h 498763"/>
                  <a:gd name="connsiteX40" fmla="*/ 236336 w 322661"/>
                  <a:gd name="connsiteY40" fmla="*/ 15986 h 498763"/>
                  <a:gd name="connsiteX41" fmla="*/ 245928 w 322661"/>
                  <a:gd name="connsiteY41" fmla="*/ 19183 h 498763"/>
                  <a:gd name="connsiteX42" fmla="*/ 255520 w 322661"/>
                  <a:gd name="connsiteY42" fmla="*/ 22380 h 498763"/>
                  <a:gd name="connsiteX43" fmla="*/ 261914 w 322661"/>
                  <a:gd name="connsiteY43" fmla="*/ 47958 h 498763"/>
                  <a:gd name="connsiteX44" fmla="*/ 258717 w 322661"/>
                  <a:gd name="connsiteY44" fmla="*/ 79930 h 498763"/>
                  <a:gd name="connsiteX45" fmla="*/ 255520 w 322661"/>
                  <a:gd name="connsiteY45" fmla="*/ 89521 h 498763"/>
                  <a:gd name="connsiteX46" fmla="*/ 245928 w 322661"/>
                  <a:gd name="connsiteY46" fmla="*/ 92719 h 498763"/>
                  <a:gd name="connsiteX47" fmla="*/ 217153 w 322661"/>
                  <a:gd name="connsiteY47" fmla="*/ 95916 h 498763"/>
                  <a:gd name="connsiteX48" fmla="*/ 197970 w 322661"/>
                  <a:gd name="connsiteY48" fmla="*/ 102310 h 498763"/>
                  <a:gd name="connsiteX49" fmla="*/ 188378 w 322661"/>
                  <a:gd name="connsiteY49" fmla="*/ 105507 h 498763"/>
                  <a:gd name="connsiteX50" fmla="*/ 185181 w 322661"/>
                  <a:gd name="connsiteY50" fmla="*/ 124691 h 498763"/>
                  <a:gd name="connsiteX51" fmla="*/ 181984 w 322661"/>
                  <a:gd name="connsiteY51" fmla="*/ 147071 h 498763"/>
                  <a:gd name="connsiteX52" fmla="*/ 162801 w 322661"/>
                  <a:gd name="connsiteY52" fmla="*/ 143874 h 498763"/>
                  <a:gd name="connsiteX53" fmla="*/ 153209 w 322661"/>
                  <a:gd name="connsiteY53" fmla="*/ 140677 h 498763"/>
                  <a:gd name="connsiteX54" fmla="*/ 159604 w 322661"/>
                  <a:gd name="connsiteY54" fmla="*/ 159860 h 498763"/>
                  <a:gd name="connsiteX55" fmla="*/ 169195 w 322661"/>
                  <a:gd name="connsiteY55" fmla="*/ 175846 h 498763"/>
                  <a:gd name="connsiteX56" fmla="*/ 178787 w 322661"/>
                  <a:gd name="connsiteY56" fmla="*/ 191832 h 498763"/>
                  <a:gd name="connsiteX57" fmla="*/ 181984 w 322661"/>
                  <a:gd name="connsiteY57" fmla="*/ 201424 h 498763"/>
                  <a:gd name="connsiteX58" fmla="*/ 188378 w 322661"/>
                  <a:gd name="connsiteY58" fmla="*/ 211015 h 498763"/>
                  <a:gd name="connsiteX59" fmla="*/ 191576 w 322661"/>
                  <a:gd name="connsiteY59" fmla="*/ 220607 h 498763"/>
                  <a:gd name="connsiteX60" fmla="*/ 201167 w 322661"/>
                  <a:gd name="connsiteY60" fmla="*/ 223804 h 498763"/>
                  <a:gd name="connsiteX61" fmla="*/ 239534 w 322661"/>
                  <a:gd name="connsiteY61" fmla="*/ 233396 h 498763"/>
                  <a:gd name="connsiteX62" fmla="*/ 249125 w 322661"/>
                  <a:gd name="connsiteY62" fmla="*/ 239790 h 498763"/>
                  <a:gd name="connsiteX63" fmla="*/ 245928 w 322661"/>
                  <a:gd name="connsiteY63" fmla="*/ 262170 h 498763"/>
                  <a:gd name="connsiteX64" fmla="*/ 239534 w 322661"/>
                  <a:gd name="connsiteY64" fmla="*/ 271762 h 498763"/>
                  <a:gd name="connsiteX65" fmla="*/ 242731 w 322661"/>
                  <a:gd name="connsiteY65" fmla="*/ 300537 h 498763"/>
                  <a:gd name="connsiteX66" fmla="*/ 273764 w 322661"/>
                  <a:gd name="connsiteY66" fmla="*/ 278782 h 498763"/>
                  <a:gd name="connsiteX67" fmla="*/ 287492 w 322661"/>
                  <a:gd name="connsiteY67" fmla="*/ 287748 h 498763"/>
                  <a:gd name="connsiteX68" fmla="*/ 293886 w 322661"/>
                  <a:gd name="connsiteY68" fmla="*/ 297340 h 498763"/>
                  <a:gd name="connsiteX69" fmla="*/ 300281 w 322661"/>
                  <a:gd name="connsiteY69" fmla="*/ 303734 h 498763"/>
                  <a:gd name="connsiteX70" fmla="*/ 313069 w 322661"/>
                  <a:gd name="connsiteY70" fmla="*/ 322917 h 498763"/>
                  <a:gd name="connsiteX71" fmla="*/ 316267 w 322661"/>
                  <a:gd name="connsiteY71" fmla="*/ 332509 h 498763"/>
                  <a:gd name="connsiteX72" fmla="*/ 322661 w 322661"/>
                  <a:gd name="connsiteY72" fmla="*/ 342100 h 498763"/>
                  <a:gd name="connsiteX73" fmla="*/ 265111 w 322661"/>
                  <a:gd name="connsiteY73" fmla="*/ 345298 h 498763"/>
                  <a:gd name="connsiteX74" fmla="*/ 255520 w 322661"/>
                  <a:gd name="connsiteY74" fmla="*/ 351692 h 498763"/>
                  <a:gd name="connsiteX75" fmla="*/ 258717 w 322661"/>
                  <a:gd name="connsiteY75" fmla="*/ 386861 h 498763"/>
                  <a:gd name="connsiteX76" fmla="*/ 277900 w 322661"/>
                  <a:gd name="connsiteY76" fmla="*/ 393256 h 498763"/>
                  <a:gd name="connsiteX77" fmla="*/ 271506 w 322661"/>
                  <a:gd name="connsiteY77" fmla="*/ 402847 h 498763"/>
                  <a:gd name="connsiteX78" fmla="*/ 265111 w 322661"/>
                  <a:gd name="connsiteY78" fmla="*/ 409242 h 498763"/>
                  <a:gd name="connsiteX79" fmla="*/ 261914 w 322661"/>
                  <a:gd name="connsiteY79" fmla="*/ 418833 h 498763"/>
                  <a:gd name="connsiteX80" fmla="*/ 284295 w 322661"/>
                  <a:gd name="connsiteY80" fmla="*/ 434819 h 498763"/>
                  <a:gd name="connsiteX81" fmla="*/ 290689 w 322661"/>
                  <a:gd name="connsiteY81" fmla="*/ 441214 h 498763"/>
                  <a:gd name="connsiteX82" fmla="*/ 287492 w 322661"/>
                  <a:gd name="connsiteY82" fmla="*/ 460397 h 498763"/>
                  <a:gd name="connsiteX83" fmla="*/ 293886 w 322661"/>
                  <a:gd name="connsiteY83" fmla="*/ 485975 h 498763"/>
                  <a:gd name="connsiteX84" fmla="*/ 287492 w 322661"/>
                  <a:gd name="connsiteY84" fmla="*/ 498763 h 498763"/>
                  <a:gd name="connsiteX0" fmla="*/ 73279 w 322661"/>
                  <a:gd name="connsiteY0" fmla="*/ 463594 h 498763"/>
                  <a:gd name="connsiteX1" fmla="*/ 89265 w 322661"/>
                  <a:gd name="connsiteY1" fmla="*/ 450805 h 498763"/>
                  <a:gd name="connsiteX2" fmla="*/ 92462 w 322661"/>
                  <a:gd name="connsiteY2" fmla="*/ 425228 h 498763"/>
                  <a:gd name="connsiteX3" fmla="*/ 108448 w 322661"/>
                  <a:gd name="connsiteY3" fmla="*/ 396453 h 498763"/>
                  <a:gd name="connsiteX4" fmla="*/ 130829 w 322661"/>
                  <a:gd name="connsiteY4" fmla="*/ 374072 h 498763"/>
                  <a:gd name="connsiteX5" fmla="*/ 150012 w 322661"/>
                  <a:gd name="connsiteY5" fmla="*/ 367678 h 498763"/>
                  <a:gd name="connsiteX6" fmla="*/ 140420 w 322661"/>
                  <a:gd name="connsiteY6" fmla="*/ 361284 h 498763"/>
                  <a:gd name="connsiteX7" fmla="*/ 118040 w 322661"/>
                  <a:gd name="connsiteY7" fmla="*/ 354889 h 498763"/>
                  <a:gd name="connsiteX8" fmla="*/ 105251 w 322661"/>
                  <a:gd name="connsiteY8" fmla="*/ 348495 h 498763"/>
                  <a:gd name="connsiteX9" fmla="*/ 98857 w 322661"/>
                  <a:gd name="connsiteY9" fmla="*/ 338903 h 498763"/>
                  <a:gd name="connsiteX10" fmla="*/ 95660 w 322661"/>
                  <a:gd name="connsiteY10" fmla="*/ 329312 h 498763"/>
                  <a:gd name="connsiteX11" fmla="*/ 89265 w 322661"/>
                  <a:gd name="connsiteY11" fmla="*/ 322917 h 498763"/>
                  <a:gd name="connsiteX12" fmla="*/ 82871 w 322661"/>
                  <a:gd name="connsiteY12" fmla="*/ 313326 h 498763"/>
                  <a:gd name="connsiteX13" fmla="*/ 70082 w 322661"/>
                  <a:gd name="connsiteY13" fmla="*/ 274959 h 498763"/>
                  <a:gd name="connsiteX14" fmla="*/ 66885 w 322661"/>
                  <a:gd name="connsiteY14" fmla="*/ 265368 h 498763"/>
                  <a:gd name="connsiteX15" fmla="*/ 54096 w 322661"/>
                  <a:gd name="connsiteY15" fmla="*/ 246184 h 498763"/>
                  <a:gd name="connsiteX16" fmla="*/ 47702 w 322661"/>
                  <a:gd name="connsiteY16" fmla="*/ 236593 h 498763"/>
                  <a:gd name="connsiteX17" fmla="*/ 41307 w 322661"/>
                  <a:gd name="connsiteY17" fmla="*/ 230198 h 498763"/>
                  <a:gd name="connsiteX18" fmla="*/ 38110 w 322661"/>
                  <a:gd name="connsiteY18" fmla="*/ 220607 h 498763"/>
                  <a:gd name="connsiteX19" fmla="*/ 31715 w 322661"/>
                  <a:gd name="connsiteY19" fmla="*/ 214212 h 498763"/>
                  <a:gd name="connsiteX20" fmla="*/ 22124 w 322661"/>
                  <a:gd name="connsiteY20" fmla="*/ 185437 h 498763"/>
                  <a:gd name="connsiteX21" fmla="*/ 18927 w 322661"/>
                  <a:gd name="connsiteY21" fmla="*/ 175846 h 498763"/>
                  <a:gd name="connsiteX22" fmla="*/ 12532 w 322661"/>
                  <a:gd name="connsiteY22" fmla="*/ 169451 h 498763"/>
                  <a:gd name="connsiteX23" fmla="*/ 9335 w 322661"/>
                  <a:gd name="connsiteY23" fmla="*/ 156663 h 498763"/>
                  <a:gd name="connsiteX24" fmla="*/ 2941 w 322661"/>
                  <a:gd name="connsiteY24" fmla="*/ 150268 h 498763"/>
                  <a:gd name="connsiteX25" fmla="*/ 626 w 322661"/>
                  <a:gd name="connsiteY25" fmla="*/ 131085 h 498763"/>
                  <a:gd name="connsiteX26" fmla="*/ 18927 w 322661"/>
                  <a:gd name="connsiteY26" fmla="*/ 111902 h 498763"/>
                  <a:gd name="connsiteX27" fmla="*/ 22124 w 322661"/>
                  <a:gd name="connsiteY27" fmla="*/ 102310 h 498763"/>
                  <a:gd name="connsiteX28" fmla="*/ 46086 w 322661"/>
                  <a:gd name="connsiteY28" fmla="*/ 85508 h 498763"/>
                  <a:gd name="connsiteX29" fmla="*/ 68450 w 322661"/>
                  <a:gd name="connsiteY29" fmla="*/ 86391 h 498763"/>
                  <a:gd name="connsiteX30" fmla="*/ 91646 w 322661"/>
                  <a:gd name="connsiteY30" fmla="*/ 61629 h 498763"/>
                  <a:gd name="connsiteX31" fmla="*/ 95660 w 322661"/>
                  <a:gd name="connsiteY31" fmla="*/ 67141 h 498763"/>
                  <a:gd name="connsiteX32" fmla="*/ 105251 w 322661"/>
                  <a:gd name="connsiteY32" fmla="*/ 63944 h 498763"/>
                  <a:gd name="connsiteX33" fmla="*/ 111712 w 322661"/>
                  <a:gd name="connsiteY33" fmla="*/ 34486 h 498763"/>
                  <a:gd name="connsiteX34" fmla="*/ 143618 w 322661"/>
                  <a:gd name="connsiteY34" fmla="*/ 31972 h 498763"/>
                  <a:gd name="connsiteX35" fmla="*/ 153209 w 322661"/>
                  <a:gd name="connsiteY35" fmla="*/ 28775 h 498763"/>
                  <a:gd name="connsiteX36" fmla="*/ 178787 w 322661"/>
                  <a:gd name="connsiteY36" fmla="*/ 9591 h 498763"/>
                  <a:gd name="connsiteX37" fmla="*/ 197970 w 322661"/>
                  <a:gd name="connsiteY37" fmla="*/ 0 h 498763"/>
                  <a:gd name="connsiteX38" fmla="*/ 207562 w 322661"/>
                  <a:gd name="connsiteY38" fmla="*/ 3197 h 498763"/>
                  <a:gd name="connsiteX39" fmla="*/ 217153 w 322661"/>
                  <a:gd name="connsiteY39" fmla="*/ 9591 h 498763"/>
                  <a:gd name="connsiteX40" fmla="*/ 236336 w 322661"/>
                  <a:gd name="connsiteY40" fmla="*/ 15986 h 498763"/>
                  <a:gd name="connsiteX41" fmla="*/ 245928 w 322661"/>
                  <a:gd name="connsiteY41" fmla="*/ 19183 h 498763"/>
                  <a:gd name="connsiteX42" fmla="*/ 255520 w 322661"/>
                  <a:gd name="connsiteY42" fmla="*/ 22380 h 498763"/>
                  <a:gd name="connsiteX43" fmla="*/ 261914 w 322661"/>
                  <a:gd name="connsiteY43" fmla="*/ 47958 h 498763"/>
                  <a:gd name="connsiteX44" fmla="*/ 258717 w 322661"/>
                  <a:gd name="connsiteY44" fmla="*/ 79930 h 498763"/>
                  <a:gd name="connsiteX45" fmla="*/ 255520 w 322661"/>
                  <a:gd name="connsiteY45" fmla="*/ 89521 h 498763"/>
                  <a:gd name="connsiteX46" fmla="*/ 245928 w 322661"/>
                  <a:gd name="connsiteY46" fmla="*/ 92719 h 498763"/>
                  <a:gd name="connsiteX47" fmla="*/ 217153 w 322661"/>
                  <a:gd name="connsiteY47" fmla="*/ 95916 h 498763"/>
                  <a:gd name="connsiteX48" fmla="*/ 197970 w 322661"/>
                  <a:gd name="connsiteY48" fmla="*/ 102310 h 498763"/>
                  <a:gd name="connsiteX49" fmla="*/ 188378 w 322661"/>
                  <a:gd name="connsiteY49" fmla="*/ 105507 h 498763"/>
                  <a:gd name="connsiteX50" fmla="*/ 185181 w 322661"/>
                  <a:gd name="connsiteY50" fmla="*/ 124691 h 498763"/>
                  <a:gd name="connsiteX51" fmla="*/ 181984 w 322661"/>
                  <a:gd name="connsiteY51" fmla="*/ 147071 h 498763"/>
                  <a:gd name="connsiteX52" fmla="*/ 162801 w 322661"/>
                  <a:gd name="connsiteY52" fmla="*/ 143874 h 498763"/>
                  <a:gd name="connsiteX53" fmla="*/ 153209 w 322661"/>
                  <a:gd name="connsiteY53" fmla="*/ 140677 h 498763"/>
                  <a:gd name="connsiteX54" fmla="*/ 159604 w 322661"/>
                  <a:gd name="connsiteY54" fmla="*/ 159860 h 498763"/>
                  <a:gd name="connsiteX55" fmla="*/ 169195 w 322661"/>
                  <a:gd name="connsiteY55" fmla="*/ 175846 h 498763"/>
                  <a:gd name="connsiteX56" fmla="*/ 178787 w 322661"/>
                  <a:gd name="connsiteY56" fmla="*/ 191832 h 498763"/>
                  <a:gd name="connsiteX57" fmla="*/ 181984 w 322661"/>
                  <a:gd name="connsiteY57" fmla="*/ 201424 h 498763"/>
                  <a:gd name="connsiteX58" fmla="*/ 188378 w 322661"/>
                  <a:gd name="connsiteY58" fmla="*/ 211015 h 498763"/>
                  <a:gd name="connsiteX59" fmla="*/ 191576 w 322661"/>
                  <a:gd name="connsiteY59" fmla="*/ 220607 h 498763"/>
                  <a:gd name="connsiteX60" fmla="*/ 201167 w 322661"/>
                  <a:gd name="connsiteY60" fmla="*/ 223804 h 498763"/>
                  <a:gd name="connsiteX61" fmla="*/ 239534 w 322661"/>
                  <a:gd name="connsiteY61" fmla="*/ 233396 h 498763"/>
                  <a:gd name="connsiteX62" fmla="*/ 249125 w 322661"/>
                  <a:gd name="connsiteY62" fmla="*/ 239790 h 498763"/>
                  <a:gd name="connsiteX63" fmla="*/ 245928 w 322661"/>
                  <a:gd name="connsiteY63" fmla="*/ 262170 h 498763"/>
                  <a:gd name="connsiteX64" fmla="*/ 239534 w 322661"/>
                  <a:gd name="connsiteY64" fmla="*/ 271762 h 498763"/>
                  <a:gd name="connsiteX65" fmla="*/ 242731 w 322661"/>
                  <a:gd name="connsiteY65" fmla="*/ 300537 h 498763"/>
                  <a:gd name="connsiteX66" fmla="*/ 273764 w 322661"/>
                  <a:gd name="connsiteY66" fmla="*/ 278782 h 498763"/>
                  <a:gd name="connsiteX67" fmla="*/ 287492 w 322661"/>
                  <a:gd name="connsiteY67" fmla="*/ 287748 h 498763"/>
                  <a:gd name="connsiteX68" fmla="*/ 302540 w 322661"/>
                  <a:gd name="connsiteY68" fmla="*/ 291571 h 498763"/>
                  <a:gd name="connsiteX69" fmla="*/ 300281 w 322661"/>
                  <a:gd name="connsiteY69" fmla="*/ 303734 h 498763"/>
                  <a:gd name="connsiteX70" fmla="*/ 313069 w 322661"/>
                  <a:gd name="connsiteY70" fmla="*/ 322917 h 498763"/>
                  <a:gd name="connsiteX71" fmla="*/ 316267 w 322661"/>
                  <a:gd name="connsiteY71" fmla="*/ 332509 h 498763"/>
                  <a:gd name="connsiteX72" fmla="*/ 322661 w 322661"/>
                  <a:gd name="connsiteY72" fmla="*/ 342100 h 498763"/>
                  <a:gd name="connsiteX73" fmla="*/ 265111 w 322661"/>
                  <a:gd name="connsiteY73" fmla="*/ 345298 h 498763"/>
                  <a:gd name="connsiteX74" fmla="*/ 255520 w 322661"/>
                  <a:gd name="connsiteY74" fmla="*/ 351692 h 498763"/>
                  <a:gd name="connsiteX75" fmla="*/ 258717 w 322661"/>
                  <a:gd name="connsiteY75" fmla="*/ 386861 h 498763"/>
                  <a:gd name="connsiteX76" fmla="*/ 277900 w 322661"/>
                  <a:gd name="connsiteY76" fmla="*/ 393256 h 498763"/>
                  <a:gd name="connsiteX77" fmla="*/ 271506 w 322661"/>
                  <a:gd name="connsiteY77" fmla="*/ 402847 h 498763"/>
                  <a:gd name="connsiteX78" fmla="*/ 265111 w 322661"/>
                  <a:gd name="connsiteY78" fmla="*/ 409242 h 498763"/>
                  <a:gd name="connsiteX79" fmla="*/ 261914 w 322661"/>
                  <a:gd name="connsiteY79" fmla="*/ 418833 h 498763"/>
                  <a:gd name="connsiteX80" fmla="*/ 284295 w 322661"/>
                  <a:gd name="connsiteY80" fmla="*/ 434819 h 498763"/>
                  <a:gd name="connsiteX81" fmla="*/ 290689 w 322661"/>
                  <a:gd name="connsiteY81" fmla="*/ 441214 h 498763"/>
                  <a:gd name="connsiteX82" fmla="*/ 287492 w 322661"/>
                  <a:gd name="connsiteY82" fmla="*/ 460397 h 498763"/>
                  <a:gd name="connsiteX83" fmla="*/ 293886 w 322661"/>
                  <a:gd name="connsiteY83" fmla="*/ 485975 h 498763"/>
                  <a:gd name="connsiteX84" fmla="*/ 287492 w 322661"/>
                  <a:gd name="connsiteY84" fmla="*/ 498763 h 498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22661" h="498763">
                    <a:moveTo>
                      <a:pt x="73279" y="463594"/>
                    </a:moveTo>
                    <a:cubicBezTo>
                      <a:pt x="78608" y="459331"/>
                      <a:pt x="86213" y="456909"/>
                      <a:pt x="89265" y="450805"/>
                    </a:cubicBezTo>
                    <a:cubicBezTo>
                      <a:pt x="93107" y="443120"/>
                      <a:pt x="90662" y="433629"/>
                      <a:pt x="92462" y="425228"/>
                    </a:cubicBezTo>
                    <a:cubicBezTo>
                      <a:pt x="96730" y="405312"/>
                      <a:pt x="96476" y="408425"/>
                      <a:pt x="108448" y="396453"/>
                    </a:cubicBezTo>
                    <a:cubicBezTo>
                      <a:pt x="112871" y="383187"/>
                      <a:pt x="111591" y="380484"/>
                      <a:pt x="130829" y="374072"/>
                    </a:cubicBezTo>
                    <a:lnTo>
                      <a:pt x="150012" y="367678"/>
                    </a:lnTo>
                    <a:cubicBezTo>
                      <a:pt x="146815" y="365547"/>
                      <a:pt x="143857" y="363003"/>
                      <a:pt x="140420" y="361284"/>
                    </a:cubicBezTo>
                    <a:cubicBezTo>
                      <a:pt x="132680" y="357414"/>
                      <a:pt x="126249" y="357967"/>
                      <a:pt x="118040" y="354889"/>
                    </a:cubicBezTo>
                    <a:cubicBezTo>
                      <a:pt x="113577" y="353216"/>
                      <a:pt x="109514" y="350626"/>
                      <a:pt x="105251" y="348495"/>
                    </a:cubicBezTo>
                    <a:cubicBezTo>
                      <a:pt x="103120" y="345298"/>
                      <a:pt x="100575" y="342340"/>
                      <a:pt x="98857" y="338903"/>
                    </a:cubicBezTo>
                    <a:cubicBezTo>
                      <a:pt x="97350" y="335889"/>
                      <a:pt x="97394" y="332202"/>
                      <a:pt x="95660" y="329312"/>
                    </a:cubicBezTo>
                    <a:cubicBezTo>
                      <a:pt x="94109" y="326727"/>
                      <a:pt x="91148" y="325271"/>
                      <a:pt x="89265" y="322917"/>
                    </a:cubicBezTo>
                    <a:cubicBezTo>
                      <a:pt x="86865" y="319917"/>
                      <a:pt x="85002" y="316523"/>
                      <a:pt x="82871" y="313326"/>
                    </a:cubicBezTo>
                    <a:lnTo>
                      <a:pt x="70082" y="274959"/>
                    </a:lnTo>
                    <a:cubicBezTo>
                      <a:pt x="69016" y="271762"/>
                      <a:pt x="68754" y="268172"/>
                      <a:pt x="66885" y="265368"/>
                    </a:cubicBezTo>
                    <a:lnTo>
                      <a:pt x="54096" y="246184"/>
                    </a:lnTo>
                    <a:cubicBezTo>
                      <a:pt x="51965" y="242987"/>
                      <a:pt x="50419" y="239310"/>
                      <a:pt x="47702" y="236593"/>
                    </a:cubicBezTo>
                    <a:lnTo>
                      <a:pt x="41307" y="230198"/>
                    </a:lnTo>
                    <a:cubicBezTo>
                      <a:pt x="40241" y="227001"/>
                      <a:pt x="39844" y="223497"/>
                      <a:pt x="38110" y="220607"/>
                    </a:cubicBezTo>
                    <a:cubicBezTo>
                      <a:pt x="36559" y="218022"/>
                      <a:pt x="33063" y="216908"/>
                      <a:pt x="31715" y="214212"/>
                    </a:cubicBezTo>
                    <a:cubicBezTo>
                      <a:pt x="31713" y="214209"/>
                      <a:pt x="23723" y="190234"/>
                      <a:pt x="22124" y="185437"/>
                    </a:cubicBezTo>
                    <a:cubicBezTo>
                      <a:pt x="21058" y="182240"/>
                      <a:pt x="21310" y="178229"/>
                      <a:pt x="18927" y="175846"/>
                    </a:cubicBezTo>
                    <a:lnTo>
                      <a:pt x="12532" y="169451"/>
                    </a:lnTo>
                    <a:cubicBezTo>
                      <a:pt x="11466" y="165188"/>
                      <a:pt x="11300" y="160593"/>
                      <a:pt x="9335" y="156663"/>
                    </a:cubicBezTo>
                    <a:cubicBezTo>
                      <a:pt x="7987" y="153967"/>
                      <a:pt x="4392" y="154531"/>
                      <a:pt x="2941" y="150268"/>
                    </a:cubicBezTo>
                    <a:cubicBezTo>
                      <a:pt x="1490" y="146005"/>
                      <a:pt x="-1231" y="135264"/>
                      <a:pt x="626" y="131085"/>
                    </a:cubicBezTo>
                    <a:cubicBezTo>
                      <a:pt x="3364" y="124926"/>
                      <a:pt x="15344" y="116698"/>
                      <a:pt x="18927" y="111902"/>
                    </a:cubicBezTo>
                    <a:cubicBezTo>
                      <a:pt x="22510" y="107106"/>
                      <a:pt x="17598" y="106709"/>
                      <a:pt x="22124" y="102310"/>
                    </a:cubicBezTo>
                    <a:cubicBezTo>
                      <a:pt x="26650" y="97911"/>
                      <a:pt x="39159" y="86574"/>
                      <a:pt x="46086" y="85508"/>
                    </a:cubicBezTo>
                    <a:cubicBezTo>
                      <a:pt x="53013" y="84442"/>
                      <a:pt x="60857" y="91958"/>
                      <a:pt x="68450" y="86391"/>
                    </a:cubicBezTo>
                    <a:cubicBezTo>
                      <a:pt x="107878" y="46963"/>
                      <a:pt x="87111" y="64837"/>
                      <a:pt x="91646" y="61629"/>
                    </a:cubicBezTo>
                    <a:cubicBezTo>
                      <a:pt x="96181" y="58421"/>
                      <a:pt x="93393" y="66755"/>
                      <a:pt x="95660" y="67141"/>
                    </a:cubicBezTo>
                    <a:cubicBezTo>
                      <a:pt x="97927" y="67527"/>
                      <a:pt x="102054" y="65010"/>
                      <a:pt x="105251" y="63944"/>
                    </a:cubicBezTo>
                    <a:cubicBezTo>
                      <a:pt x="127021" y="42174"/>
                      <a:pt x="83479" y="58686"/>
                      <a:pt x="111712" y="34486"/>
                    </a:cubicBezTo>
                    <a:cubicBezTo>
                      <a:pt x="122728" y="25044"/>
                      <a:pt x="136702" y="32924"/>
                      <a:pt x="143618" y="31972"/>
                    </a:cubicBezTo>
                    <a:cubicBezTo>
                      <a:pt x="150534" y="31020"/>
                      <a:pt x="150012" y="29841"/>
                      <a:pt x="153209" y="28775"/>
                    </a:cubicBezTo>
                    <a:cubicBezTo>
                      <a:pt x="165038" y="16946"/>
                      <a:pt x="157096" y="24052"/>
                      <a:pt x="178787" y="9591"/>
                    </a:cubicBezTo>
                    <a:cubicBezTo>
                      <a:pt x="191182" y="1328"/>
                      <a:pt x="184733" y="4412"/>
                      <a:pt x="197970" y="0"/>
                    </a:cubicBezTo>
                    <a:cubicBezTo>
                      <a:pt x="201167" y="1066"/>
                      <a:pt x="204548" y="1690"/>
                      <a:pt x="207562" y="3197"/>
                    </a:cubicBezTo>
                    <a:cubicBezTo>
                      <a:pt x="210999" y="4915"/>
                      <a:pt x="213642" y="8030"/>
                      <a:pt x="217153" y="9591"/>
                    </a:cubicBezTo>
                    <a:cubicBezTo>
                      <a:pt x="223312" y="12329"/>
                      <a:pt x="229942" y="13854"/>
                      <a:pt x="236336" y="15986"/>
                    </a:cubicBezTo>
                    <a:lnTo>
                      <a:pt x="245928" y="19183"/>
                    </a:lnTo>
                    <a:lnTo>
                      <a:pt x="255520" y="22380"/>
                    </a:lnTo>
                    <a:cubicBezTo>
                      <a:pt x="258043" y="29949"/>
                      <a:pt x="261914" y="40242"/>
                      <a:pt x="261914" y="47958"/>
                    </a:cubicBezTo>
                    <a:cubicBezTo>
                      <a:pt x="261914" y="58668"/>
                      <a:pt x="260346" y="69344"/>
                      <a:pt x="258717" y="79930"/>
                    </a:cubicBezTo>
                    <a:cubicBezTo>
                      <a:pt x="258205" y="83261"/>
                      <a:pt x="257903" y="87138"/>
                      <a:pt x="255520" y="89521"/>
                    </a:cubicBezTo>
                    <a:cubicBezTo>
                      <a:pt x="253137" y="91904"/>
                      <a:pt x="249252" y="92165"/>
                      <a:pt x="245928" y="92719"/>
                    </a:cubicBezTo>
                    <a:cubicBezTo>
                      <a:pt x="236409" y="94306"/>
                      <a:pt x="226745" y="94850"/>
                      <a:pt x="217153" y="95916"/>
                    </a:cubicBezTo>
                    <a:lnTo>
                      <a:pt x="197970" y="102310"/>
                    </a:lnTo>
                    <a:lnTo>
                      <a:pt x="188378" y="105507"/>
                    </a:lnTo>
                    <a:cubicBezTo>
                      <a:pt x="176182" y="117704"/>
                      <a:pt x="185181" y="105049"/>
                      <a:pt x="185181" y="124691"/>
                    </a:cubicBezTo>
                    <a:cubicBezTo>
                      <a:pt x="185181" y="132227"/>
                      <a:pt x="183050" y="139611"/>
                      <a:pt x="181984" y="147071"/>
                    </a:cubicBezTo>
                    <a:cubicBezTo>
                      <a:pt x="175590" y="146005"/>
                      <a:pt x="169129" y="145280"/>
                      <a:pt x="162801" y="143874"/>
                    </a:cubicBezTo>
                    <a:cubicBezTo>
                      <a:pt x="159511" y="143143"/>
                      <a:pt x="153870" y="137372"/>
                      <a:pt x="153209" y="140677"/>
                    </a:cubicBezTo>
                    <a:cubicBezTo>
                      <a:pt x="151887" y="147286"/>
                      <a:pt x="157472" y="153466"/>
                      <a:pt x="159604" y="159860"/>
                    </a:cubicBezTo>
                    <a:cubicBezTo>
                      <a:pt x="163755" y="172311"/>
                      <a:pt x="160418" y="167068"/>
                      <a:pt x="169195" y="175846"/>
                    </a:cubicBezTo>
                    <a:cubicBezTo>
                      <a:pt x="178252" y="203017"/>
                      <a:pt x="165620" y="169886"/>
                      <a:pt x="178787" y="191832"/>
                    </a:cubicBezTo>
                    <a:cubicBezTo>
                      <a:pt x="180521" y="194722"/>
                      <a:pt x="180477" y="198410"/>
                      <a:pt x="181984" y="201424"/>
                    </a:cubicBezTo>
                    <a:cubicBezTo>
                      <a:pt x="183702" y="204861"/>
                      <a:pt x="186660" y="207578"/>
                      <a:pt x="188378" y="211015"/>
                    </a:cubicBezTo>
                    <a:cubicBezTo>
                      <a:pt x="189885" y="214030"/>
                      <a:pt x="189193" y="218224"/>
                      <a:pt x="191576" y="220607"/>
                    </a:cubicBezTo>
                    <a:cubicBezTo>
                      <a:pt x="193959" y="222990"/>
                      <a:pt x="197970" y="222738"/>
                      <a:pt x="201167" y="223804"/>
                    </a:cubicBezTo>
                    <a:cubicBezTo>
                      <a:pt x="216810" y="239444"/>
                      <a:pt x="198617" y="223953"/>
                      <a:pt x="239534" y="233396"/>
                    </a:cubicBezTo>
                    <a:cubicBezTo>
                      <a:pt x="243278" y="234260"/>
                      <a:pt x="245928" y="237659"/>
                      <a:pt x="249125" y="239790"/>
                    </a:cubicBezTo>
                    <a:cubicBezTo>
                      <a:pt x="248059" y="247250"/>
                      <a:pt x="248093" y="254952"/>
                      <a:pt x="245928" y="262170"/>
                    </a:cubicBezTo>
                    <a:cubicBezTo>
                      <a:pt x="244824" y="265851"/>
                      <a:pt x="239853" y="267933"/>
                      <a:pt x="239534" y="271762"/>
                    </a:cubicBezTo>
                    <a:cubicBezTo>
                      <a:pt x="238733" y="281379"/>
                      <a:pt x="241665" y="290945"/>
                      <a:pt x="242731" y="300537"/>
                    </a:cubicBezTo>
                    <a:cubicBezTo>
                      <a:pt x="257903" y="285365"/>
                      <a:pt x="258454" y="283885"/>
                      <a:pt x="273764" y="278782"/>
                    </a:cubicBezTo>
                    <a:cubicBezTo>
                      <a:pt x="281224" y="279848"/>
                      <a:pt x="282696" y="285617"/>
                      <a:pt x="287492" y="287748"/>
                    </a:cubicBezTo>
                    <a:cubicBezTo>
                      <a:pt x="292288" y="289879"/>
                      <a:pt x="300140" y="288570"/>
                      <a:pt x="302540" y="291571"/>
                    </a:cubicBezTo>
                    <a:cubicBezTo>
                      <a:pt x="304423" y="293925"/>
                      <a:pt x="298149" y="301603"/>
                      <a:pt x="300281" y="303734"/>
                    </a:cubicBezTo>
                    <a:cubicBezTo>
                      <a:pt x="307882" y="326539"/>
                      <a:pt x="297105" y="298971"/>
                      <a:pt x="313069" y="322917"/>
                    </a:cubicBezTo>
                    <a:cubicBezTo>
                      <a:pt x="314939" y="325721"/>
                      <a:pt x="314760" y="329494"/>
                      <a:pt x="316267" y="332509"/>
                    </a:cubicBezTo>
                    <a:cubicBezTo>
                      <a:pt x="317985" y="335946"/>
                      <a:pt x="320530" y="338903"/>
                      <a:pt x="322661" y="342100"/>
                    </a:cubicBezTo>
                    <a:cubicBezTo>
                      <a:pt x="303478" y="343166"/>
                      <a:pt x="284131" y="342581"/>
                      <a:pt x="265111" y="345298"/>
                    </a:cubicBezTo>
                    <a:cubicBezTo>
                      <a:pt x="261307" y="345841"/>
                      <a:pt x="256104" y="347894"/>
                      <a:pt x="255520" y="351692"/>
                    </a:cubicBezTo>
                    <a:cubicBezTo>
                      <a:pt x="253730" y="363326"/>
                      <a:pt x="253136" y="376497"/>
                      <a:pt x="258717" y="386861"/>
                    </a:cubicBezTo>
                    <a:cubicBezTo>
                      <a:pt x="261913" y="392796"/>
                      <a:pt x="277900" y="393256"/>
                      <a:pt x="277900" y="393256"/>
                    </a:cubicBezTo>
                    <a:cubicBezTo>
                      <a:pt x="275769" y="396453"/>
                      <a:pt x="273906" y="399847"/>
                      <a:pt x="271506" y="402847"/>
                    </a:cubicBezTo>
                    <a:cubicBezTo>
                      <a:pt x="269623" y="405201"/>
                      <a:pt x="266662" y="406657"/>
                      <a:pt x="265111" y="409242"/>
                    </a:cubicBezTo>
                    <a:cubicBezTo>
                      <a:pt x="263377" y="412132"/>
                      <a:pt x="262980" y="415636"/>
                      <a:pt x="261914" y="418833"/>
                    </a:cubicBezTo>
                    <a:cubicBezTo>
                      <a:pt x="277225" y="423936"/>
                      <a:pt x="269124" y="419647"/>
                      <a:pt x="284295" y="434819"/>
                    </a:cubicBezTo>
                    <a:lnTo>
                      <a:pt x="290689" y="441214"/>
                    </a:lnTo>
                    <a:cubicBezTo>
                      <a:pt x="289623" y="447608"/>
                      <a:pt x="287492" y="453914"/>
                      <a:pt x="287492" y="460397"/>
                    </a:cubicBezTo>
                    <a:cubicBezTo>
                      <a:pt x="287492" y="468113"/>
                      <a:pt x="291363" y="478406"/>
                      <a:pt x="293886" y="485975"/>
                    </a:cubicBezTo>
                    <a:cubicBezTo>
                      <a:pt x="290212" y="496996"/>
                      <a:pt x="293072" y="493183"/>
                      <a:pt x="287492" y="498763"/>
                    </a:cubicBezTo>
                  </a:path>
                </a:pathLst>
              </a:cu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748" name="Группа 539"/>
              <p:cNvGrpSpPr/>
              <p:nvPr/>
            </p:nvGrpSpPr>
            <p:grpSpPr>
              <a:xfrm>
                <a:off x="1917338" y="3544160"/>
                <a:ext cx="76139" cy="46800"/>
                <a:chOff x="2076450" y="3544160"/>
                <a:chExt cx="82458" cy="46800"/>
              </a:xfrm>
            </p:grpSpPr>
            <p:sp>
              <p:nvSpPr>
                <p:cNvPr id="446" name="Куб 445"/>
                <p:cNvSpPr>
                  <a:spLocks/>
                </p:cNvSpPr>
                <p:nvPr/>
              </p:nvSpPr>
              <p:spPr>
                <a:xfrm>
                  <a:off x="2076450" y="3544160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47" name="Прямая соединительная линия 446"/>
                <p:cNvCxnSpPr/>
                <p:nvPr/>
              </p:nvCxnSpPr>
              <p:spPr>
                <a:xfrm rot="16200000" flipH="1">
                  <a:off x="2102075" y="357144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8" name="Прямая соединительная линия 447"/>
                <p:cNvCxnSpPr/>
                <p:nvPr/>
              </p:nvCxnSpPr>
              <p:spPr>
                <a:xfrm rot="16200000" flipH="1">
                  <a:off x="2113543" y="357136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9" name="Прямая соединительная линия 448"/>
                <p:cNvCxnSpPr/>
                <p:nvPr/>
              </p:nvCxnSpPr>
              <p:spPr>
                <a:xfrm rot="16200000" flipH="1">
                  <a:off x="2126525" y="357136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0" name="Прямая соединительная линия 449"/>
                <p:cNvCxnSpPr/>
                <p:nvPr/>
              </p:nvCxnSpPr>
              <p:spPr>
                <a:xfrm rot="16200000" flipH="1">
                  <a:off x="2078326" y="357160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1" name="Прямая соединительная линия 450"/>
                <p:cNvCxnSpPr/>
                <p:nvPr/>
              </p:nvCxnSpPr>
              <p:spPr>
                <a:xfrm rot="16200000" flipH="1">
                  <a:off x="2089860" y="357155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49" name="Rectangle 172"/>
              <p:cNvSpPr>
                <a:spLocks noChangeArrowheads="1"/>
              </p:cNvSpPr>
              <p:nvPr/>
            </p:nvSpPr>
            <p:spPr bwMode="gray">
              <a:xfrm>
                <a:off x="1893633" y="3459966"/>
                <a:ext cx="258084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Lithuania</a:t>
                </a:r>
              </a:p>
            </p:txBody>
          </p:sp>
          <p:grpSp>
            <p:nvGrpSpPr>
              <p:cNvPr id="749" name="Группа 527"/>
              <p:cNvGrpSpPr/>
              <p:nvPr/>
            </p:nvGrpSpPr>
            <p:grpSpPr>
              <a:xfrm>
                <a:off x="2647333" y="4137093"/>
                <a:ext cx="76139" cy="46800"/>
                <a:chOff x="2867025" y="4137093"/>
                <a:chExt cx="82458" cy="46800"/>
              </a:xfrm>
            </p:grpSpPr>
            <p:sp>
              <p:nvSpPr>
                <p:cNvPr id="355" name="Куб 354"/>
                <p:cNvSpPr>
                  <a:spLocks/>
                </p:cNvSpPr>
                <p:nvPr/>
              </p:nvSpPr>
              <p:spPr>
                <a:xfrm>
                  <a:off x="2867025" y="4137093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56" name="Прямая соединительная линия 355"/>
                <p:cNvCxnSpPr/>
                <p:nvPr/>
              </p:nvCxnSpPr>
              <p:spPr>
                <a:xfrm rot="16200000" flipH="1">
                  <a:off x="2892650" y="416437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7" name="Прямая соединительная линия 356"/>
                <p:cNvCxnSpPr/>
                <p:nvPr/>
              </p:nvCxnSpPr>
              <p:spPr>
                <a:xfrm rot="16200000" flipH="1">
                  <a:off x="2904118" y="416429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8" name="Прямая соединительная линия 357"/>
                <p:cNvCxnSpPr/>
                <p:nvPr/>
              </p:nvCxnSpPr>
              <p:spPr>
                <a:xfrm rot="16200000" flipH="1">
                  <a:off x="2917100" y="416429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9" name="Прямая соединительная линия 358"/>
                <p:cNvCxnSpPr/>
                <p:nvPr/>
              </p:nvCxnSpPr>
              <p:spPr>
                <a:xfrm rot="16200000" flipH="1">
                  <a:off x="2868901" y="416453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0" name="Прямая соединительная линия 359"/>
                <p:cNvCxnSpPr/>
                <p:nvPr/>
              </p:nvCxnSpPr>
              <p:spPr>
                <a:xfrm rot="16200000" flipH="1">
                  <a:off x="2880435" y="4164483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51" name="Rectangle 174"/>
              <p:cNvSpPr>
                <a:spLocks noChangeArrowheads="1"/>
              </p:cNvSpPr>
              <p:nvPr/>
            </p:nvSpPr>
            <p:spPr bwMode="gray">
              <a:xfrm>
                <a:off x="2729421" y="4228050"/>
                <a:ext cx="237244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Armenia</a:t>
                </a:r>
              </a:p>
            </p:txBody>
          </p:sp>
          <p:sp>
            <p:nvSpPr>
              <p:cNvPr id="48250" name="Rectangle 173"/>
              <p:cNvSpPr>
                <a:spLocks noChangeArrowheads="1"/>
              </p:cNvSpPr>
              <p:nvPr/>
            </p:nvSpPr>
            <p:spPr bwMode="gray">
              <a:xfrm>
                <a:off x="2807112" y="4331635"/>
                <a:ext cx="301365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Azerbaijan</a:t>
                </a:r>
              </a:p>
            </p:txBody>
          </p:sp>
          <p:grpSp>
            <p:nvGrpSpPr>
              <p:cNvPr id="750" name="Группа 528"/>
              <p:cNvGrpSpPr/>
              <p:nvPr/>
            </p:nvGrpSpPr>
            <p:grpSpPr>
              <a:xfrm>
                <a:off x="3191036" y="4193621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604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605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6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7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8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9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53" name="Rectangle 176"/>
              <p:cNvSpPr>
                <a:spLocks noChangeArrowheads="1"/>
              </p:cNvSpPr>
              <p:nvPr/>
            </p:nvSpPr>
            <p:spPr bwMode="gray">
              <a:xfrm>
                <a:off x="3783994" y="4445000"/>
                <a:ext cx="357470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Tadzhikistan</a:t>
                </a:r>
              </a:p>
            </p:txBody>
          </p:sp>
          <p:sp>
            <p:nvSpPr>
              <p:cNvPr id="48252" name="Rectangle 175"/>
              <p:cNvSpPr>
                <a:spLocks noChangeArrowheads="1"/>
              </p:cNvSpPr>
              <p:nvPr/>
            </p:nvSpPr>
            <p:spPr bwMode="gray">
              <a:xfrm>
                <a:off x="3984077" y="4272363"/>
                <a:ext cx="315792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Kyrgyzstan</a:t>
                </a:r>
              </a:p>
            </p:txBody>
          </p:sp>
          <p:grpSp>
            <p:nvGrpSpPr>
              <p:cNvPr id="751" name="Группа 520"/>
              <p:cNvGrpSpPr/>
              <p:nvPr/>
            </p:nvGrpSpPr>
            <p:grpSpPr>
              <a:xfrm>
                <a:off x="6084275" y="3740278"/>
                <a:ext cx="74761" cy="45953"/>
                <a:chOff x="6605585" y="3732077"/>
                <a:chExt cx="80965" cy="45953"/>
              </a:xfrm>
            </p:grpSpPr>
            <p:sp>
              <p:nvSpPr>
                <p:cNvPr id="306" name="Куб 305"/>
                <p:cNvSpPr>
                  <a:spLocks/>
                </p:cNvSpPr>
                <p:nvPr/>
              </p:nvSpPr>
              <p:spPr>
                <a:xfrm>
                  <a:off x="6605585" y="3732077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07" name="Прямая соединительная линия 306"/>
                <p:cNvCxnSpPr/>
                <p:nvPr/>
              </p:nvCxnSpPr>
              <p:spPr>
                <a:xfrm rot="16200000" flipH="1">
                  <a:off x="6630746" y="3758863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8" name="Прямая соединительная линия 307"/>
                <p:cNvCxnSpPr/>
                <p:nvPr/>
              </p:nvCxnSpPr>
              <p:spPr>
                <a:xfrm rot="16200000" flipH="1">
                  <a:off x="6642006" y="3758787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9" name="Прямая соединительная линия 308"/>
                <p:cNvCxnSpPr/>
                <p:nvPr/>
              </p:nvCxnSpPr>
              <p:spPr>
                <a:xfrm rot="16200000" flipH="1">
                  <a:off x="6654753" y="3758788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0" name="Прямая соединительная линия 309"/>
                <p:cNvCxnSpPr/>
                <p:nvPr/>
              </p:nvCxnSpPr>
              <p:spPr>
                <a:xfrm rot="16200000" flipH="1">
                  <a:off x="6607427" y="3759024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1" name="Прямая соединительная линия 310"/>
                <p:cNvCxnSpPr/>
                <p:nvPr/>
              </p:nvCxnSpPr>
              <p:spPr>
                <a:xfrm rot="16200000" flipH="1">
                  <a:off x="6618752" y="375897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53" name="Rectangle 198"/>
              <p:cNvSpPr>
                <a:spLocks noChangeArrowheads="1"/>
              </p:cNvSpPr>
              <p:nvPr/>
            </p:nvSpPr>
            <p:spPr bwMode="gray">
              <a:xfrm>
                <a:off x="6332847" y="4281055"/>
                <a:ext cx="486664" cy="92075"/>
              </a:xfrm>
              <a:prstGeom prst="rect">
                <a:avLst/>
              </a:prstGeom>
              <a:noFill/>
              <a:ln w="3175" algn="ctr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eaLnBrk="0" hangingPunct="0"/>
                <a:r>
                  <a:rPr lang="en-US" sz="600" dirty="0" smtClean="0">
                    <a:solidFill>
                      <a:srgbClr val="C00000"/>
                    </a:solidFill>
                  </a:rPr>
                  <a:t>Vladivostok</a:t>
                </a:r>
                <a:endParaRPr lang="en-US" sz="60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675" name="Oval 674"/>
              <p:cNvSpPr/>
              <p:nvPr/>
            </p:nvSpPr>
            <p:spPr>
              <a:xfrm>
                <a:off x="2395581" y="3361749"/>
                <a:ext cx="77690" cy="8413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697" name="Oval 696"/>
              <p:cNvSpPr/>
              <p:nvPr/>
            </p:nvSpPr>
            <p:spPr>
              <a:xfrm>
                <a:off x="6533060" y="4251944"/>
                <a:ext cx="77690" cy="84137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48235" name="Rectangle 111"/>
              <p:cNvSpPr>
                <a:spLocks noChangeArrowheads="1"/>
              </p:cNvSpPr>
              <p:nvPr/>
            </p:nvSpPr>
            <p:spPr bwMode="gray">
              <a:xfrm>
                <a:off x="2070640" y="3383488"/>
                <a:ext cx="169918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Latvia</a:t>
                </a:r>
              </a:p>
            </p:txBody>
          </p:sp>
          <p:sp>
            <p:nvSpPr>
              <p:cNvPr id="674" name="Rectangle 203"/>
              <p:cNvSpPr>
                <a:spLocks noChangeArrowheads="1"/>
              </p:cNvSpPr>
              <p:nvPr/>
            </p:nvSpPr>
            <p:spPr bwMode="gray">
              <a:xfrm>
                <a:off x="2322191" y="3060738"/>
                <a:ext cx="505516" cy="92333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eaLnBrk="0" hangingPunct="0"/>
                <a:r>
                  <a:rPr lang="en-US" sz="600" dirty="0" smtClean="0">
                    <a:solidFill>
                      <a:srgbClr val="C00000"/>
                    </a:solidFill>
                  </a:rPr>
                  <a:t>St.-Petersburg</a:t>
                </a:r>
                <a:endParaRPr lang="en-US" sz="600" dirty="0">
                  <a:solidFill>
                    <a:srgbClr val="C00000"/>
                  </a:solidFill>
                </a:endParaRPr>
              </a:p>
            </p:txBody>
          </p:sp>
          <p:grpSp>
            <p:nvGrpSpPr>
              <p:cNvPr id="753" name="Группа 538"/>
              <p:cNvGrpSpPr/>
              <p:nvPr/>
            </p:nvGrpSpPr>
            <p:grpSpPr>
              <a:xfrm>
                <a:off x="2702491" y="3197751"/>
                <a:ext cx="76139" cy="46800"/>
                <a:chOff x="2890839" y="3303657"/>
                <a:chExt cx="82458" cy="46800"/>
              </a:xfrm>
            </p:grpSpPr>
            <p:sp>
              <p:nvSpPr>
                <p:cNvPr id="439" name="Куб 438"/>
                <p:cNvSpPr>
                  <a:spLocks/>
                </p:cNvSpPr>
                <p:nvPr/>
              </p:nvSpPr>
              <p:spPr>
                <a:xfrm>
                  <a:off x="2890839" y="3303657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40" name="Прямая соединительная линия 439"/>
                <p:cNvCxnSpPr/>
                <p:nvPr/>
              </p:nvCxnSpPr>
              <p:spPr>
                <a:xfrm rot="16200000" flipH="1">
                  <a:off x="2916464" y="333093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1" name="Прямая соединительная линия 440"/>
                <p:cNvCxnSpPr/>
                <p:nvPr/>
              </p:nvCxnSpPr>
              <p:spPr>
                <a:xfrm rot="16200000" flipH="1">
                  <a:off x="2927932" y="333085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2" name="Прямая соединительная линия 441"/>
                <p:cNvCxnSpPr/>
                <p:nvPr/>
              </p:nvCxnSpPr>
              <p:spPr>
                <a:xfrm rot="16200000" flipH="1">
                  <a:off x="2940914" y="333086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3" name="Прямая соединительная линия 442"/>
                <p:cNvCxnSpPr/>
                <p:nvPr/>
              </p:nvCxnSpPr>
              <p:spPr>
                <a:xfrm rot="16200000" flipH="1">
                  <a:off x="2892715" y="333110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4" name="Прямая соединительная линия 443"/>
                <p:cNvCxnSpPr/>
                <p:nvPr/>
              </p:nvCxnSpPr>
              <p:spPr>
                <a:xfrm rot="16200000" flipH="1">
                  <a:off x="2904249" y="333104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4" name="Группа 535"/>
              <p:cNvGrpSpPr/>
              <p:nvPr/>
            </p:nvGrpSpPr>
            <p:grpSpPr>
              <a:xfrm>
                <a:off x="4320607" y="3489394"/>
                <a:ext cx="76139" cy="46800"/>
                <a:chOff x="4679157" y="3489394"/>
                <a:chExt cx="82458" cy="46800"/>
              </a:xfrm>
            </p:grpSpPr>
            <p:sp>
              <p:nvSpPr>
                <p:cNvPr id="411" name="Куб 410"/>
                <p:cNvSpPr>
                  <a:spLocks/>
                </p:cNvSpPr>
                <p:nvPr/>
              </p:nvSpPr>
              <p:spPr>
                <a:xfrm>
                  <a:off x="4679157" y="3489394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12" name="Прямая соединительная линия 411"/>
                <p:cNvCxnSpPr/>
                <p:nvPr/>
              </p:nvCxnSpPr>
              <p:spPr>
                <a:xfrm rot="16200000" flipH="1">
                  <a:off x="4704782" y="351667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3" name="Прямая соединительная линия 412"/>
                <p:cNvCxnSpPr/>
                <p:nvPr/>
              </p:nvCxnSpPr>
              <p:spPr>
                <a:xfrm rot="16200000" flipH="1">
                  <a:off x="4716250" y="351659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4" name="Прямая соединительная линия 413"/>
                <p:cNvCxnSpPr/>
                <p:nvPr/>
              </p:nvCxnSpPr>
              <p:spPr>
                <a:xfrm rot="16200000" flipH="1">
                  <a:off x="4729232" y="351659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5" name="Прямая соединительная линия 414"/>
                <p:cNvCxnSpPr/>
                <p:nvPr/>
              </p:nvCxnSpPr>
              <p:spPr>
                <a:xfrm rot="16200000" flipH="1">
                  <a:off x="4681033" y="351683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6" name="Прямая соединительная линия 415"/>
                <p:cNvCxnSpPr/>
                <p:nvPr/>
              </p:nvCxnSpPr>
              <p:spPr>
                <a:xfrm rot="16200000" flipH="1">
                  <a:off x="4692567" y="351678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59" name="Rectangle 199"/>
              <p:cNvSpPr>
                <a:spLocks noChangeArrowheads="1"/>
              </p:cNvSpPr>
              <p:nvPr/>
            </p:nvSpPr>
            <p:spPr bwMode="gray">
              <a:xfrm>
                <a:off x="4499992" y="4249175"/>
                <a:ext cx="976836" cy="268958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eaLnBrk="0" hangingPunct="0"/>
                <a:r>
                  <a:rPr lang="en-US" sz="1100" b="1" dirty="0" err="1">
                    <a:solidFill>
                      <a:srgbClr val="002060"/>
                    </a:solidFill>
                  </a:rPr>
                  <a:t>Dostyk</a:t>
                </a:r>
                <a:endParaRPr lang="en-US" sz="1100" b="1" dirty="0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755" name="Группа 499"/>
              <p:cNvGrpSpPr/>
              <p:nvPr/>
            </p:nvGrpSpPr>
            <p:grpSpPr>
              <a:xfrm>
                <a:off x="4687799" y="3265342"/>
                <a:ext cx="76139" cy="46800"/>
                <a:chOff x="5076821" y="3265342"/>
                <a:chExt cx="82457" cy="46800"/>
              </a:xfrm>
            </p:grpSpPr>
            <p:sp>
              <p:nvSpPr>
                <p:cNvPr id="257" name="Куб 256"/>
                <p:cNvSpPr>
                  <a:spLocks/>
                </p:cNvSpPr>
                <p:nvPr/>
              </p:nvSpPr>
              <p:spPr>
                <a:xfrm>
                  <a:off x="5076821" y="3265342"/>
                  <a:ext cx="82457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58" name="Прямая соединительная линия 257"/>
                <p:cNvCxnSpPr/>
                <p:nvPr/>
              </p:nvCxnSpPr>
              <p:spPr>
                <a:xfrm rot="16200000" flipH="1">
                  <a:off x="5102446" y="329262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Прямая соединительная линия 258"/>
                <p:cNvCxnSpPr/>
                <p:nvPr/>
              </p:nvCxnSpPr>
              <p:spPr>
                <a:xfrm rot="16200000" flipH="1">
                  <a:off x="5113913" y="329254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Прямая соединительная линия 259"/>
                <p:cNvCxnSpPr/>
                <p:nvPr/>
              </p:nvCxnSpPr>
              <p:spPr>
                <a:xfrm rot="16200000" flipH="1">
                  <a:off x="5126895" y="329254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Прямая соединительная линия 260"/>
                <p:cNvCxnSpPr/>
                <p:nvPr/>
              </p:nvCxnSpPr>
              <p:spPr>
                <a:xfrm rot="16200000" flipH="1">
                  <a:off x="5078697" y="329278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Прямая соединительная линия 261"/>
                <p:cNvCxnSpPr/>
                <p:nvPr/>
              </p:nvCxnSpPr>
              <p:spPr>
                <a:xfrm rot="16200000" flipH="1">
                  <a:off x="5090231" y="329273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70" name="Rectangle 198"/>
              <p:cNvSpPr>
                <a:spLocks noChangeArrowheads="1"/>
              </p:cNvSpPr>
              <p:nvPr/>
            </p:nvSpPr>
            <p:spPr bwMode="gray">
              <a:xfrm>
                <a:off x="5652120" y="3359882"/>
                <a:ext cx="1030021" cy="256733"/>
              </a:xfrm>
              <a:prstGeom prst="rect">
                <a:avLst/>
              </a:prstGeom>
              <a:noFill/>
              <a:ln w="317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eaLnBrk="0" hangingPunct="0"/>
                <a:r>
                  <a:rPr lang="en-US" sz="1050" b="1" dirty="0" err="1">
                    <a:solidFill>
                      <a:srgbClr val="002060"/>
                    </a:solidFill>
                  </a:rPr>
                  <a:t>Zabaikalsk</a:t>
                </a:r>
                <a:endParaRPr lang="en-US" sz="1050" b="1" dirty="0">
                  <a:solidFill>
                    <a:srgbClr val="002060"/>
                  </a:solidFill>
                </a:endParaRPr>
              </a:p>
            </p:txBody>
          </p:sp>
          <p:grpSp>
            <p:nvGrpSpPr>
              <p:cNvPr id="756" name="Группа 495"/>
              <p:cNvGrpSpPr/>
              <p:nvPr/>
            </p:nvGrpSpPr>
            <p:grpSpPr>
              <a:xfrm>
                <a:off x="5818363" y="3755876"/>
                <a:ext cx="71563" cy="42062"/>
                <a:chOff x="6301214" y="3755876"/>
                <a:chExt cx="77502" cy="42062"/>
              </a:xfrm>
            </p:grpSpPr>
            <p:cxnSp>
              <p:nvCxnSpPr>
                <p:cNvPr id="209" name="Прямая соединительная линия 208"/>
                <p:cNvCxnSpPr/>
                <p:nvPr/>
              </p:nvCxnSpPr>
              <p:spPr>
                <a:xfrm rot="16200000" flipH="1">
                  <a:off x="6338310" y="3776905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Прямая соединительная линия 209"/>
                <p:cNvCxnSpPr/>
                <p:nvPr/>
              </p:nvCxnSpPr>
              <p:spPr>
                <a:xfrm rot="16200000" flipH="1">
                  <a:off x="6280186" y="3776904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Прямая соединительная линия 210"/>
                <p:cNvCxnSpPr/>
                <p:nvPr/>
              </p:nvCxnSpPr>
              <p:spPr>
                <a:xfrm rot="16200000" flipH="1">
                  <a:off x="6299561" y="3776906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" name="Прямая соединительная линия 211"/>
                <p:cNvCxnSpPr/>
                <p:nvPr/>
              </p:nvCxnSpPr>
              <p:spPr>
                <a:xfrm rot="16200000" flipH="1">
                  <a:off x="6318936" y="3776906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" name="Прямая соединительная линия 212"/>
                <p:cNvCxnSpPr/>
                <p:nvPr/>
              </p:nvCxnSpPr>
              <p:spPr>
                <a:xfrm rot="16200000" flipH="1">
                  <a:off x="6357684" y="3776905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7" name="Группа 534"/>
              <p:cNvGrpSpPr/>
              <p:nvPr/>
            </p:nvGrpSpPr>
            <p:grpSpPr>
              <a:xfrm>
                <a:off x="3137662" y="3179832"/>
                <a:ext cx="76139" cy="46800"/>
                <a:chOff x="3398044" y="3179832"/>
                <a:chExt cx="82458" cy="46800"/>
              </a:xfrm>
            </p:grpSpPr>
            <p:sp>
              <p:nvSpPr>
                <p:cNvPr id="404" name="Куб 403"/>
                <p:cNvSpPr>
                  <a:spLocks/>
                </p:cNvSpPr>
                <p:nvPr/>
              </p:nvSpPr>
              <p:spPr>
                <a:xfrm>
                  <a:off x="3398044" y="317983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05" name="Прямая соединительная линия 404"/>
                <p:cNvCxnSpPr/>
                <p:nvPr/>
              </p:nvCxnSpPr>
              <p:spPr>
                <a:xfrm rot="16200000" flipH="1">
                  <a:off x="3423669" y="320711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Прямая соединительная линия 405"/>
                <p:cNvCxnSpPr/>
                <p:nvPr/>
              </p:nvCxnSpPr>
              <p:spPr>
                <a:xfrm rot="16200000" flipH="1">
                  <a:off x="3435137" y="320703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7" name="Прямая соединительная линия 406"/>
                <p:cNvCxnSpPr/>
                <p:nvPr/>
              </p:nvCxnSpPr>
              <p:spPr>
                <a:xfrm rot="16200000" flipH="1">
                  <a:off x="3448119" y="320703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8" name="Прямая соединительная линия 407"/>
                <p:cNvCxnSpPr/>
                <p:nvPr/>
              </p:nvCxnSpPr>
              <p:spPr>
                <a:xfrm rot="16200000" flipH="1">
                  <a:off x="3399920" y="320727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Прямая соединительная линия 408"/>
                <p:cNvCxnSpPr/>
                <p:nvPr/>
              </p:nvCxnSpPr>
              <p:spPr>
                <a:xfrm rot="16200000" flipH="1">
                  <a:off x="3411454" y="320722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8" name="Группа 548"/>
              <p:cNvGrpSpPr/>
              <p:nvPr/>
            </p:nvGrpSpPr>
            <p:grpSpPr>
              <a:xfrm>
                <a:off x="2792454" y="3427482"/>
                <a:ext cx="76139" cy="46800"/>
                <a:chOff x="3024189" y="3427482"/>
                <a:chExt cx="82458" cy="46800"/>
              </a:xfrm>
            </p:grpSpPr>
            <p:sp>
              <p:nvSpPr>
                <p:cNvPr id="509" name="Куб 508"/>
                <p:cNvSpPr>
                  <a:spLocks/>
                </p:cNvSpPr>
                <p:nvPr/>
              </p:nvSpPr>
              <p:spPr>
                <a:xfrm>
                  <a:off x="3024189" y="3427482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10" name="Прямая соединительная линия 509"/>
                <p:cNvCxnSpPr/>
                <p:nvPr/>
              </p:nvCxnSpPr>
              <p:spPr>
                <a:xfrm rot="16200000" flipH="1">
                  <a:off x="3049814" y="345476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1" name="Прямая соединительная линия 510"/>
                <p:cNvCxnSpPr/>
                <p:nvPr/>
              </p:nvCxnSpPr>
              <p:spPr>
                <a:xfrm rot="16200000" flipH="1">
                  <a:off x="3061282" y="345468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2" name="Прямая соединительная линия 511"/>
                <p:cNvCxnSpPr/>
                <p:nvPr/>
              </p:nvCxnSpPr>
              <p:spPr>
                <a:xfrm rot="16200000" flipH="1">
                  <a:off x="3074264" y="345468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3" name="Прямая соединительная линия 512"/>
                <p:cNvCxnSpPr/>
                <p:nvPr/>
              </p:nvCxnSpPr>
              <p:spPr>
                <a:xfrm rot="16200000" flipH="1">
                  <a:off x="3026065" y="345492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4" name="Прямая соединительная линия 513"/>
                <p:cNvCxnSpPr/>
                <p:nvPr/>
              </p:nvCxnSpPr>
              <p:spPr>
                <a:xfrm rot="16200000" flipH="1">
                  <a:off x="3037599" y="3454872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9" name="Группа 521"/>
              <p:cNvGrpSpPr/>
              <p:nvPr/>
            </p:nvGrpSpPr>
            <p:grpSpPr>
              <a:xfrm>
                <a:off x="3168444" y="3475106"/>
                <a:ext cx="76139" cy="46800"/>
                <a:chOff x="3431381" y="3475106"/>
                <a:chExt cx="82458" cy="46800"/>
              </a:xfrm>
            </p:grpSpPr>
            <p:sp>
              <p:nvSpPr>
                <p:cNvPr id="313" name="Куб 312"/>
                <p:cNvSpPr>
                  <a:spLocks/>
                </p:cNvSpPr>
                <p:nvPr/>
              </p:nvSpPr>
              <p:spPr>
                <a:xfrm>
                  <a:off x="3431381" y="3475106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14" name="Прямая соединительная линия 313"/>
                <p:cNvCxnSpPr/>
                <p:nvPr/>
              </p:nvCxnSpPr>
              <p:spPr>
                <a:xfrm rot="16200000" flipH="1">
                  <a:off x="3457006" y="350238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Прямая соединительная линия 314"/>
                <p:cNvCxnSpPr/>
                <p:nvPr/>
              </p:nvCxnSpPr>
              <p:spPr>
                <a:xfrm rot="16200000" flipH="1">
                  <a:off x="3468474" y="350230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Прямая соединительная линия 315"/>
                <p:cNvCxnSpPr/>
                <p:nvPr/>
              </p:nvCxnSpPr>
              <p:spPr>
                <a:xfrm rot="16200000" flipH="1">
                  <a:off x="3481456" y="350230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7" name="Прямая соединительная линия 316"/>
                <p:cNvCxnSpPr/>
                <p:nvPr/>
              </p:nvCxnSpPr>
              <p:spPr>
                <a:xfrm rot="16200000" flipH="1">
                  <a:off x="3433257" y="350255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8" name="Прямая соединительная линия 317"/>
                <p:cNvCxnSpPr/>
                <p:nvPr/>
              </p:nvCxnSpPr>
              <p:spPr>
                <a:xfrm rot="16200000" flipH="1">
                  <a:off x="3444791" y="350249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0" name="Группа 528"/>
              <p:cNvGrpSpPr/>
              <p:nvPr/>
            </p:nvGrpSpPr>
            <p:grpSpPr>
              <a:xfrm>
                <a:off x="4164536" y="3702876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49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50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1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8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9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0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1" name="Группа 533"/>
              <p:cNvGrpSpPr/>
              <p:nvPr/>
            </p:nvGrpSpPr>
            <p:grpSpPr>
              <a:xfrm>
                <a:off x="3021133" y="3246506"/>
                <a:ext cx="76139" cy="46800"/>
                <a:chOff x="3269464" y="3246506"/>
                <a:chExt cx="82458" cy="46800"/>
              </a:xfrm>
            </p:grpSpPr>
            <p:sp>
              <p:nvSpPr>
                <p:cNvPr id="397" name="Куб 396"/>
                <p:cNvSpPr>
                  <a:spLocks/>
                </p:cNvSpPr>
                <p:nvPr/>
              </p:nvSpPr>
              <p:spPr>
                <a:xfrm>
                  <a:off x="3269464" y="3246506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98" name="Прямая соединительная линия 397"/>
                <p:cNvCxnSpPr/>
                <p:nvPr/>
              </p:nvCxnSpPr>
              <p:spPr>
                <a:xfrm rot="16200000" flipH="1">
                  <a:off x="3295089" y="327378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9" name="Прямая соединительная линия 398"/>
                <p:cNvCxnSpPr/>
                <p:nvPr/>
              </p:nvCxnSpPr>
              <p:spPr>
                <a:xfrm rot="16200000" flipH="1">
                  <a:off x="3306557" y="327370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0" name="Прямая соединительная линия 399"/>
                <p:cNvCxnSpPr/>
                <p:nvPr/>
              </p:nvCxnSpPr>
              <p:spPr>
                <a:xfrm rot="16200000" flipH="1">
                  <a:off x="3319539" y="327370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1" name="Прямая соединительная линия 400"/>
                <p:cNvCxnSpPr/>
                <p:nvPr/>
              </p:nvCxnSpPr>
              <p:spPr>
                <a:xfrm rot="16200000" flipH="1">
                  <a:off x="3271340" y="327395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2" name="Прямая соединительная линия 401"/>
                <p:cNvCxnSpPr/>
                <p:nvPr/>
              </p:nvCxnSpPr>
              <p:spPr>
                <a:xfrm rot="16200000" flipH="1">
                  <a:off x="3282874" y="327389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2" name="Группа 549"/>
              <p:cNvGrpSpPr/>
              <p:nvPr/>
            </p:nvGrpSpPr>
            <p:grpSpPr>
              <a:xfrm>
                <a:off x="1986522" y="3722718"/>
                <a:ext cx="122993" cy="75600"/>
                <a:chOff x="2139479" y="3910835"/>
                <a:chExt cx="133200" cy="75600"/>
              </a:xfrm>
              <a:solidFill>
                <a:schemeClr val="bg1"/>
              </a:solidFill>
            </p:grpSpPr>
            <p:sp>
              <p:nvSpPr>
                <p:cNvPr id="656" name="Куб 655"/>
                <p:cNvSpPr>
                  <a:spLocks noChangeAspect="1"/>
                </p:cNvSpPr>
                <p:nvPr/>
              </p:nvSpPr>
              <p:spPr>
                <a:xfrm>
                  <a:off x="2139479" y="3910835"/>
                  <a:ext cx="133200" cy="75600"/>
                </a:xfrm>
                <a:prstGeom prst="cube">
                  <a:avLst/>
                </a:prstGeom>
                <a:grpFill/>
                <a:ln w="6350" cap="sq">
                  <a:solidFill>
                    <a:srgbClr val="080808"/>
                  </a:solidFill>
                  <a:beve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spcCol="180000"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657" name="Прямая соединительная линия 656"/>
                <p:cNvCxnSpPr/>
                <p:nvPr/>
              </p:nvCxnSpPr>
              <p:spPr>
                <a:xfrm rot="16200000" flipH="1">
                  <a:off x="2195949" y="3958488"/>
                  <a:ext cx="42060" cy="4"/>
                </a:xfrm>
                <a:prstGeom prst="line">
                  <a:avLst/>
                </a:prstGeom>
                <a:grpFill/>
                <a:ln w="6350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8" name="Прямая соединительная линия 657"/>
                <p:cNvCxnSpPr/>
                <p:nvPr/>
              </p:nvCxnSpPr>
              <p:spPr>
                <a:xfrm rot="16200000" flipH="1">
                  <a:off x="2137825" y="3958487"/>
                  <a:ext cx="42060" cy="4"/>
                </a:xfrm>
                <a:prstGeom prst="line">
                  <a:avLst/>
                </a:prstGeom>
                <a:grpFill/>
                <a:ln w="6350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9" name="Прямая соединительная линия 658"/>
                <p:cNvCxnSpPr/>
                <p:nvPr/>
              </p:nvCxnSpPr>
              <p:spPr>
                <a:xfrm rot="16200000" flipH="1">
                  <a:off x="2157200" y="3958489"/>
                  <a:ext cx="42060" cy="4"/>
                </a:xfrm>
                <a:prstGeom prst="line">
                  <a:avLst/>
                </a:prstGeom>
                <a:grpFill/>
                <a:ln w="6350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0" name="Прямая соединительная линия 659"/>
                <p:cNvCxnSpPr/>
                <p:nvPr/>
              </p:nvCxnSpPr>
              <p:spPr>
                <a:xfrm rot="16200000" flipH="1">
                  <a:off x="2176575" y="3958489"/>
                  <a:ext cx="42060" cy="4"/>
                </a:xfrm>
                <a:prstGeom prst="line">
                  <a:avLst/>
                </a:prstGeom>
                <a:grpFill/>
                <a:ln w="6350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1" name="Прямая соединительная линия 660"/>
                <p:cNvCxnSpPr/>
                <p:nvPr/>
              </p:nvCxnSpPr>
              <p:spPr>
                <a:xfrm rot="16200000" flipH="1">
                  <a:off x="2215323" y="3958488"/>
                  <a:ext cx="42060" cy="4"/>
                </a:xfrm>
                <a:prstGeom prst="line">
                  <a:avLst/>
                </a:prstGeom>
                <a:grpFill/>
                <a:ln w="6350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3" name="Группа 528"/>
              <p:cNvGrpSpPr/>
              <p:nvPr/>
            </p:nvGrpSpPr>
            <p:grpSpPr>
              <a:xfrm>
                <a:off x="3924511" y="3849397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42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43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4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5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6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7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4" name="Группа 494"/>
              <p:cNvGrpSpPr/>
              <p:nvPr/>
            </p:nvGrpSpPr>
            <p:grpSpPr>
              <a:xfrm>
                <a:off x="4379082" y="4033290"/>
                <a:ext cx="122993" cy="75600"/>
                <a:chOff x="4738385" y="4029190"/>
                <a:chExt cx="133200" cy="75600"/>
              </a:xfrm>
            </p:grpSpPr>
            <p:sp>
              <p:nvSpPr>
                <p:cNvPr id="201" name="Куб 200"/>
                <p:cNvSpPr>
                  <a:spLocks noChangeAspect="1"/>
                </p:cNvSpPr>
                <p:nvPr/>
              </p:nvSpPr>
              <p:spPr>
                <a:xfrm>
                  <a:off x="4738385" y="4029190"/>
                  <a:ext cx="133200" cy="75600"/>
                </a:xfrm>
                <a:prstGeom prst="cube">
                  <a:avLst/>
                </a:prstGeom>
                <a:solidFill>
                  <a:srgbClr val="C00000"/>
                </a:solidFill>
                <a:ln w="6350" cap="sq">
                  <a:solidFill>
                    <a:srgbClr val="080808"/>
                  </a:solidFill>
                  <a:beve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spcCol="180000"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202" name="Прямая соединительная линия 201"/>
                <p:cNvCxnSpPr/>
                <p:nvPr/>
              </p:nvCxnSpPr>
              <p:spPr>
                <a:xfrm rot="16200000" flipH="1">
                  <a:off x="4794855" y="4076843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Прямая соединительная линия 202"/>
                <p:cNvCxnSpPr/>
                <p:nvPr/>
              </p:nvCxnSpPr>
              <p:spPr>
                <a:xfrm rot="16200000" flipH="1">
                  <a:off x="4736731" y="4076842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Прямая соединительная линия 203"/>
                <p:cNvCxnSpPr/>
                <p:nvPr/>
              </p:nvCxnSpPr>
              <p:spPr>
                <a:xfrm rot="16200000" flipH="1">
                  <a:off x="4756106" y="4076844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Прямая соединительная линия 204"/>
                <p:cNvCxnSpPr/>
                <p:nvPr/>
              </p:nvCxnSpPr>
              <p:spPr>
                <a:xfrm rot="16200000" flipH="1">
                  <a:off x="4775481" y="4076844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Прямая соединительная линия 205"/>
                <p:cNvCxnSpPr/>
                <p:nvPr/>
              </p:nvCxnSpPr>
              <p:spPr>
                <a:xfrm rot="16200000" flipH="1">
                  <a:off x="4814229" y="4076843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54" name="Rectangle 198"/>
              <p:cNvSpPr>
                <a:spLocks noChangeArrowheads="1"/>
              </p:cNvSpPr>
              <p:nvPr/>
            </p:nvSpPr>
            <p:spPr bwMode="gray">
              <a:xfrm>
                <a:off x="1691680" y="3626670"/>
                <a:ext cx="269304" cy="171045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900" dirty="0" err="1">
                    <a:solidFill>
                      <a:srgbClr val="C00000"/>
                    </a:solidFill>
                  </a:rPr>
                  <a:t>Brest</a:t>
                </a:r>
              </a:p>
            </p:txBody>
          </p:sp>
          <p:sp>
            <p:nvSpPr>
              <p:cNvPr id="48264" name="Rectangle 171"/>
              <p:cNvSpPr>
                <a:spLocks noChangeArrowheads="1"/>
              </p:cNvSpPr>
              <p:nvPr/>
            </p:nvSpPr>
            <p:spPr bwMode="gray">
              <a:xfrm>
                <a:off x="2129366" y="3665291"/>
                <a:ext cx="339837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b="1" dirty="0" smtClean="0">
                    <a:solidFill>
                      <a:schemeClr val="accent4"/>
                    </a:solidFill>
                  </a:rPr>
                  <a:t>B e l a r u s</a:t>
                </a:r>
                <a:endParaRPr lang="en-US" sz="500" b="1" dirty="0">
                  <a:solidFill>
                    <a:schemeClr val="accent4"/>
                  </a:solidFill>
                </a:endParaRPr>
              </a:p>
            </p:txBody>
          </p:sp>
          <p:sp>
            <p:nvSpPr>
              <p:cNvPr id="743" name="Oval 742"/>
              <p:cNvSpPr/>
              <p:nvPr/>
            </p:nvSpPr>
            <p:spPr>
              <a:xfrm>
                <a:off x="1809943" y="4205327"/>
                <a:ext cx="77690" cy="857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grpSp>
            <p:nvGrpSpPr>
              <p:cNvPr id="765" name="Группа 549"/>
              <p:cNvGrpSpPr/>
              <p:nvPr/>
            </p:nvGrpSpPr>
            <p:grpSpPr>
              <a:xfrm>
                <a:off x="1990263" y="3913493"/>
                <a:ext cx="122993" cy="75600"/>
                <a:chOff x="2139479" y="3910835"/>
                <a:chExt cx="133200" cy="75600"/>
              </a:xfrm>
            </p:grpSpPr>
            <p:sp>
              <p:nvSpPr>
                <p:cNvPr id="215" name="Куб 214"/>
                <p:cNvSpPr>
                  <a:spLocks noChangeAspect="1"/>
                </p:cNvSpPr>
                <p:nvPr/>
              </p:nvSpPr>
              <p:spPr>
                <a:xfrm>
                  <a:off x="2139479" y="3910835"/>
                  <a:ext cx="133200" cy="75600"/>
                </a:xfrm>
                <a:prstGeom prst="cube">
                  <a:avLst/>
                </a:prstGeom>
                <a:solidFill>
                  <a:srgbClr val="C00000"/>
                </a:solidFill>
                <a:ln w="6350" cap="sq">
                  <a:solidFill>
                    <a:srgbClr val="080808"/>
                  </a:solidFill>
                  <a:beve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spcCol="180000"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216" name="Прямая соединительная линия 215"/>
                <p:cNvCxnSpPr/>
                <p:nvPr/>
              </p:nvCxnSpPr>
              <p:spPr>
                <a:xfrm rot="16200000" flipH="1">
                  <a:off x="2195949" y="3958488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" name="Прямая соединительная линия 216"/>
                <p:cNvCxnSpPr/>
                <p:nvPr/>
              </p:nvCxnSpPr>
              <p:spPr>
                <a:xfrm rot="16200000" flipH="1">
                  <a:off x="2137825" y="3958487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Прямая соединительная линия 217"/>
                <p:cNvCxnSpPr/>
                <p:nvPr/>
              </p:nvCxnSpPr>
              <p:spPr>
                <a:xfrm rot="16200000" flipH="1">
                  <a:off x="2157200" y="3958489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" name="Прямая соединительная линия 218"/>
                <p:cNvCxnSpPr/>
                <p:nvPr/>
              </p:nvCxnSpPr>
              <p:spPr>
                <a:xfrm rot="16200000" flipH="1">
                  <a:off x="2176575" y="3958489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" name="Прямая соединительная линия 219"/>
                <p:cNvCxnSpPr/>
                <p:nvPr/>
              </p:nvCxnSpPr>
              <p:spPr>
                <a:xfrm rot="16200000" flipH="1">
                  <a:off x="2215323" y="3958488"/>
                  <a:ext cx="42060" cy="4"/>
                </a:xfrm>
                <a:prstGeom prst="line">
                  <a:avLst/>
                </a:prstGeom>
                <a:ln w="63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72" name="Rectangle 199"/>
              <p:cNvSpPr>
                <a:spLocks noChangeArrowheads="1"/>
              </p:cNvSpPr>
              <p:nvPr/>
            </p:nvSpPr>
            <p:spPr bwMode="gray">
              <a:xfrm>
                <a:off x="1691680" y="3982387"/>
                <a:ext cx="234423" cy="114031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r" eaLnBrk="0" hangingPunct="0"/>
                <a:r>
                  <a:rPr lang="en-US" sz="600" b="1" dirty="0">
                    <a:solidFill>
                      <a:srgbClr val="C00000"/>
                    </a:solidFill>
                  </a:rPr>
                  <a:t>Dobra</a:t>
                </a:r>
              </a:p>
            </p:txBody>
          </p:sp>
          <p:grpSp>
            <p:nvGrpSpPr>
              <p:cNvPr id="766" name="Группа 514"/>
              <p:cNvGrpSpPr/>
              <p:nvPr/>
            </p:nvGrpSpPr>
            <p:grpSpPr>
              <a:xfrm>
                <a:off x="6430213" y="3977348"/>
                <a:ext cx="74761" cy="45953"/>
                <a:chOff x="6955631" y="3977347"/>
                <a:chExt cx="80965" cy="45953"/>
              </a:xfrm>
            </p:grpSpPr>
            <p:sp>
              <p:nvSpPr>
                <p:cNvPr id="264" name="Куб 263"/>
                <p:cNvSpPr>
                  <a:spLocks/>
                </p:cNvSpPr>
                <p:nvPr/>
              </p:nvSpPr>
              <p:spPr>
                <a:xfrm>
                  <a:off x="6955631" y="3977347"/>
                  <a:ext cx="80965" cy="45953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265" name="Прямая соединительная линия 264"/>
                <p:cNvCxnSpPr/>
                <p:nvPr/>
              </p:nvCxnSpPr>
              <p:spPr>
                <a:xfrm rot="16200000" flipH="1">
                  <a:off x="6980792" y="4004133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Прямая соединительная линия 265"/>
                <p:cNvCxnSpPr/>
                <p:nvPr/>
              </p:nvCxnSpPr>
              <p:spPr>
                <a:xfrm rot="16200000" flipH="1">
                  <a:off x="6992052" y="4004057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Прямая соединительная линия 266"/>
                <p:cNvCxnSpPr/>
                <p:nvPr/>
              </p:nvCxnSpPr>
              <p:spPr>
                <a:xfrm rot="16200000" flipH="1">
                  <a:off x="7004799" y="4004058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Прямая соединительная линия 267"/>
                <p:cNvCxnSpPr/>
                <p:nvPr/>
              </p:nvCxnSpPr>
              <p:spPr>
                <a:xfrm rot="16200000" flipH="1">
                  <a:off x="6957473" y="4004294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" name="Прямая соединительная линия 268"/>
                <p:cNvCxnSpPr/>
                <p:nvPr/>
              </p:nvCxnSpPr>
              <p:spPr>
                <a:xfrm rot="16200000" flipH="1">
                  <a:off x="6968798" y="4004241"/>
                  <a:ext cx="21710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8245" name="Rectangle 156"/>
              <p:cNvSpPr>
                <a:spLocks noChangeArrowheads="1"/>
              </p:cNvSpPr>
              <p:nvPr/>
            </p:nvSpPr>
            <p:spPr bwMode="gray">
              <a:xfrm>
                <a:off x="2129760" y="3234663"/>
                <a:ext cx="213200" cy="76944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500" dirty="0"/>
                  <a:t>Estonia</a:t>
                </a:r>
              </a:p>
            </p:txBody>
          </p:sp>
          <p:grpSp>
            <p:nvGrpSpPr>
              <p:cNvPr id="767" name="Группа 540"/>
              <p:cNvGrpSpPr/>
              <p:nvPr/>
            </p:nvGrpSpPr>
            <p:grpSpPr>
              <a:xfrm>
                <a:off x="2302126" y="3170307"/>
                <a:ext cx="76139" cy="46800"/>
                <a:chOff x="2493170" y="3170307"/>
                <a:chExt cx="82458" cy="46800"/>
              </a:xfrm>
            </p:grpSpPr>
            <p:sp>
              <p:nvSpPr>
                <p:cNvPr id="453" name="Куб 452"/>
                <p:cNvSpPr>
                  <a:spLocks/>
                </p:cNvSpPr>
                <p:nvPr/>
              </p:nvSpPr>
              <p:spPr>
                <a:xfrm>
                  <a:off x="2493170" y="3170307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54" name="Прямая соединительная линия 453"/>
                <p:cNvCxnSpPr/>
                <p:nvPr/>
              </p:nvCxnSpPr>
              <p:spPr>
                <a:xfrm rot="16200000" flipH="1">
                  <a:off x="2518795" y="319758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5" name="Прямая соединительная линия 454"/>
                <p:cNvCxnSpPr/>
                <p:nvPr/>
              </p:nvCxnSpPr>
              <p:spPr>
                <a:xfrm rot="16200000" flipH="1">
                  <a:off x="2530263" y="319750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6" name="Прямая соединительная линия 455"/>
                <p:cNvCxnSpPr/>
                <p:nvPr/>
              </p:nvCxnSpPr>
              <p:spPr>
                <a:xfrm rot="16200000" flipH="1">
                  <a:off x="2543245" y="319751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7" name="Прямая соединительная линия 456"/>
                <p:cNvCxnSpPr/>
                <p:nvPr/>
              </p:nvCxnSpPr>
              <p:spPr>
                <a:xfrm rot="16200000" flipH="1">
                  <a:off x="2495046" y="319775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8" name="Прямая соединительная линия 457"/>
                <p:cNvCxnSpPr/>
                <p:nvPr/>
              </p:nvCxnSpPr>
              <p:spPr>
                <a:xfrm rot="16200000" flipH="1">
                  <a:off x="2506580" y="319769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8" name="Группа 528"/>
              <p:cNvGrpSpPr/>
              <p:nvPr/>
            </p:nvGrpSpPr>
            <p:grpSpPr>
              <a:xfrm>
                <a:off x="3575305" y="3695431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528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529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0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1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2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3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9" name="Группа 544"/>
              <p:cNvGrpSpPr/>
              <p:nvPr/>
            </p:nvGrpSpPr>
            <p:grpSpPr>
              <a:xfrm>
                <a:off x="3361937" y="3667987"/>
                <a:ext cx="76139" cy="46800"/>
                <a:chOff x="3640931" y="3667987"/>
                <a:chExt cx="82458" cy="46800"/>
              </a:xfrm>
            </p:grpSpPr>
            <p:sp>
              <p:nvSpPr>
                <p:cNvPr id="481" name="Куб 480"/>
                <p:cNvSpPr>
                  <a:spLocks/>
                </p:cNvSpPr>
                <p:nvPr/>
              </p:nvSpPr>
              <p:spPr>
                <a:xfrm>
                  <a:off x="3640931" y="3667987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82" name="Прямая соединительная линия 481"/>
                <p:cNvCxnSpPr/>
                <p:nvPr/>
              </p:nvCxnSpPr>
              <p:spPr>
                <a:xfrm rot="16200000" flipH="1">
                  <a:off x="3666556" y="369526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3" name="Прямая соединительная линия 482"/>
                <p:cNvCxnSpPr/>
                <p:nvPr/>
              </p:nvCxnSpPr>
              <p:spPr>
                <a:xfrm rot="16200000" flipH="1">
                  <a:off x="3678024" y="369518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4" name="Прямая соединительная линия 483"/>
                <p:cNvCxnSpPr/>
                <p:nvPr/>
              </p:nvCxnSpPr>
              <p:spPr>
                <a:xfrm rot="16200000" flipH="1">
                  <a:off x="3691006" y="3695190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5" name="Прямая соединительная линия 484"/>
                <p:cNvCxnSpPr/>
                <p:nvPr/>
              </p:nvCxnSpPr>
              <p:spPr>
                <a:xfrm rot="16200000" flipH="1">
                  <a:off x="3642807" y="3695431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6" name="Прямая соединительная линия 485"/>
                <p:cNvCxnSpPr/>
                <p:nvPr/>
              </p:nvCxnSpPr>
              <p:spPr>
                <a:xfrm rot="16200000" flipH="1">
                  <a:off x="3654341" y="369537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0" name="Группа 545"/>
              <p:cNvGrpSpPr/>
              <p:nvPr/>
            </p:nvGrpSpPr>
            <p:grpSpPr>
              <a:xfrm>
                <a:off x="2940395" y="3654136"/>
                <a:ext cx="76139" cy="46800"/>
                <a:chOff x="3117056" y="3587024"/>
                <a:chExt cx="82458" cy="46800"/>
              </a:xfrm>
            </p:grpSpPr>
            <p:sp>
              <p:nvSpPr>
                <p:cNvPr id="488" name="Куб 487"/>
                <p:cNvSpPr>
                  <a:spLocks/>
                </p:cNvSpPr>
                <p:nvPr/>
              </p:nvSpPr>
              <p:spPr>
                <a:xfrm>
                  <a:off x="3117056" y="3587024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489" name="Прямая соединительная линия 488"/>
                <p:cNvCxnSpPr/>
                <p:nvPr/>
              </p:nvCxnSpPr>
              <p:spPr>
                <a:xfrm rot="16200000" flipH="1">
                  <a:off x="3142681" y="361430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0" name="Прямая соединительная линия 489"/>
                <p:cNvCxnSpPr/>
                <p:nvPr/>
              </p:nvCxnSpPr>
              <p:spPr>
                <a:xfrm rot="16200000" flipH="1">
                  <a:off x="3154149" y="361422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1" name="Прямая соединительная линия 490"/>
                <p:cNvCxnSpPr/>
                <p:nvPr/>
              </p:nvCxnSpPr>
              <p:spPr>
                <a:xfrm rot="16200000" flipH="1">
                  <a:off x="3167131" y="361422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2" name="Прямая соединительная линия 491"/>
                <p:cNvCxnSpPr/>
                <p:nvPr/>
              </p:nvCxnSpPr>
              <p:spPr>
                <a:xfrm rot="16200000" flipH="1">
                  <a:off x="3118932" y="361446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3" name="Прямая соединительная линия 492"/>
                <p:cNvCxnSpPr/>
                <p:nvPr/>
              </p:nvCxnSpPr>
              <p:spPr>
                <a:xfrm rot="16200000" flipH="1">
                  <a:off x="3130466" y="361441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1" name="Группа 528"/>
              <p:cNvGrpSpPr/>
              <p:nvPr/>
            </p:nvGrpSpPr>
            <p:grpSpPr>
              <a:xfrm>
                <a:off x="3148873" y="3992051"/>
                <a:ext cx="76139" cy="46800"/>
                <a:chOff x="3619502" y="3286987"/>
                <a:chExt cx="82458" cy="46800"/>
              </a:xfrm>
              <a:solidFill>
                <a:srgbClr val="92D050"/>
              </a:solidFill>
            </p:grpSpPr>
            <p:sp>
              <p:nvSpPr>
                <p:cNvPr id="611" name="Куб 361"/>
                <p:cNvSpPr>
                  <a:spLocks/>
                </p:cNvSpPr>
                <p:nvPr/>
              </p:nvSpPr>
              <p:spPr>
                <a:xfrm>
                  <a:off x="3619502" y="3286987"/>
                  <a:ext cx="82458" cy="46800"/>
                </a:xfrm>
                <a:prstGeom prst="cube">
                  <a:avLst/>
                </a:prstGeom>
                <a:grpFill/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612" name="Прямая соединительная линия 362"/>
                <p:cNvCxnSpPr/>
                <p:nvPr/>
              </p:nvCxnSpPr>
              <p:spPr>
                <a:xfrm rot="16200000" flipH="1">
                  <a:off x="3645127" y="331426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3" name="Прямая соединительная линия 363"/>
                <p:cNvCxnSpPr/>
                <p:nvPr/>
              </p:nvCxnSpPr>
              <p:spPr>
                <a:xfrm rot="16200000" flipH="1">
                  <a:off x="3656595" y="3314189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4" name="Прямая соединительная линия 364"/>
                <p:cNvCxnSpPr/>
                <p:nvPr/>
              </p:nvCxnSpPr>
              <p:spPr>
                <a:xfrm rot="16200000" flipH="1">
                  <a:off x="3669577" y="3314190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5" name="Прямая соединительная линия 365"/>
                <p:cNvCxnSpPr/>
                <p:nvPr/>
              </p:nvCxnSpPr>
              <p:spPr>
                <a:xfrm rot="16200000" flipH="1">
                  <a:off x="3621378" y="3314431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6" name="Прямая соединительная линия 366"/>
                <p:cNvCxnSpPr/>
                <p:nvPr/>
              </p:nvCxnSpPr>
              <p:spPr>
                <a:xfrm rot="16200000" flipH="1">
                  <a:off x="3632912" y="3314377"/>
                  <a:ext cx="22111" cy="0"/>
                </a:xfrm>
                <a:prstGeom prst="line">
                  <a:avLst/>
                </a:prstGeom>
                <a:grpFill/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2" name="Группа 522"/>
              <p:cNvGrpSpPr/>
              <p:nvPr/>
            </p:nvGrpSpPr>
            <p:grpSpPr>
              <a:xfrm>
                <a:off x="2530798" y="3625124"/>
                <a:ext cx="76139" cy="46800"/>
                <a:chOff x="2740819" y="3625124"/>
                <a:chExt cx="82458" cy="46800"/>
              </a:xfrm>
            </p:grpSpPr>
            <p:sp>
              <p:nvSpPr>
                <p:cNvPr id="320" name="Куб 319"/>
                <p:cNvSpPr>
                  <a:spLocks/>
                </p:cNvSpPr>
                <p:nvPr/>
              </p:nvSpPr>
              <p:spPr>
                <a:xfrm>
                  <a:off x="2740819" y="3625124"/>
                  <a:ext cx="82458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21" name="Прямая соединительная линия 320"/>
                <p:cNvCxnSpPr/>
                <p:nvPr/>
              </p:nvCxnSpPr>
              <p:spPr>
                <a:xfrm rot="16200000" flipH="1">
                  <a:off x="2766444" y="365240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2" name="Прямая соединительная линия 321"/>
                <p:cNvCxnSpPr/>
                <p:nvPr/>
              </p:nvCxnSpPr>
              <p:spPr>
                <a:xfrm rot="16200000" flipH="1">
                  <a:off x="2777912" y="3652326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3" name="Прямая соединительная линия 322"/>
                <p:cNvCxnSpPr/>
                <p:nvPr/>
              </p:nvCxnSpPr>
              <p:spPr>
                <a:xfrm rot="16200000" flipH="1">
                  <a:off x="2790894" y="365232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4" name="Прямая соединительная линия 323"/>
                <p:cNvCxnSpPr/>
                <p:nvPr/>
              </p:nvCxnSpPr>
              <p:spPr>
                <a:xfrm rot="16200000" flipH="1">
                  <a:off x="2742695" y="365256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5" name="Прямая соединительная линия 324"/>
                <p:cNvCxnSpPr/>
                <p:nvPr/>
              </p:nvCxnSpPr>
              <p:spPr>
                <a:xfrm rot="16200000" flipH="1">
                  <a:off x="2754229" y="3652514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3" name="Группа 524"/>
              <p:cNvGrpSpPr/>
              <p:nvPr/>
            </p:nvGrpSpPr>
            <p:grpSpPr>
              <a:xfrm>
                <a:off x="2783248" y="3595510"/>
                <a:ext cx="76139" cy="46800"/>
                <a:chOff x="2921795" y="3751335"/>
                <a:chExt cx="82457" cy="46800"/>
              </a:xfrm>
            </p:grpSpPr>
            <p:sp>
              <p:nvSpPr>
                <p:cNvPr id="334" name="Куб 333"/>
                <p:cNvSpPr>
                  <a:spLocks/>
                </p:cNvSpPr>
                <p:nvPr/>
              </p:nvSpPr>
              <p:spPr>
                <a:xfrm>
                  <a:off x="2921795" y="3751335"/>
                  <a:ext cx="82457" cy="46800"/>
                </a:xfrm>
                <a:prstGeom prst="cube">
                  <a:avLst/>
                </a:prstGeom>
                <a:solidFill>
                  <a:schemeClr val="accent4">
                    <a:lumMod val="75000"/>
                    <a:lumOff val="25000"/>
                  </a:schemeClr>
                </a:solidFill>
                <a:ln w="3175">
                  <a:solidFill>
                    <a:srgbClr val="080808"/>
                  </a:solidFill>
                </a:ln>
                <a:effectLst/>
                <a:scene3d>
                  <a:camera prst="orthographicFront">
                    <a:rot lat="299991" lon="0" rev="0"/>
                  </a:camera>
                  <a:lightRig rig="freezing" dir="t">
                    <a:rot lat="0" lon="0" rev="0"/>
                  </a:lightRig>
                </a:scene3d>
                <a:sp3d prstMaterial="legacyWireframe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C00000"/>
                    </a:solidFill>
                  </a:endParaRPr>
                </a:p>
              </p:txBody>
            </p:sp>
            <p:cxnSp>
              <p:nvCxnSpPr>
                <p:cNvPr id="335" name="Прямая соединительная линия 334"/>
                <p:cNvCxnSpPr/>
                <p:nvPr/>
              </p:nvCxnSpPr>
              <p:spPr>
                <a:xfrm rot="16200000" flipH="1">
                  <a:off x="2947420" y="377861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Прямая соединительная линия 335"/>
                <p:cNvCxnSpPr/>
                <p:nvPr/>
              </p:nvCxnSpPr>
              <p:spPr>
                <a:xfrm rot="16200000" flipH="1">
                  <a:off x="2958887" y="3778537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Прямая соединительная линия 336"/>
                <p:cNvCxnSpPr/>
                <p:nvPr/>
              </p:nvCxnSpPr>
              <p:spPr>
                <a:xfrm rot="16200000" flipH="1">
                  <a:off x="2971869" y="3778538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Прямая соединительная линия 337"/>
                <p:cNvCxnSpPr/>
                <p:nvPr/>
              </p:nvCxnSpPr>
              <p:spPr>
                <a:xfrm rot="16200000" flipH="1">
                  <a:off x="2923671" y="3778779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Прямая соединительная линия 338"/>
                <p:cNvCxnSpPr/>
                <p:nvPr/>
              </p:nvCxnSpPr>
              <p:spPr>
                <a:xfrm rot="16200000" flipH="1">
                  <a:off x="2935205" y="3778725"/>
                  <a:ext cx="22111" cy="0"/>
                </a:xfrm>
                <a:prstGeom prst="line">
                  <a:avLst/>
                </a:prstGeom>
                <a:ln w="3175">
                  <a:solidFill>
                    <a:srgbClr val="08080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0" name="Группа 669"/>
              <p:cNvGrpSpPr/>
              <p:nvPr/>
            </p:nvGrpSpPr>
            <p:grpSpPr>
              <a:xfrm>
                <a:off x="655574" y="5019443"/>
                <a:ext cx="3013283" cy="831574"/>
                <a:chOff x="6482047" y="1260880"/>
                <a:chExt cx="3013283" cy="831574"/>
              </a:xfrm>
            </p:grpSpPr>
            <p:sp>
              <p:nvSpPr>
                <p:cNvPr id="671" name="Freeform 47"/>
                <p:cNvSpPr>
                  <a:spLocks noEditPoints="1"/>
                </p:cNvSpPr>
                <p:nvPr>
                  <p:custDataLst>
                    <p:tags r:id="rId110"/>
                  </p:custDataLst>
                </p:nvPr>
              </p:nvSpPr>
              <p:spPr bwMode="gray">
                <a:xfrm>
                  <a:off x="6804496" y="1747839"/>
                  <a:ext cx="41044" cy="73025"/>
                </a:xfrm>
                <a:custGeom>
                  <a:avLst/>
                  <a:gdLst>
                    <a:gd name="T0" fmla="*/ 2147483647 w 10"/>
                    <a:gd name="T1" fmla="*/ 2147483647 h 19"/>
                    <a:gd name="T2" fmla="*/ 2147483647 w 10"/>
                    <a:gd name="T3" fmla="*/ 0 h 19"/>
                    <a:gd name="T4" fmla="*/ 0 w 10"/>
                    <a:gd name="T5" fmla="*/ 2147483647 h 19"/>
                    <a:gd name="T6" fmla="*/ 2147483647 w 10"/>
                    <a:gd name="T7" fmla="*/ 2147483647 h 19"/>
                    <a:gd name="T8" fmla="*/ 2147483647 w 10"/>
                    <a:gd name="T9" fmla="*/ 2147483647 h 19"/>
                    <a:gd name="T10" fmla="*/ 2147483647 w 10"/>
                    <a:gd name="T11" fmla="*/ 2147483647 h 19"/>
                    <a:gd name="T12" fmla="*/ 2147483647 w 10"/>
                    <a:gd name="T13" fmla="*/ 2147483647 h 19"/>
                    <a:gd name="T14" fmla="*/ 2147483647 w 10"/>
                    <a:gd name="T15" fmla="*/ 2147483647 h 19"/>
                    <a:gd name="T16" fmla="*/ 2147483647 w 10"/>
                    <a:gd name="T17" fmla="*/ 2147483647 h 19"/>
                    <a:gd name="T18" fmla="*/ 2147483647 w 10"/>
                    <a:gd name="T19" fmla="*/ 2147483647 h 19"/>
                    <a:gd name="T20" fmla="*/ 2147483647 w 10"/>
                    <a:gd name="T21" fmla="*/ 2147483647 h 1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0"/>
                    <a:gd name="T34" fmla="*/ 0 h 19"/>
                    <a:gd name="T35" fmla="*/ 10 w 10"/>
                    <a:gd name="T36" fmla="*/ 19 h 1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0" h="19">
                      <a:moveTo>
                        <a:pt x="5" y="5"/>
                      </a:moveTo>
                      <a:cubicBezTo>
                        <a:pt x="6" y="3"/>
                        <a:pt x="10" y="0"/>
                        <a:pt x="5" y="0"/>
                      </a:cubicBezTo>
                      <a:cubicBezTo>
                        <a:pt x="1" y="0"/>
                        <a:pt x="1" y="0"/>
                        <a:pt x="0" y="2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5"/>
                        <a:pt x="4" y="8"/>
                        <a:pt x="4" y="9"/>
                      </a:cubicBezTo>
                      <a:cubicBezTo>
                        <a:pt x="4" y="10"/>
                        <a:pt x="7" y="11"/>
                        <a:pt x="6" y="10"/>
                      </a:cubicBezTo>
                      <a:cubicBezTo>
                        <a:pt x="6" y="9"/>
                        <a:pt x="5" y="7"/>
                        <a:pt x="5" y="5"/>
                      </a:cubicBezTo>
                      <a:close/>
                      <a:moveTo>
                        <a:pt x="3" y="14"/>
                      </a:moveTo>
                      <a:cubicBezTo>
                        <a:pt x="2" y="18"/>
                        <a:pt x="4" y="19"/>
                        <a:pt x="5" y="19"/>
                      </a:cubicBezTo>
                      <a:cubicBezTo>
                        <a:pt x="6" y="19"/>
                        <a:pt x="5" y="15"/>
                        <a:pt x="5" y="15"/>
                      </a:cubicBezTo>
                      <a:cubicBezTo>
                        <a:pt x="5" y="15"/>
                        <a:pt x="3" y="12"/>
                        <a:pt x="3" y="14"/>
                      </a:cubicBezTo>
                      <a:close/>
                    </a:path>
                  </a:pathLst>
                </a:custGeom>
                <a:solidFill>
                  <a:srgbClr val="D9D9D9"/>
                </a:solidFill>
                <a:ln w="3175">
                  <a:solidFill>
                    <a:srgbClr val="96969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681" name="TextBox 680"/>
                <p:cNvSpPr txBox="1"/>
                <p:nvPr/>
              </p:nvSpPr>
              <p:spPr>
                <a:xfrm>
                  <a:off x="6682932" y="1496872"/>
                  <a:ext cx="2482837" cy="36948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dirty="0" smtClean="0"/>
                    <a:t>Перегрузочные терминалы</a:t>
                  </a:r>
                  <a:endParaRPr lang="ru-RU" sz="900" dirty="0"/>
                </a:p>
              </p:txBody>
            </p:sp>
            <p:sp>
              <p:nvSpPr>
                <p:cNvPr id="682" name="TextBox 681"/>
                <p:cNvSpPr txBox="1"/>
                <p:nvPr/>
              </p:nvSpPr>
              <p:spPr>
                <a:xfrm>
                  <a:off x="6711324" y="1260880"/>
                  <a:ext cx="2784006" cy="3667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dirty="0" smtClean="0"/>
                    <a:t>Распределительные терминалы</a:t>
                  </a:r>
                  <a:endParaRPr lang="ru-RU" sz="900" dirty="0"/>
                </a:p>
              </p:txBody>
            </p:sp>
            <p:sp>
              <p:nvSpPr>
                <p:cNvPr id="683" name="TextBox 682"/>
                <p:cNvSpPr txBox="1"/>
                <p:nvPr/>
              </p:nvSpPr>
              <p:spPr>
                <a:xfrm>
                  <a:off x="6682932" y="1725694"/>
                  <a:ext cx="2092649" cy="3667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dirty="0" smtClean="0"/>
                    <a:t>Граница ж.д. </a:t>
                  </a:r>
                  <a:r>
                    <a:rPr lang="en-US" sz="900" dirty="0" smtClean="0"/>
                    <a:t>1520</a:t>
                  </a:r>
                  <a:r>
                    <a:rPr lang="ru-RU" sz="900" dirty="0" smtClean="0"/>
                    <a:t> мм</a:t>
                  </a:r>
                  <a:endParaRPr lang="ru-RU" sz="900" dirty="0"/>
                </a:p>
              </p:txBody>
            </p:sp>
            <p:grpSp>
              <p:nvGrpSpPr>
                <p:cNvPr id="686" name="Группа 495"/>
                <p:cNvGrpSpPr/>
                <p:nvPr/>
              </p:nvGrpSpPr>
              <p:grpSpPr>
                <a:xfrm>
                  <a:off x="6483426" y="1607745"/>
                  <a:ext cx="122993" cy="75600"/>
                  <a:chOff x="6281840" y="3729252"/>
                  <a:chExt cx="133200" cy="75600"/>
                </a:xfrm>
              </p:grpSpPr>
              <p:sp>
                <p:nvSpPr>
                  <p:cNvPr id="709" name="Куб 516"/>
                  <p:cNvSpPr>
                    <a:spLocks noChangeAspect="1"/>
                  </p:cNvSpPr>
                  <p:nvPr/>
                </p:nvSpPr>
                <p:spPr>
                  <a:xfrm>
                    <a:off x="6281840" y="3729252"/>
                    <a:ext cx="133200" cy="75600"/>
                  </a:xfrm>
                  <a:prstGeom prst="cube">
                    <a:avLst/>
                  </a:prstGeom>
                  <a:solidFill>
                    <a:srgbClr val="C00000"/>
                  </a:solidFill>
                  <a:ln w="6350" cap="sq">
                    <a:solidFill>
                      <a:srgbClr val="080808"/>
                    </a:solidFill>
                    <a:beve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numCol="1" spcCol="180000" rtlCol="0" anchor="ctr"/>
                  <a:lstStyle/>
                  <a:p>
                    <a:pPr algn="ctr"/>
                    <a:endParaRPr lang="ru-RU"/>
                  </a:p>
                </p:txBody>
              </p:sp>
              <p:cxnSp>
                <p:nvCxnSpPr>
                  <p:cNvPr id="710" name="Прямая соединительная линия 517"/>
                  <p:cNvCxnSpPr/>
                  <p:nvPr/>
                </p:nvCxnSpPr>
                <p:spPr>
                  <a:xfrm rot="16200000" flipH="1">
                    <a:off x="6338310" y="3776905"/>
                    <a:ext cx="42060" cy="4"/>
                  </a:xfrm>
                  <a:prstGeom prst="line">
                    <a:avLst/>
                  </a:prstGeom>
                  <a:ln w="63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1" name="Прямая соединительная линия 518"/>
                  <p:cNvCxnSpPr/>
                  <p:nvPr/>
                </p:nvCxnSpPr>
                <p:spPr>
                  <a:xfrm rot="16200000" flipH="1">
                    <a:off x="6280186" y="3776904"/>
                    <a:ext cx="42060" cy="4"/>
                  </a:xfrm>
                  <a:prstGeom prst="line">
                    <a:avLst/>
                  </a:prstGeom>
                  <a:ln w="63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2" name="Прямая соединительная линия 519"/>
                  <p:cNvCxnSpPr/>
                  <p:nvPr/>
                </p:nvCxnSpPr>
                <p:spPr>
                  <a:xfrm rot="16200000" flipH="1">
                    <a:off x="6299561" y="3776906"/>
                    <a:ext cx="42060" cy="4"/>
                  </a:xfrm>
                  <a:prstGeom prst="line">
                    <a:avLst/>
                  </a:prstGeom>
                  <a:ln w="63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3" name="Прямая соединительная линия 520"/>
                  <p:cNvCxnSpPr/>
                  <p:nvPr/>
                </p:nvCxnSpPr>
                <p:spPr>
                  <a:xfrm rot="16200000" flipH="1">
                    <a:off x="6318936" y="3776906"/>
                    <a:ext cx="42060" cy="4"/>
                  </a:xfrm>
                  <a:prstGeom prst="line">
                    <a:avLst/>
                  </a:prstGeom>
                  <a:ln w="63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4" name="Прямая соединительная линия 521"/>
                  <p:cNvCxnSpPr/>
                  <p:nvPr/>
                </p:nvCxnSpPr>
                <p:spPr>
                  <a:xfrm rot="16200000" flipH="1">
                    <a:off x="6357684" y="3776905"/>
                    <a:ext cx="42060" cy="4"/>
                  </a:xfrm>
                  <a:prstGeom prst="line">
                    <a:avLst/>
                  </a:prstGeom>
                  <a:ln w="63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88" name="Группа 528"/>
                <p:cNvGrpSpPr/>
                <p:nvPr/>
              </p:nvGrpSpPr>
              <p:grpSpPr>
                <a:xfrm>
                  <a:off x="6502941" y="1341869"/>
                  <a:ext cx="76139" cy="46800"/>
                  <a:chOff x="3619502" y="3286987"/>
                  <a:chExt cx="82458" cy="46800"/>
                </a:xfrm>
                <a:solidFill>
                  <a:srgbClr val="92D050"/>
                </a:solidFill>
              </p:grpSpPr>
              <p:sp>
                <p:nvSpPr>
                  <p:cNvPr id="703" name="Куб 361"/>
                  <p:cNvSpPr>
                    <a:spLocks/>
                  </p:cNvSpPr>
                  <p:nvPr/>
                </p:nvSpPr>
                <p:spPr>
                  <a:xfrm>
                    <a:off x="3619502" y="3286987"/>
                    <a:ext cx="82458" cy="46800"/>
                  </a:xfrm>
                  <a:prstGeom prst="cub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  <a:effectLst/>
                  <a:scene3d>
                    <a:camera prst="orthographicFront">
                      <a:rot lat="299991" lon="0" rev="0"/>
                    </a:camera>
                    <a:lightRig rig="freezing" dir="t">
                      <a:rot lat="0" lon="0" rev="0"/>
                    </a:lightRig>
                  </a:scene3d>
                  <a:sp3d prstMaterial="legacyWireframe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dirty="0">
                      <a:solidFill>
                        <a:srgbClr val="C00000"/>
                      </a:solidFill>
                    </a:endParaRPr>
                  </a:p>
                </p:txBody>
              </p:sp>
              <p:cxnSp>
                <p:nvCxnSpPr>
                  <p:cNvPr id="704" name="Прямая соединительная линия 362"/>
                  <p:cNvCxnSpPr/>
                  <p:nvPr/>
                </p:nvCxnSpPr>
                <p:spPr>
                  <a:xfrm rot="16200000" flipH="1">
                    <a:off x="3645127" y="3314267"/>
                    <a:ext cx="22111" cy="0"/>
                  </a:xfrm>
                  <a:prstGeom prst="lin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5" name="Прямая соединительная линия 363"/>
                  <p:cNvCxnSpPr/>
                  <p:nvPr/>
                </p:nvCxnSpPr>
                <p:spPr>
                  <a:xfrm rot="16200000" flipH="1">
                    <a:off x="3656595" y="3314189"/>
                    <a:ext cx="22111" cy="0"/>
                  </a:xfrm>
                  <a:prstGeom prst="lin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6" name="Прямая соединительная линия 364"/>
                  <p:cNvCxnSpPr/>
                  <p:nvPr/>
                </p:nvCxnSpPr>
                <p:spPr>
                  <a:xfrm rot="16200000" flipH="1">
                    <a:off x="3669577" y="3314190"/>
                    <a:ext cx="22111" cy="0"/>
                  </a:xfrm>
                  <a:prstGeom prst="lin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7" name="Прямая соединительная линия 365"/>
                  <p:cNvCxnSpPr/>
                  <p:nvPr/>
                </p:nvCxnSpPr>
                <p:spPr>
                  <a:xfrm rot="16200000" flipH="1">
                    <a:off x="3621378" y="3314431"/>
                    <a:ext cx="22111" cy="0"/>
                  </a:xfrm>
                  <a:prstGeom prst="lin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8" name="Прямая соединительная линия 366"/>
                  <p:cNvCxnSpPr/>
                  <p:nvPr/>
                </p:nvCxnSpPr>
                <p:spPr>
                  <a:xfrm rot="16200000" flipH="1">
                    <a:off x="3632912" y="3314377"/>
                    <a:ext cx="22111" cy="0"/>
                  </a:xfrm>
                  <a:prstGeom prst="line">
                    <a:avLst/>
                  </a:prstGeom>
                  <a:grpFill/>
                  <a:ln w="3175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691" name="Группа 549"/>
                <p:cNvGrpSpPr/>
                <p:nvPr/>
              </p:nvGrpSpPr>
              <p:grpSpPr>
                <a:xfrm>
                  <a:off x="6482677" y="1519570"/>
                  <a:ext cx="122993" cy="75600"/>
                  <a:chOff x="2139479" y="3910835"/>
                  <a:chExt cx="133200" cy="75600"/>
                </a:xfrm>
                <a:solidFill>
                  <a:schemeClr val="bg1"/>
                </a:solidFill>
              </p:grpSpPr>
              <p:sp>
                <p:nvSpPr>
                  <p:cNvPr id="693" name="Куб 692"/>
                  <p:cNvSpPr>
                    <a:spLocks noChangeAspect="1"/>
                  </p:cNvSpPr>
                  <p:nvPr/>
                </p:nvSpPr>
                <p:spPr>
                  <a:xfrm>
                    <a:off x="2139479" y="3910835"/>
                    <a:ext cx="133200" cy="75600"/>
                  </a:xfrm>
                  <a:prstGeom prst="cube">
                    <a:avLst/>
                  </a:prstGeom>
                  <a:grpFill/>
                  <a:ln w="6350" cap="sq">
                    <a:solidFill>
                      <a:srgbClr val="080808"/>
                    </a:solidFill>
                    <a:beve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numCol="1" spcCol="180000" rtlCol="0" anchor="ctr"/>
                  <a:lstStyle/>
                  <a:p>
                    <a:pPr algn="ctr"/>
                    <a:endParaRPr lang="ru-RU"/>
                  </a:p>
                </p:txBody>
              </p:sp>
              <p:cxnSp>
                <p:nvCxnSpPr>
                  <p:cNvPr id="694" name="Прямая соединительная линия 693"/>
                  <p:cNvCxnSpPr/>
                  <p:nvPr/>
                </p:nvCxnSpPr>
                <p:spPr>
                  <a:xfrm rot="16200000" flipH="1">
                    <a:off x="2195949" y="3958488"/>
                    <a:ext cx="42060" cy="4"/>
                  </a:xfrm>
                  <a:prstGeom prst="line">
                    <a:avLst/>
                  </a:prstGeom>
                  <a:grpFill/>
                  <a:ln w="6350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9" name="Прямая соединительная линия 698"/>
                  <p:cNvCxnSpPr/>
                  <p:nvPr/>
                </p:nvCxnSpPr>
                <p:spPr>
                  <a:xfrm rot="16200000" flipH="1">
                    <a:off x="2137825" y="3958487"/>
                    <a:ext cx="42060" cy="4"/>
                  </a:xfrm>
                  <a:prstGeom prst="line">
                    <a:avLst/>
                  </a:prstGeom>
                  <a:grpFill/>
                  <a:ln w="6350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0" name="Прямая соединительная линия 699"/>
                  <p:cNvCxnSpPr/>
                  <p:nvPr/>
                </p:nvCxnSpPr>
                <p:spPr>
                  <a:xfrm rot="16200000" flipH="1">
                    <a:off x="2157200" y="3958489"/>
                    <a:ext cx="42060" cy="4"/>
                  </a:xfrm>
                  <a:prstGeom prst="line">
                    <a:avLst/>
                  </a:prstGeom>
                  <a:grpFill/>
                  <a:ln w="6350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1" name="Прямая соединительная линия 700"/>
                  <p:cNvCxnSpPr/>
                  <p:nvPr/>
                </p:nvCxnSpPr>
                <p:spPr>
                  <a:xfrm rot="16200000" flipH="1">
                    <a:off x="2176575" y="3958489"/>
                    <a:ext cx="42060" cy="4"/>
                  </a:xfrm>
                  <a:prstGeom prst="line">
                    <a:avLst/>
                  </a:prstGeom>
                  <a:grpFill/>
                  <a:ln w="6350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2" name="Прямая соединительная линия 701"/>
                  <p:cNvCxnSpPr/>
                  <p:nvPr/>
                </p:nvCxnSpPr>
                <p:spPr>
                  <a:xfrm rot="16200000" flipH="1">
                    <a:off x="2215323" y="3958488"/>
                    <a:ext cx="42060" cy="4"/>
                  </a:xfrm>
                  <a:prstGeom prst="line">
                    <a:avLst/>
                  </a:prstGeom>
                  <a:grpFill/>
                  <a:ln w="6350">
                    <a:solidFill>
                      <a:srgbClr val="080808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692" name="Freeform 48274"/>
                <p:cNvSpPr/>
                <p:nvPr/>
              </p:nvSpPr>
              <p:spPr>
                <a:xfrm>
                  <a:off x="6482047" y="1954517"/>
                  <a:ext cx="138893" cy="54214"/>
                </a:xfrm>
                <a:custGeom>
                  <a:avLst/>
                  <a:gdLst>
                    <a:gd name="connsiteX0" fmla="*/ 0 w 237826"/>
                    <a:gd name="connsiteY0" fmla="*/ 0 h 53305"/>
                    <a:gd name="connsiteX1" fmla="*/ 32803 w 237826"/>
                    <a:gd name="connsiteY1" fmla="*/ 8200 h 53305"/>
                    <a:gd name="connsiteX2" fmla="*/ 41004 w 237826"/>
                    <a:gd name="connsiteY2" fmla="*/ 20502 h 53305"/>
                    <a:gd name="connsiteX3" fmla="*/ 65607 w 237826"/>
                    <a:gd name="connsiteY3" fmla="*/ 28703 h 53305"/>
                    <a:gd name="connsiteX4" fmla="*/ 90210 w 237826"/>
                    <a:gd name="connsiteY4" fmla="*/ 45104 h 53305"/>
                    <a:gd name="connsiteX5" fmla="*/ 114812 w 237826"/>
                    <a:gd name="connsiteY5" fmla="*/ 53305 h 53305"/>
                    <a:gd name="connsiteX6" fmla="*/ 147616 w 237826"/>
                    <a:gd name="connsiteY6" fmla="*/ 45104 h 53305"/>
                    <a:gd name="connsiteX7" fmla="*/ 155817 w 237826"/>
                    <a:gd name="connsiteY7" fmla="*/ 32803 h 53305"/>
                    <a:gd name="connsiteX8" fmla="*/ 192721 w 237826"/>
                    <a:gd name="connsiteY8" fmla="*/ 12301 h 53305"/>
                    <a:gd name="connsiteX9" fmla="*/ 205022 w 237826"/>
                    <a:gd name="connsiteY9" fmla="*/ 4100 h 53305"/>
                    <a:gd name="connsiteX10" fmla="*/ 221424 w 237826"/>
                    <a:gd name="connsiteY10" fmla="*/ 8200 h 53305"/>
                    <a:gd name="connsiteX11" fmla="*/ 237826 w 237826"/>
                    <a:gd name="connsiteY11" fmla="*/ 16401 h 53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7826" h="53305">
                      <a:moveTo>
                        <a:pt x="0" y="0"/>
                      </a:moveTo>
                      <a:cubicBezTo>
                        <a:pt x="1020" y="204"/>
                        <a:pt x="28601" y="4838"/>
                        <a:pt x="32803" y="8200"/>
                      </a:cubicBezTo>
                      <a:cubicBezTo>
                        <a:pt x="36651" y="11279"/>
                        <a:pt x="36825" y="17890"/>
                        <a:pt x="41004" y="20502"/>
                      </a:cubicBezTo>
                      <a:cubicBezTo>
                        <a:pt x="48335" y="25084"/>
                        <a:pt x="58414" y="23908"/>
                        <a:pt x="65607" y="28703"/>
                      </a:cubicBezTo>
                      <a:cubicBezTo>
                        <a:pt x="73808" y="34170"/>
                        <a:pt x="80860" y="41987"/>
                        <a:pt x="90210" y="45104"/>
                      </a:cubicBezTo>
                      <a:lnTo>
                        <a:pt x="114812" y="53305"/>
                      </a:lnTo>
                      <a:cubicBezTo>
                        <a:pt x="115837" y="53100"/>
                        <a:pt x="143411" y="48468"/>
                        <a:pt x="147616" y="45104"/>
                      </a:cubicBezTo>
                      <a:cubicBezTo>
                        <a:pt x="151464" y="42025"/>
                        <a:pt x="152108" y="36048"/>
                        <a:pt x="155817" y="32803"/>
                      </a:cubicBezTo>
                      <a:cubicBezTo>
                        <a:pt x="173172" y="17617"/>
                        <a:pt x="175824" y="17932"/>
                        <a:pt x="192721" y="12301"/>
                      </a:cubicBezTo>
                      <a:cubicBezTo>
                        <a:pt x="196821" y="9567"/>
                        <a:pt x="200143" y="4797"/>
                        <a:pt x="205022" y="4100"/>
                      </a:cubicBezTo>
                      <a:cubicBezTo>
                        <a:pt x="210601" y="3303"/>
                        <a:pt x="216005" y="6652"/>
                        <a:pt x="221424" y="8200"/>
                      </a:cubicBezTo>
                      <a:cubicBezTo>
                        <a:pt x="234615" y="11969"/>
                        <a:pt x="231090" y="9667"/>
                        <a:pt x="237826" y="16401"/>
                      </a:cubicBezTo>
                    </a:path>
                  </a:pathLst>
                </a:custGeom>
                <a:noFill/>
                <a:ln>
                  <a:solidFill>
                    <a:srgbClr val="C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722" name="Полилиния 721"/>
              <p:cNvSpPr/>
              <p:nvPr/>
            </p:nvSpPr>
            <p:spPr>
              <a:xfrm>
                <a:off x="2482454" y="4080596"/>
                <a:ext cx="86915" cy="81829"/>
              </a:xfrm>
              <a:custGeom>
                <a:avLst/>
                <a:gdLst>
                  <a:gd name="connsiteX0" fmla="*/ 27384 w 86915"/>
                  <a:gd name="connsiteY0" fmla="*/ 12773 h 81829"/>
                  <a:gd name="connsiteX1" fmla="*/ 48815 w 86915"/>
                  <a:gd name="connsiteY1" fmla="*/ 8010 h 81829"/>
                  <a:gd name="connsiteX2" fmla="*/ 51196 w 86915"/>
                  <a:gd name="connsiteY2" fmla="*/ 15154 h 81829"/>
                  <a:gd name="connsiteX3" fmla="*/ 60721 w 86915"/>
                  <a:gd name="connsiteY3" fmla="*/ 29442 h 81829"/>
                  <a:gd name="connsiteX4" fmla="*/ 63102 w 86915"/>
                  <a:gd name="connsiteY4" fmla="*/ 48492 h 81829"/>
                  <a:gd name="connsiteX5" fmla="*/ 86915 w 86915"/>
                  <a:gd name="connsiteY5" fmla="*/ 60398 h 81829"/>
                  <a:gd name="connsiteX6" fmla="*/ 79771 w 86915"/>
                  <a:gd name="connsiteY6" fmla="*/ 65160 h 81829"/>
                  <a:gd name="connsiteX7" fmla="*/ 65484 w 86915"/>
                  <a:gd name="connsiteY7" fmla="*/ 69923 h 81829"/>
                  <a:gd name="connsiteX8" fmla="*/ 51196 w 86915"/>
                  <a:gd name="connsiteY8" fmla="*/ 77067 h 81829"/>
                  <a:gd name="connsiteX9" fmla="*/ 32146 w 86915"/>
                  <a:gd name="connsiteY9" fmla="*/ 81829 h 81829"/>
                  <a:gd name="connsiteX10" fmla="*/ 22621 w 86915"/>
                  <a:gd name="connsiteY10" fmla="*/ 67542 h 81829"/>
                  <a:gd name="connsiteX11" fmla="*/ 17859 w 86915"/>
                  <a:gd name="connsiteY11" fmla="*/ 60398 h 81829"/>
                  <a:gd name="connsiteX12" fmla="*/ 3571 w 86915"/>
                  <a:gd name="connsiteY12" fmla="*/ 50873 h 81829"/>
                  <a:gd name="connsiteX13" fmla="*/ 15477 w 86915"/>
                  <a:gd name="connsiteY13" fmla="*/ 41348 h 81829"/>
                  <a:gd name="connsiteX14" fmla="*/ 25002 w 86915"/>
                  <a:gd name="connsiteY14" fmla="*/ 27060 h 81829"/>
                  <a:gd name="connsiteX15" fmla="*/ 27384 w 86915"/>
                  <a:gd name="connsiteY15" fmla="*/ 12773 h 8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915" h="81829">
                    <a:moveTo>
                      <a:pt x="27384" y="12773"/>
                    </a:moveTo>
                    <a:cubicBezTo>
                      <a:pt x="31353" y="9598"/>
                      <a:pt x="32795" y="0"/>
                      <a:pt x="48815" y="8010"/>
                    </a:cubicBezTo>
                    <a:cubicBezTo>
                      <a:pt x="51060" y="9133"/>
                      <a:pt x="49977" y="12960"/>
                      <a:pt x="51196" y="15154"/>
                    </a:cubicBezTo>
                    <a:cubicBezTo>
                      <a:pt x="53976" y="20158"/>
                      <a:pt x="60721" y="29442"/>
                      <a:pt x="60721" y="29442"/>
                    </a:cubicBezTo>
                    <a:cubicBezTo>
                      <a:pt x="61515" y="35792"/>
                      <a:pt x="59877" y="42964"/>
                      <a:pt x="63102" y="48492"/>
                    </a:cubicBezTo>
                    <a:cubicBezTo>
                      <a:pt x="67943" y="56790"/>
                      <a:pt x="78795" y="58368"/>
                      <a:pt x="86915" y="60398"/>
                    </a:cubicBezTo>
                    <a:cubicBezTo>
                      <a:pt x="84534" y="61985"/>
                      <a:pt x="82386" y="63998"/>
                      <a:pt x="79771" y="65160"/>
                    </a:cubicBezTo>
                    <a:cubicBezTo>
                      <a:pt x="75184" y="67199"/>
                      <a:pt x="69661" y="67139"/>
                      <a:pt x="65484" y="69923"/>
                    </a:cubicBezTo>
                    <a:cubicBezTo>
                      <a:pt x="58502" y="74577"/>
                      <a:pt x="59081" y="75096"/>
                      <a:pt x="51196" y="77067"/>
                    </a:cubicBezTo>
                    <a:lnTo>
                      <a:pt x="32146" y="81829"/>
                    </a:lnTo>
                    <a:cubicBezTo>
                      <a:pt x="27817" y="64511"/>
                      <a:pt x="33585" y="78506"/>
                      <a:pt x="22621" y="67542"/>
                    </a:cubicBezTo>
                    <a:cubicBezTo>
                      <a:pt x="20597" y="65518"/>
                      <a:pt x="20013" y="62283"/>
                      <a:pt x="17859" y="60398"/>
                    </a:cubicBezTo>
                    <a:cubicBezTo>
                      <a:pt x="13551" y="56629"/>
                      <a:pt x="3571" y="50873"/>
                      <a:pt x="3571" y="50873"/>
                    </a:cubicBezTo>
                    <a:cubicBezTo>
                      <a:pt x="9684" y="32530"/>
                      <a:pt x="0" y="54891"/>
                      <a:pt x="15477" y="41348"/>
                    </a:cubicBezTo>
                    <a:cubicBezTo>
                      <a:pt x="19785" y="37579"/>
                      <a:pt x="25002" y="27060"/>
                      <a:pt x="25002" y="27060"/>
                    </a:cubicBezTo>
                    <a:cubicBezTo>
                      <a:pt x="27732" y="13414"/>
                      <a:pt x="23415" y="15948"/>
                      <a:pt x="27384" y="12773"/>
                    </a:cubicBezTo>
                    <a:close/>
                  </a:path>
                </a:pathLst>
              </a:custGeom>
              <a:solidFill>
                <a:srgbClr val="FFC000"/>
              </a:soli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778" name="Овал 777"/>
            <p:cNvSpPr/>
            <p:nvPr/>
          </p:nvSpPr>
          <p:spPr>
            <a:xfrm>
              <a:off x="5364088" y="2708920"/>
              <a:ext cx="216024" cy="216024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9" name="Овал 778"/>
            <p:cNvSpPr/>
            <p:nvPr/>
          </p:nvSpPr>
          <p:spPr>
            <a:xfrm>
              <a:off x="3995936" y="2996952"/>
              <a:ext cx="216024" cy="216024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0" name="Овал 779"/>
            <p:cNvSpPr/>
            <p:nvPr/>
          </p:nvSpPr>
          <p:spPr>
            <a:xfrm>
              <a:off x="1691680" y="2636912"/>
              <a:ext cx="216024" cy="216024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1" name="Овал 780"/>
            <p:cNvSpPr/>
            <p:nvPr/>
          </p:nvSpPr>
          <p:spPr>
            <a:xfrm>
              <a:off x="1619672" y="2924944"/>
              <a:ext cx="144016" cy="144016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8130" name="Rectangle 2"/>
          <p:cNvSpPr>
            <a:spLocks noGrp="1" noChangeArrowheads="1"/>
          </p:cNvSpPr>
          <p:nvPr>
            <p:ph type="title" idx="4294967295"/>
            <p:custDataLst>
              <p:tags r:id="rId1"/>
            </p:custDataLst>
          </p:nvPr>
        </p:nvSpPr>
        <p:spPr bwMode="gray">
          <a:xfrm>
            <a:off x="282910" y="1"/>
            <a:ext cx="8861090" cy="644526"/>
          </a:xfrm>
        </p:spPr>
        <p:txBody>
          <a:bodyPr lIns="17998" tIns="10799" rIns="17998" bIns="10799" anchor="ctr"/>
          <a:lstStyle/>
          <a:p>
            <a:r>
              <a:rPr lang="ru-RU" sz="1800" b="1" dirty="0" smtClean="0">
                <a:cs typeface="Arial" charset="0"/>
              </a:rPr>
              <a:t>ОТЛК – лидер рынка по размерам транспортных активов…</a:t>
            </a:r>
            <a:endParaRPr lang="en-US" sz="1800" b="1" dirty="0" smtClean="0">
              <a:cs typeface="Arial" charset="0"/>
            </a:endParaRPr>
          </a:p>
        </p:txBody>
      </p:sp>
      <p:sp>
        <p:nvSpPr>
          <p:cNvPr id="725" name="TextBox 724"/>
          <p:cNvSpPr txBox="1"/>
          <p:nvPr/>
        </p:nvSpPr>
        <p:spPr>
          <a:xfrm>
            <a:off x="7164288" y="908720"/>
            <a:ext cx="19797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727" name="TextBox 726"/>
          <p:cNvSpPr txBox="1"/>
          <p:nvPr/>
        </p:nvSpPr>
        <p:spPr>
          <a:xfrm>
            <a:off x="7239014" y="2060848"/>
            <a:ext cx="19049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724" name="TextBox 723"/>
          <p:cNvSpPr txBox="1"/>
          <p:nvPr/>
        </p:nvSpPr>
        <p:spPr>
          <a:xfrm>
            <a:off x="1403648" y="4437112"/>
            <a:ext cx="8640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8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6</a:t>
            </a:r>
            <a:r>
              <a:rPr lang="en-US" sz="28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7</a:t>
            </a:r>
            <a:endParaRPr lang="ru-RU" sz="2800" dirty="0" smtClean="0">
              <a:solidFill>
                <a:schemeClr val="bg2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726" name="TextBox 725"/>
          <p:cNvSpPr txBox="1"/>
          <p:nvPr/>
        </p:nvSpPr>
        <p:spPr>
          <a:xfrm>
            <a:off x="4932040" y="4509120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71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.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2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тыс.</a:t>
            </a:r>
            <a:endParaRPr lang="ru-RU" sz="2400" dirty="0" smtClean="0">
              <a:solidFill>
                <a:schemeClr val="bg2">
                  <a:lumMod val="50000"/>
                </a:schemeClr>
              </a:solidFill>
              <a:latin typeface="Arial Black" pitchFamily="34" charset="0"/>
            </a:endParaRPr>
          </a:p>
          <a:p>
            <a:pPr marL="180000" indent="-180000"/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ISO-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контейнеров</a:t>
            </a:r>
            <a:endParaRPr lang="ru-RU" sz="1050" dirty="0" smtClean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728" name="TextBox 727"/>
          <p:cNvSpPr txBox="1"/>
          <p:nvPr/>
        </p:nvSpPr>
        <p:spPr>
          <a:xfrm>
            <a:off x="4932040" y="5373216"/>
            <a:ext cx="158417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32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.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8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тыс.</a:t>
            </a:r>
            <a:endParaRPr lang="ru-RU" sz="2400" dirty="0" smtClean="0">
              <a:solidFill>
                <a:schemeClr val="bg2">
                  <a:lumMod val="50000"/>
                </a:schemeClr>
              </a:solidFill>
              <a:latin typeface="Arial Black" pitchFamily="34" charset="0"/>
            </a:endParaRPr>
          </a:p>
          <a:p>
            <a:pPr marL="180000" indent="-18000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вагонов в </a:t>
            </a:r>
          </a:p>
          <a:p>
            <a:pPr marL="180000" indent="-18000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управлении</a:t>
            </a:r>
          </a:p>
        </p:txBody>
      </p:sp>
      <p:sp>
        <p:nvSpPr>
          <p:cNvPr id="729" name="TextBox 728"/>
          <p:cNvSpPr txBox="1"/>
          <p:nvPr/>
        </p:nvSpPr>
        <p:spPr>
          <a:xfrm>
            <a:off x="1331640" y="4941168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в т.ч. 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5</a:t>
            </a:r>
            <a:endParaRPr lang="ru-RU" sz="2000" dirty="0" smtClean="0">
              <a:solidFill>
                <a:schemeClr val="bg2">
                  <a:lumMod val="50000"/>
                </a:schemeClr>
              </a:solidFill>
              <a:latin typeface="Arial Black" pitchFamily="34" charset="0"/>
            </a:endParaRPr>
          </a:p>
        </p:txBody>
      </p:sp>
      <p:pic>
        <p:nvPicPr>
          <p:cNvPr id="731" name="Picture 137" descr="photoTC__5881_web"/>
          <p:cNvPicPr>
            <a:picLocks noChangeAspect="1" noChangeArrowheads="1"/>
          </p:cNvPicPr>
          <p:nvPr/>
        </p:nvPicPr>
        <p:blipFill>
          <a:blip r:embed="rId116" cstate="print"/>
          <a:srcRect t="6414"/>
          <a:stretch>
            <a:fillRect/>
          </a:stretch>
        </p:blipFill>
        <p:spPr bwMode="gray">
          <a:xfrm>
            <a:off x="179513" y="4293096"/>
            <a:ext cx="1224136" cy="1050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2" name="Picture 5" descr="R:\Proj\PR-IR\Cnfr&amp;Visits\=PrsntTC=\drfts\PrsntTC-13Q1_130418\cont2.JPG"/>
          <p:cNvPicPr>
            <a:picLocks noChangeAspect="1" noChangeArrowheads="1"/>
          </p:cNvPicPr>
          <p:nvPr/>
        </p:nvPicPr>
        <p:blipFill>
          <a:blip r:embed="rId1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4509120"/>
            <a:ext cx="1152128" cy="72008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3" name="Прямоугольник 732"/>
          <p:cNvSpPr/>
          <p:nvPr/>
        </p:nvSpPr>
        <p:spPr>
          <a:xfrm>
            <a:off x="2195736" y="4509120"/>
            <a:ext cx="9361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2">
                    <a:lumMod val="50000"/>
                  </a:schemeClr>
                </a:solidFill>
              </a:rPr>
              <a:t>грузовых терминалов</a:t>
            </a:r>
            <a:endParaRPr lang="ru-RU" sz="20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34" name="Прямоугольник 733"/>
          <p:cNvSpPr/>
          <p:nvPr/>
        </p:nvSpPr>
        <p:spPr>
          <a:xfrm>
            <a:off x="2195736" y="4941168"/>
            <a:ext cx="15121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chemeClr val="bg2">
                    <a:lumMod val="50000"/>
                  </a:schemeClr>
                </a:solidFill>
              </a:rPr>
              <a:t>перегрузочных терминала на границе</a:t>
            </a:r>
            <a:endParaRPr lang="ru-RU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774" name="Picture 4" descr="R:\Proj\PR-IR\Cnfr&amp;Visits\=PrsntTC=\drfts\PrsntTC-13Q1_130418\_GUS7895.JPG"/>
          <p:cNvPicPr>
            <a:picLocks noChangeAspect="1" noChangeArrowheads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437112"/>
            <a:ext cx="1440160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5" name="TextBox 774"/>
          <p:cNvSpPr txBox="1"/>
          <p:nvPr/>
        </p:nvSpPr>
        <p:spPr>
          <a:xfrm>
            <a:off x="7812360" y="4437112"/>
            <a:ext cx="133164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869</a:t>
            </a:r>
          </a:p>
          <a:p>
            <a:pPr marL="180000" indent="-18000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собственный </a:t>
            </a:r>
          </a:p>
          <a:p>
            <a:pPr marL="180000" indent="-18000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парк тягачей</a:t>
            </a:r>
          </a:p>
        </p:txBody>
      </p:sp>
      <p:pic>
        <p:nvPicPr>
          <p:cNvPr id="776" name="Рисунок 775"/>
          <p:cNvPicPr>
            <a:picLocks noChangeAspect="1"/>
          </p:cNvPicPr>
          <p:nvPr/>
        </p:nvPicPr>
        <p:blipFill>
          <a:blip r:embed="rId1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7904" y="5301208"/>
            <a:ext cx="1296144" cy="983548"/>
          </a:xfrm>
          <a:prstGeom prst="rect">
            <a:avLst/>
          </a:prstGeom>
        </p:spPr>
      </p:pic>
      <p:grpSp>
        <p:nvGrpSpPr>
          <p:cNvPr id="783" name="Группа 782"/>
          <p:cNvGrpSpPr/>
          <p:nvPr/>
        </p:nvGrpSpPr>
        <p:grpSpPr>
          <a:xfrm>
            <a:off x="5580112" y="908720"/>
            <a:ext cx="3334592" cy="2304256"/>
            <a:chOff x="5411723" y="2808749"/>
            <a:chExt cx="4344099" cy="2695240"/>
          </a:xfrm>
          <a:solidFill>
            <a:schemeClr val="bg1"/>
          </a:solidFill>
        </p:grpSpPr>
        <p:pic>
          <p:nvPicPr>
            <p:cNvPr id="784" name="Picture 8" descr="http://halyk-ipo.kz/documents/ktg_halykipo.jp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0" cstate="print"/>
            <a:srcRect/>
            <a:stretch>
              <a:fillRect/>
            </a:stretch>
          </p:blipFill>
          <p:spPr bwMode="auto">
            <a:xfrm>
              <a:off x="8510862" y="2885819"/>
              <a:ext cx="1244960" cy="855234"/>
            </a:xfrm>
            <a:prstGeom prst="rect">
              <a:avLst/>
            </a:prstGeom>
            <a:grpFill/>
          </p:spPr>
        </p:pic>
        <p:pic>
          <p:nvPicPr>
            <p:cNvPr id="785" name="Picture 12" descr="Belarus-RW-Logo.svg">
              <a:hlinkClick r:id="rId121"/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22" cstate="print"/>
            <a:srcRect/>
            <a:stretch>
              <a:fillRect/>
            </a:stretch>
          </p:blipFill>
          <p:spPr bwMode="auto">
            <a:xfrm>
              <a:off x="6815014" y="2808749"/>
              <a:ext cx="1227205" cy="865180"/>
            </a:xfrm>
            <a:prstGeom prst="rect">
              <a:avLst/>
            </a:prstGeom>
            <a:grpFill/>
          </p:spPr>
        </p:pic>
        <p:cxnSp>
          <p:nvCxnSpPr>
            <p:cNvPr id="788" name="Прямая соединительная линия 787"/>
            <p:cNvCxnSpPr/>
            <p:nvPr/>
          </p:nvCxnSpPr>
          <p:spPr>
            <a:xfrm>
              <a:off x="6006677" y="3993049"/>
              <a:ext cx="3120887" cy="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0" name="Прямая соединительная линия 789"/>
            <p:cNvCxnSpPr/>
            <p:nvPr/>
          </p:nvCxnSpPr>
          <p:spPr>
            <a:xfrm>
              <a:off x="6006677" y="3543445"/>
              <a:ext cx="0" cy="449604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1" name="Прямая соединительная линия 790"/>
            <p:cNvCxnSpPr/>
            <p:nvPr/>
          </p:nvCxnSpPr>
          <p:spPr>
            <a:xfrm>
              <a:off x="7547242" y="3531163"/>
              <a:ext cx="0" cy="449604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2" name="Прямая соединительная линия 791"/>
            <p:cNvCxnSpPr/>
            <p:nvPr/>
          </p:nvCxnSpPr>
          <p:spPr>
            <a:xfrm>
              <a:off x="9127564" y="3541102"/>
              <a:ext cx="0" cy="449604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3" name="Прямая соединительная линия 792"/>
            <p:cNvCxnSpPr/>
            <p:nvPr/>
          </p:nvCxnSpPr>
          <p:spPr>
            <a:xfrm>
              <a:off x="7547242" y="3976316"/>
              <a:ext cx="0" cy="9920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4" name="Прямоугольник 793"/>
            <p:cNvSpPr/>
            <p:nvPr/>
          </p:nvSpPr>
          <p:spPr>
            <a:xfrm>
              <a:off x="7003987" y="4079196"/>
              <a:ext cx="1094035" cy="52677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71" bIns="89971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>
                  <a:solidFill>
                    <a:schemeClr val="bg1"/>
                  </a:solidFill>
                  <a:cs typeface="Arial" pitchFamily="34" charset="0"/>
                </a:rPr>
                <a:t>ОТЛК</a:t>
              </a:r>
            </a:p>
          </p:txBody>
        </p:sp>
        <p:pic>
          <p:nvPicPr>
            <p:cNvPr id="798" name="Picture 1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23" cstate="email"/>
            <a:srcRect/>
            <a:stretch>
              <a:fillRect/>
            </a:stretch>
          </p:blipFill>
          <p:spPr bwMode="auto">
            <a:xfrm>
              <a:off x="5411723" y="5145480"/>
              <a:ext cx="728642" cy="326496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799" name="Picture 6" descr="http://a0.twimg.com/profile_images/1583101449/226571_120541958025733_119965654750030_164363_3140838_n.jp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2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61020" y="5120434"/>
              <a:ext cx="642253" cy="326496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</p:pic>
        <p:cxnSp>
          <p:nvCxnSpPr>
            <p:cNvPr id="800" name="Прямая соединительная линия 799"/>
            <p:cNvCxnSpPr/>
            <p:nvPr/>
          </p:nvCxnSpPr>
          <p:spPr>
            <a:xfrm flipH="1">
              <a:off x="5788019" y="4687352"/>
              <a:ext cx="0" cy="36000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1" name="Прямая соединительная линия 800"/>
            <p:cNvCxnSpPr/>
            <p:nvPr/>
          </p:nvCxnSpPr>
          <p:spPr>
            <a:xfrm flipH="1">
              <a:off x="6688007" y="4689506"/>
              <a:ext cx="0" cy="36000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2" name="Прямая соединительная линия 801"/>
            <p:cNvCxnSpPr/>
            <p:nvPr/>
          </p:nvCxnSpPr>
          <p:spPr>
            <a:xfrm flipV="1">
              <a:off x="5788019" y="4689123"/>
              <a:ext cx="3704704" cy="382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3" name="Прямая соединительная линия 802"/>
            <p:cNvCxnSpPr/>
            <p:nvPr/>
          </p:nvCxnSpPr>
          <p:spPr>
            <a:xfrm flipV="1">
              <a:off x="7539002" y="4597729"/>
              <a:ext cx="0" cy="149458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4" name="Прямая соединительная линия 803"/>
            <p:cNvCxnSpPr/>
            <p:nvPr/>
          </p:nvCxnSpPr>
          <p:spPr>
            <a:xfrm flipH="1">
              <a:off x="9492723" y="4680885"/>
              <a:ext cx="0" cy="36000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5" name="Прямая соединительная линия 804"/>
            <p:cNvCxnSpPr/>
            <p:nvPr/>
          </p:nvCxnSpPr>
          <p:spPr>
            <a:xfrm>
              <a:off x="7543800" y="4681265"/>
              <a:ext cx="0" cy="48605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06" name="Picture 10" descr="http://www.konfer.ru/upload/iblock/1b5/v%20T%20S%20Logotip80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25" cstate="email"/>
            <a:srcRect/>
            <a:stretch>
              <a:fillRect/>
            </a:stretch>
          </p:blipFill>
          <p:spPr bwMode="auto">
            <a:xfrm>
              <a:off x="9243392" y="5125854"/>
              <a:ext cx="445953" cy="273146"/>
            </a:xfrm>
            <a:prstGeom prst="rect">
              <a:avLst/>
            </a:prstGeom>
            <a:grpFill/>
          </p:spPr>
        </p:pic>
        <p:cxnSp>
          <p:nvCxnSpPr>
            <p:cNvPr id="807" name="Прямая соединительная линия 806"/>
            <p:cNvCxnSpPr/>
            <p:nvPr/>
          </p:nvCxnSpPr>
          <p:spPr>
            <a:xfrm>
              <a:off x="8648458" y="4695592"/>
              <a:ext cx="0" cy="324000"/>
            </a:xfrm>
            <a:prstGeom prst="line">
              <a:avLst/>
            </a:prstGeom>
            <a:grpFill/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08" name="Picture 2" descr="Logo">
              <a:hlinkClick r:id="rId126"/>
            </p:cNvPr>
            <p:cNvPicPr>
              <a:picLocks noChangeAspect="1" noChangeArrowheads="1"/>
            </p:cNvPicPr>
            <p:nvPr/>
          </p:nvPicPr>
          <p:blipFill>
            <a:blip r:embed="rId127" cstate="print"/>
            <a:srcRect/>
            <a:stretch>
              <a:fillRect/>
            </a:stretch>
          </p:blipFill>
          <p:spPr bwMode="auto">
            <a:xfrm>
              <a:off x="8434488" y="5035970"/>
              <a:ext cx="484357" cy="4680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12" name="Picture 12" descr="Belarus-RW-Logo.svg">
            <a:hlinkClick r:id="rId121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2" cstate="print"/>
          <a:srcRect l="15033" t="21323" b="25370"/>
          <a:stretch>
            <a:fillRect/>
          </a:stretch>
        </p:blipFill>
        <p:spPr bwMode="auto">
          <a:xfrm>
            <a:off x="6804248" y="2852936"/>
            <a:ext cx="814007" cy="360040"/>
          </a:xfrm>
          <a:prstGeom prst="rect">
            <a:avLst/>
          </a:prstGeom>
          <a:noFill/>
        </p:spPr>
      </p:pic>
      <p:sp>
        <p:nvSpPr>
          <p:cNvPr id="813" name="TextBox 812"/>
          <p:cNvSpPr txBox="1"/>
          <p:nvPr/>
        </p:nvSpPr>
        <p:spPr>
          <a:xfrm>
            <a:off x="7236296" y="2924944"/>
            <a:ext cx="57606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2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Arial Black" pitchFamily="34" charset="0"/>
              </a:rPr>
              <a:t>БТЛЦ</a:t>
            </a:r>
            <a:endParaRPr lang="ru-RU" sz="1200" b="1" dirty="0">
              <a:solidFill>
                <a:schemeClr val="accent4">
                  <a:lumMod val="75000"/>
                  <a:lumOff val="25000"/>
                </a:schemeClr>
              </a:solidFill>
              <a:latin typeface="Arial Black" pitchFamily="34" charset="0"/>
            </a:endParaRPr>
          </a:p>
        </p:txBody>
      </p:sp>
      <p:sp>
        <p:nvSpPr>
          <p:cNvPr id="814" name="Овал 813"/>
          <p:cNvSpPr/>
          <p:nvPr/>
        </p:nvSpPr>
        <p:spPr>
          <a:xfrm>
            <a:off x="323528" y="3284984"/>
            <a:ext cx="154869" cy="167911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15" name="Picture 10" descr="Основная комбинация цветов логотипа"/>
          <p:cNvPicPr>
            <a:picLocks noChangeAspect="1" noChangeArrowheads="1"/>
          </p:cNvPicPr>
          <p:nvPr/>
        </p:nvPicPr>
        <p:blipFill>
          <a:blip r:embed="rId128" cstate="print"/>
          <a:srcRect t="18439" b="13952"/>
          <a:stretch>
            <a:fillRect/>
          </a:stretch>
        </p:blipFill>
        <p:spPr bwMode="auto">
          <a:xfrm>
            <a:off x="5580112" y="1052736"/>
            <a:ext cx="865909" cy="360040"/>
          </a:xfrm>
          <a:prstGeom prst="rect">
            <a:avLst/>
          </a:prstGeom>
          <a:noFill/>
        </p:spPr>
      </p:pic>
      <p:pic>
        <p:nvPicPr>
          <p:cNvPr id="18434" name="Picture 2" descr="http://ts1.mm.bing.net/th?&amp;id=HN.608015387778943049&amp;w=300&amp;h=300&amp;c=0&amp;pid=1.9&amp;rs=0&amp;p=0"/>
          <p:cNvPicPr>
            <a:picLocks noChangeAspect="1" noChangeArrowheads="1"/>
          </p:cNvPicPr>
          <p:nvPr/>
        </p:nvPicPr>
        <p:blipFill>
          <a:blip r:embed="rId129" cstate="print"/>
          <a:srcRect l="7560" t="13978" r="11801"/>
          <a:stretch>
            <a:fillRect/>
          </a:stretch>
        </p:blipFill>
        <p:spPr bwMode="auto">
          <a:xfrm>
            <a:off x="179512" y="5517232"/>
            <a:ext cx="1278975" cy="864096"/>
          </a:xfrm>
          <a:prstGeom prst="rect">
            <a:avLst/>
          </a:prstGeom>
          <a:noFill/>
        </p:spPr>
      </p:pic>
      <p:sp>
        <p:nvSpPr>
          <p:cNvPr id="631" name="TextBox 630"/>
          <p:cNvSpPr txBox="1"/>
          <p:nvPr/>
        </p:nvSpPr>
        <p:spPr>
          <a:xfrm>
            <a:off x="1331640" y="5517232"/>
            <a:ext cx="792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4</a:t>
            </a:r>
          </a:p>
        </p:txBody>
      </p:sp>
      <p:sp>
        <p:nvSpPr>
          <p:cNvPr id="638" name="Прямоугольник 637"/>
          <p:cNvSpPr/>
          <p:nvPr/>
        </p:nvSpPr>
        <p:spPr>
          <a:xfrm>
            <a:off x="2195736" y="5589240"/>
            <a:ext cx="15121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chemeClr val="bg2">
                    <a:lumMod val="50000"/>
                  </a:schemeClr>
                </a:solidFill>
              </a:rPr>
              <a:t>железнодорожных</a:t>
            </a:r>
          </a:p>
          <a:p>
            <a:r>
              <a:rPr lang="ru-RU" sz="900" dirty="0" smtClean="0">
                <a:solidFill>
                  <a:schemeClr val="bg2">
                    <a:lumMod val="50000"/>
                  </a:schemeClr>
                </a:solidFill>
              </a:rPr>
              <a:t>парома</a:t>
            </a:r>
            <a:endParaRPr lang="ru-RU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8436" name="Picture 4" descr="http://ts1.mm.bing.net/th?&amp;id=HN.608053204960611135&amp;w=300&amp;h=300&amp;c=0&amp;pid=1.9&amp;rs=0&amp;p=0"/>
          <p:cNvPicPr>
            <a:picLocks noChangeAspect="1" noChangeArrowheads="1"/>
          </p:cNvPicPr>
          <p:nvPr/>
        </p:nvPicPr>
        <p:blipFill>
          <a:blip r:embed="rId130" cstate="print"/>
          <a:srcRect b="27869"/>
          <a:stretch>
            <a:fillRect/>
          </a:stretch>
        </p:blipFill>
        <p:spPr bwMode="auto">
          <a:xfrm>
            <a:off x="6300192" y="5445224"/>
            <a:ext cx="1464163" cy="792088"/>
          </a:xfrm>
          <a:prstGeom prst="rect">
            <a:avLst/>
          </a:prstGeom>
          <a:noFill/>
        </p:spPr>
      </p:pic>
      <p:sp>
        <p:nvSpPr>
          <p:cNvPr id="639" name="TextBox 638"/>
          <p:cNvSpPr txBox="1"/>
          <p:nvPr/>
        </p:nvSpPr>
        <p:spPr>
          <a:xfrm>
            <a:off x="7812360" y="5301208"/>
            <a:ext cx="1331640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/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Более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 </a:t>
            </a:r>
          </a:p>
          <a:p>
            <a:pPr marL="180000" indent="-18000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7000</a:t>
            </a:r>
          </a:p>
          <a:p>
            <a:pPr marL="180000" indent="-18000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сотрудников</a:t>
            </a:r>
          </a:p>
        </p:txBody>
      </p:sp>
      <p:sp>
        <p:nvSpPr>
          <p:cNvPr id="640" name="Овал 639"/>
          <p:cNvSpPr/>
          <p:nvPr/>
        </p:nvSpPr>
        <p:spPr>
          <a:xfrm>
            <a:off x="3275856" y="2996952"/>
            <a:ext cx="180354" cy="199151"/>
          </a:xfrm>
          <a:prstGeom prst="ellipse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1" name="Rectangle 199"/>
          <p:cNvSpPr>
            <a:spLocks noChangeArrowheads="1"/>
          </p:cNvSpPr>
          <p:nvPr/>
        </p:nvSpPr>
        <p:spPr bwMode="gray">
          <a:xfrm>
            <a:off x="3347864" y="3212976"/>
            <a:ext cx="815538" cy="16927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en-US" sz="1100" b="1" dirty="0" err="1" smtClean="0">
                <a:solidFill>
                  <a:srgbClr val="002060"/>
                </a:solidFill>
              </a:rPr>
              <a:t>Altinkol</a:t>
            </a:r>
            <a:endParaRPr lang="en-US" sz="1100" b="1" dirty="0">
              <a:solidFill>
                <a:srgbClr val="002060"/>
              </a:solidFill>
            </a:endParaRPr>
          </a:p>
        </p:txBody>
      </p:sp>
      <p:sp>
        <p:nvSpPr>
          <p:cNvPr id="642" name="Номер слайда 64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3282CF-98DC-40E5-A81B-3B7B19467328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89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 descr="карта ОТЛК.gif"/>
          <p:cNvPicPr>
            <a:picLocks noChangeAspect="1"/>
          </p:cNvPicPr>
          <p:nvPr/>
        </p:nvPicPr>
        <p:blipFill>
          <a:blip r:embed="rId3" cstate="print"/>
          <a:srcRect t="8107" b="27035"/>
          <a:stretch>
            <a:fillRect/>
          </a:stretch>
        </p:blipFill>
        <p:spPr>
          <a:xfrm>
            <a:off x="323528" y="764704"/>
            <a:ext cx="8424936" cy="345638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076056" y="4264060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36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1,665</a:t>
            </a:r>
          </a:p>
          <a:p>
            <a:pPr marL="180000" indent="-180000" algn="ctr"/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млн.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</a:rPr>
              <a:t>TEU</a:t>
            </a:r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60232" y="4408076"/>
            <a:ext cx="17636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</a:rPr>
              <a:t>объем переработки контейнерных</a:t>
            </a:r>
          </a:p>
          <a:p>
            <a:r>
              <a:rPr lang="ru-RU" sz="1200" dirty="0" smtClean="0">
                <a:solidFill>
                  <a:srgbClr val="000000"/>
                </a:solidFill>
              </a:rPr>
              <a:t>грузов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600" y="5056148"/>
            <a:ext cx="1584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28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39,2</a:t>
            </a:r>
          </a:p>
          <a:p>
            <a:pPr marL="180000" indent="-180000" algn="ctr"/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млн. тонн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411760" y="5056148"/>
            <a:ext cx="223224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0000"/>
                </a:solidFill>
              </a:rPr>
              <a:t>объем  экспедирования и перевозок </a:t>
            </a:r>
            <a:r>
              <a:rPr lang="ru-RU" sz="1050" dirty="0" err="1" smtClean="0">
                <a:solidFill>
                  <a:srgbClr val="000000"/>
                </a:solidFill>
              </a:rPr>
              <a:t>неконтейнерных</a:t>
            </a:r>
            <a:endParaRPr lang="ru-RU" sz="1050" dirty="0" smtClean="0">
              <a:solidFill>
                <a:srgbClr val="000000"/>
              </a:solidFill>
            </a:endParaRPr>
          </a:p>
          <a:p>
            <a:r>
              <a:rPr lang="ru-RU" sz="1050" dirty="0" smtClean="0">
                <a:solidFill>
                  <a:srgbClr val="000000"/>
                </a:solidFill>
              </a:rPr>
              <a:t>грузов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8892480" cy="620688"/>
          </a:xfrm>
        </p:spPr>
        <p:txBody>
          <a:bodyPr anchor="ctr">
            <a:noAutofit/>
          </a:bodyPr>
          <a:lstStyle/>
          <a:p>
            <a:r>
              <a:rPr lang="ru-RU" sz="1800" b="1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…и по сетевому охвату бизнеса</a:t>
            </a:r>
            <a:endParaRPr lang="ru-RU" sz="18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99592" y="4264060"/>
            <a:ext cx="1584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28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1,707</a:t>
            </a:r>
          </a:p>
          <a:p>
            <a:pPr marL="180000" indent="-180000" algn="ctr"/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млн.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TEU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483768" y="4408076"/>
            <a:ext cx="176368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0000"/>
                </a:solidFill>
              </a:rPr>
              <a:t>объем перевозок контейнерных</a:t>
            </a:r>
          </a:p>
          <a:p>
            <a:r>
              <a:rPr lang="ru-RU" sz="1050" dirty="0" smtClean="0">
                <a:solidFill>
                  <a:srgbClr val="000000"/>
                </a:solidFill>
              </a:rPr>
              <a:t>грузов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48064" y="5416188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36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3,3</a:t>
            </a:r>
          </a:p>
          <a:p>
            <a:pPr marL="180000" indent="-180000" algn="ctr"/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млн. тонн</a:t>
            </a:r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32240" y="5560204"/>
            <a:ext cx="17636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</a:rPr>
              <a:t>объем переработки </a:t>
            </a:r>
            <a:r>
              <a:rPr lang="ru-RU" sz="1200" dirty="0" err="1" smtClean="0">
                <a:solidFill>
                  <a:srgbClr val="000000"/>
                </a:solidFill>
              </a:rPr>
              <a:t>неконтейнерных</a:t>
            </a:r>
            <a:endParaRPr lang="ru-RU" sz="1200" dirty="0" smtClean="0">
              <a:solidFill>
                <a:srgbClr val="000000"/>
              </a:solidFill>
            </a:endParaRPr>
          </a:p>
          <a:p>
            <a:r>
              <a:rPr lang="ru-RU" sz="1200" dirty="0" smtClean="0">
                <a:solidFill>
                  <a:srgbClr val="000000"/>
                </a:solidFill>
              </a:rPr>
              <a:t>грузо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55576" y="3904020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ЕРЕВОЗКИ И ЭКСПЕДИРОВАНИЕ</a:t>
            </a:r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5076056" y="3904020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ТЕРМИНАЛЬНЫЕ ОПЕРАЦИИ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4499992" y="908720"/>
            <a:ext cx="23042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36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300 000</a:t>
            </a:r>
          </a:p>
          <a:p>
            <a:pPr marL="180000" indent="-180000" algn="ctr"/>
            <a:r>
              <a:rPr lang="ru-RU" dirty="0" smtClean="0">
                <a:solidFill>
                  <a:schemeClr val="accent4">
                    <a:lumMod val="90000"/>
                    <a:lumOff val="10000"/>
                  </a:schemeClr>
                </a:solidFill>
              </a:rPr>
              <a:t> маршрутов</a:t>
            </a:r>
            <a:endParaRPr lang="ru-RU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5536" y="908720"/>
            <a:ext cx="2016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36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70 000</a:t>
            </a:r>
          </a:p>
          <a:p>
            <a:pPr marL="180000" indent="-180000" algn="ctr"/>
            <a:r>
              <a:rPr lang="ru-RU" dirty="0" smtClean="0">
                <a:solidFill>
                  <a:schemeClr val="accent4">
                    <a:lumMod val="90000"/>
                    <a:lumOff val="10000"/>
                  </a:schemeClr>
                </a:solidFill>
              </a:rPr>
              <a:t> клиентов</a:t>
            </a:r>
            <a:endParaRPr lang="ru-RU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483768" y="5776228"/>
            <a:ext cx="22322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0000"/>
                </a:solidFill>
              </a:rPr>
              <a:t>объем  перевозок </a:t>
            </a:r>
          </a:p>
          <a:p>
            <a:r>
              <a:rPr lang="ru-RU" sz="1050" dirty="0" smtClean="0">
                <a:solidFill>
                  <a:srgbClr val="000000"/>
                </a:solidFill>
              </a:rPr>
              <a:t>паромами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71600" y="5776228"/>
            <a:ext cx="158417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rPr>
              <a:t>756</a:t>
            </a:r>
          </a:p>
          <a:p>
            <a:pPr marL="180000" indent="-180000" algn="ctr"/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тыс. тонн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Номер слайда 2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5140D5-1A07-4810-9503-B4F7B562CB0A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2195736" y="908720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36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23</a:t>
            </a:r>
          </a:p>
          <a:p>
            <a:pPr marL="180000" indent="-180000" algn="ctr"/>
            <a:r>
              <a:rPr lang="ru-RU" dirty="0" smtClean="0">
                <a:solidFill>
                  <a:schemeClr val="accent4">
                    <a:lumMod val="90000"/>
                    <a:lumOff val="10000"/>
                  </a:schemeClr>
                </a:solidFill>
              </a:rPr>
              <a:t> страны присутствия</a:t>
            </a:r>
            <a:endParaRPr lang="ru-RU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88224" y="921494"/>
            <a:ext cx="23042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 algn="ctr"/>
            <a:r>
              <a:rPr lang="ru-RU" sz="16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более</a:t>
            </a:r>
            <a:r>
              <a:rPr lang="ru-RU" sz="14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 </a:t>
            </a:r>
            <a:r>
              <a:rPr lang="ru-RU" sz="36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</a:rPr>
              <a:t>600</a:t>
            </a:r>
          </a:p>
          <a:p>
            <a:pPr marL="180000" indent="-180000" algn="ctr"/>
            <a:r>
              <a:rPr lang="ru-RU" dirty="0" smtClean="0">
                <a:solidFill>
                  <a:schemeClr val="accent4">
                    <a:lumMod val="90000"/>
                    <a:lumOff val="10000"/>
                  </a:schemeClr>
                </a:solidFill>
              </a:rPr>
              <a:t> офисов продаж</a:t>
            </a:r>
            <a:endParaRPr lang="ru-RU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" name="Object 4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101"/>
          <a:ext cx="146538" cy="1586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49" imgW="360" imgH="360" progId="">
                  <p:embed/>
                </p:oleObj>
              </mc:Choice>
              <mc:Fallback>
                <p:oleObj name="think-cell Slide" r:id="rId14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101"/>
                        <a:ext cx="146538" cy="1586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Rectangle 136" hidden="1"/>
          <p:cNvSpPr/>
          <p:nvPr>
            <p:custDataLst>
              <p:tags r:id="rId3"/>
            </p:custDataLst>
          </p:nvPr>
        </p:nvSpPr>
        <p:spPr bwMode="auto">
          <a:xfrm>
            <a:off x="2" y="1101"/>
            <a:ext cx="146538" cy="1586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1520" y="-82383"/>
            <a:ext cx="8989404" cy="631063"/>
          </a:xfrm>
          <a:noFill/>
          <a:ln/>
        </p:spPr>
        <p:txBody>
          <a:bodyPr/>
          <a:lstStyle/>
          <a:p>
            <a:r>
              <a:rPr lang="ru-RU" sz="1800" b="1" dirty="0" smtClean="0"/>
              <a:t/>
            </a:r>
            <a:br>
              <a:rPr lang="ru-RU" sz="1800" b="1" dirty="0" smtClean="0"/>
            </a:br>
            <a:r>
              <a:rPr lang="ru-RU" sz="1800" b="1" dirty="0" smtClean="0"/>
              <a:t>Конкурентное преимущество ОТЛК – эффект масштаба</a:t>
            </a:r>
            <a:endParaRPr lang="ru-RU" sz="1800" b="1" kern="1200" dirty="0"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3" name="Group 138"/>
          <p:cNvGrpSpPr/>
          <p:nvPr>
            <p:custDataLst>
              <p:tags r:id="rId5"/>
            </p:custDataLst>
          </p:nvPr>
        </p:nvGrpSpPr>
        <p:grpSpPr>
          <a:xfrm>
            <a:off x="263603" y="1075290"/>
            <a:ext cx="8496175" cy="4993399"/>
            <a:chOff x="245811" y="2284077"/>
            <a:chExt cx="6080277" cy="3983132"/>
          </a:xfrm>
        </p:grpSpPr>
        <p:pic>
          <p:nvPicPr>
            <p:cNvPr id="321" name="Picture 6"/>
            <p:cNvPicPr>
              <a:picLocks noChangeAspect="1" noChangeArrowheads="1"/>
            </p:cNvPicPr>
            <p:nvPr>
              <p:custDataLst>
                <p:tags r:id="rId80"/>
              </p:custDataLst>
            </p:nvPr>
          </p:nvPicPr>
          <p:blipFill>
            <a:blip r:embed="rId151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1748834" y="2423522"/>
              <a:ext cx="4577254" cy="2480851"/>
            </a:xfrm>
            <a:prstGeom prst="rect">
              <a:avLst/>
            </a:prstGeom>
            <a:solidFill>
              <a:srgbClr val="D8CEB8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322" name="Freeform 132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5446209" y="5726641"/>
              <a:ext cx="75791" cy="142255"/>
            </a:xfrm>
            <a:custGeom>
              <a:avLst/>
              <a:gdLst>
                <a:gd name="T0" fmla="*/ 0 w 52"/>
                <a:gd name="T1" fmla="*/ 9646 h 79"/>
                <a:gd name="T2" fmla="*/ 0 w 52"/>
                <a:gd name="T3" fmla="*/ 9646 h 79"/>
                <a:gd name="T4" fmla="*/ 0 w 52"/>
                <a:gd name="T5" fmla="*/ 12861 h 79"/>
                <a:gd name="T6" fmla="*/ 3969 w 52"/>
                <a:gd name="T7" fmla="*/ 16076 h 79"/>
                <a:gd name="T8" fmla="*/ 10319 w 52"/>
                <a:gd name="T9" fmla="*/ 0 h 79"/>
                <a:gd name="T10" fmla="*/ 7144 w 52"/>
                <a:gd name="T11" fmla="*/ 0 h 79"/>
                <a:gd name="T12" fmla="*/ 0 w 52"/>
                <a:gd name="T13" fmla="*/ 9646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9"/>
                <a:gd name="T23" fmla="*/ 52 w 52"/>
                <a:gd name="T24" fmla="*/ 79 h 7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9">
                  <a:moveTo>
                    <a:pt x="0" y="48"/>
                  </a:moveTo>
                  <a:lnTo>
                    <a:pt x="0" y="48"/>
                  </a:lnTo>
                  <a:lnTo>
                    <a:pt x="0" y="63"/>
                  </a:lnTo>
                  <a:lnTo>
                    <a:pt x="17" y="79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0" y="48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3" name="Line 145"/>
            <p:cNvSpPr>
              <a:spLocks noChangeShapeType="1"/>
            </p:cNvSpPr>
            <p:nvPr>
              <p:custDataLst>
                <p:tags r:id="rId82"/>
              </p:custDataLst>
            </p:nvPr>
          </p:nvSpPr>
          <p:spPr bwMode="auto">
            <a:xfrm flipV="1">
              <a:off x="5825162" y="5584386"/>
              <a:ext cx="0" cy="56903"/>
            </a:xfrm>
            <a:prstGeom prst="line">
              <a:avLst/>
            </a:pr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4" name="Freeform 148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157769" y="5669740"/>
              <a:ext cx="204052" cy="256059"/>
            </a:xfrm>
            <a:custGeom>
              <a:avLst/>
              <a:gdLst>
                <a:gd name="T0" fmla="*/ 27781 w 140"/>
                <a:gd name="T1" fmla="*/ 26194 h 144"/>
                <a:gd name="T2" fmla="*/ 27781 w 140"/>
                <a:gd name="T3" fmla="*/ 26194 h 144"/>
                <a:gd name="T4" fmla="*/ 23812 w 140"/>
                <a:gd name="T5" fmla="*/ 15875 h 144"/>
                <a:gd name="T6" fmla="*/ 23812 w 140"/>
                <a:gd name="T7" fmla="*/ 12700 h 144"/>
                <a:gd name="T8" fmla="*/ 20637 w 140"/>
                <a:gd name="T9" fmla="*/ 15875 h 144"/>
                <a:gd name="T10" fmla="*/ 17462 w 140"/>
                <a:gd name="T11" fmla="*/ 15875 h 144"/>
                <a:gd name="T12" fmla="*/ 17462 w 140"/>
                <a:gd name="T13" fmla="*/ 12700 h 144"/>
                <a:gd name="T14" fmla="*/ 23812 w 140"/>
                <a:gd name="T15" fmla="*/ 7144 h 144"/>
                <a:gd name="T16" fmla="*/ 10319 w 140"/>
                <a:gd name="T17" fmla="*/ 7144 h 144"/>
                <a:gd name="T18" fmla="*/ 10319 w 140"/>
                <a:gd name="T19" fmla="*/ 0 h 144"/>
                <a:gd name="T20" fmla="*/ 7144 w 140"/>
                <a:gd name="T21" fmla="*/ 0 h 144"/>
                <a:gd name="T22" fmla="*/ 3175 w 140"/>
                <a:gd name="T23" fmla="*/ 0 h 144"/>
                <a:gd name="T24" fmla="*/ 3175 w 140"/>
                <a:gd name="T25" fmla="*/ 3175 h 144"/>
                <a:gd name="T26" fmla="*/ 0 w 140"/>
                <a:gd name="T27" fmla="*/ 9525 h 144"/>
                <a:gd name="T28" fmla="*/ 3175 w 140"/>
                <a:gd name="T29" fmla="*/ 9525 h 144"/>
                <a:gd name="T30" fmla="*/ 7144 w 140"/>
                <a:gd name="T31" fmla="*/ 26194 h 144"/>
                <a:gd name="T32" fmla="*/ 14287 w 140"/>
                <a:gd name="T33" fmla="*/ 26194 h 144"/>
                <a:gd name="T34" fmla="*/ 20637 w 140"/>
                <a:gd name="T35" fmla="*/ 19050 h 144"/>
                <a:gd name="T36" fmla="*/ 23812 w 140"/>
                <a:gd name="T37" fmla="*/ 28575 h 144"/>
                <a:gd name="T38" fmla="*/ 27781 w 140"/>
                <a:gd name="T39" fmla="*/ 26194 h 1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0"/>
                <a:gd name="T61" fmla="*/ 0 h 144"/>
                <a:gd name="T62" fmla="*/ 140 w 140"/>
                <a:gd name="T63" fmla="*/ 144 h 1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0" h="144">
                  <a:moveTo>
                    <a:pt x="140" y="129"/>
                  </a:moveTo>
                  <a:lnTo>
                    <a:pt x="140" y="129"/>
                  </a:lnTo>
                  <a:lnTo>
                    <a:pt x="123" y="81"/>
                  </a:lnTo>
                  <a:lnTo>
                    <a:pt x="123" y="64"/>
                  </a:lnTo>
                  <a:lnTo>
                    <a:pt x="105" y="81"/>
                  </a:lnTo>
                  <a:lnTo>
                    <a:pt x="88" y="81"/>
                  </a:lnTo>
                  <a:lnTo>
                    <a:pt x="88" y="64"/>
                  </a:lnTo>
                  <a:lnTo>
                    <a:pt x="123" y="33"/>
                  </a:lnTo>
                  <a:lnTo>
                    <a:pt x="52" y="33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48"/>
                  </a:lnTo>
                  <a:lnTo>
                    <a:pt x="17" y="48"/>
                  </a:lnTo>
                  <a:lnTo>
                    <a:pt x="34" y="129"/>
                  </a:lnTo>
                  <a:lnTo>
                    <a:pt x="69" y="129"/>
                  </a:lnTo>
                  <a:lnTo>
                    <a:pt x="105" y="96"/>
                  </a:lnTo>
                  <a:lnTo>
                    <a:pt x="123" y="144"/>
                  </a:lnTo>
                  <a:lnTo>
                    <a:pt x="140" y="129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5" name="Freeform 150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664983" y="5868896"/>
              <a:ext cx="276928" cy="398313"/>
            </a:xfrm>
            <a:custGeom>
              <a:avLst/>
              <a:gdLst>
                <a:gd name="T0" fmla="*/ 38100 w 190"/>
                <a:gd name="T1" fmla="*/ 42069 h 224"/>
                <a:gd name="T2" fmla="*/ 38100 w 190"/>
                <a:gd name="T3" fmla="*/ 42069 h 224"/>
                <a:gd name="T4" fmla="*/ 38100 w 190"/>
                <a:gd name="T5" fmla="*/ 34925 h 224"/>
                <a:gd name="T6" fmla="*/ 30956 w 190"/>
                <a:gd name="T7" fmla="*/ 28575 h 224"/>
                <a:gd name="T8" fmla="*/ 30956 w 190"/>
                <a:gd name="T9" fmla="*/ 25400 h 224"/>
                <a:gd name="T10" fmla="*/ 17463 w 190"/>
                <a:gd name="T11" fmla="*/ 15875 h 224"/>
                <a:gd name="T12" fmla="*/ 23813 w 190"/>
                <a:gd name="T13" fmla="*/ 13494 h 224"/>
                <a:gd name="T14" fmla="*/ 20638 w 190"/>
                <a:gd name="T15" fmla="*/ 9525 h 224"/>
                <a:gd name="T16" fmla="*/ 14288 w 190"/>
                <a:gd name="T17" fmla="*/ 6350 h 224"/>
                <a:gd name="T18" fmla="*/ 10319 w 190"/>
                <a:gd name="T19" fmla="*/ 0 h 224"/>
                <a:gd name="T20" fmla="*/ 7144 w 190"/>
                <a:gd name="T21" fmla="*/ 0 h 224"/>
                <a:gd name="T22" fmla="*/ 7144 w 190"/>
                <a:gd name="T23" fmla="*/ 6350 h 224"/>
                <a:gd name="T24" fmla="*/ 3969 w 190"/>
                <a:gd name="T25" fmla="*/ 6350 h 224"/>
                <a:gd name="T26" fmla="*/ 3969 w 190"/>
                <a:gd name="T27" fmla="*/ 3969 h 224"/>
                <a:gd name="T28" fmla="*/ 0 w 190"/>
                <a:gd name="T29" fmla="*/ 9525 h 224"/>
                <a:gd name="T30" fmla="*/ 0 w 190"/>
                <a:gd name="T31" fmla="*/ 13494 h 224"/>
                <a:gd name="T32" fmla="*/ 3969 w 190"/>
                <a:gd name="T33" fmla="*/ 15875 h 224"/>
                <a:gd name="T34" fmla="*/ 3969 w 190"/>
                <a:gd name="T35" fmla="*/ 25400 h 224"/>
                <a:gd name="T36" fmla="*/ 10319 w 190"/>
                <a:gd name="T37" fmla="*/ 22225 h 224"/>
                <a:gd name="T38" fmla="*/ 17463 w 190"/>
                <a:gd name="T39" fmla="*/ 19050 h 224"/>
                <a:gd name="T40" fmla="*/ 20638 w 190"/>
                <a:gd name="T41" fmla="*/ 25400 h 224"/>
                <a:gd name="T42" fmla="*/ 23813 w 190"/>
                <a:gd name="T43" fmla="*/ 32544 h 224"/>
                <a:gd name="T44" fmla="*/ 27781 w 190"/>
                <a:gd name="T45" fmla="*/ 34925 h 224"/>
                <a:gd name="T46" fmla="*/ 27781 w 190"/>
                <a:gd name="T47" fmla="*/ 42069 h 224"/>
                <a:gd name="T48" fmla="*/ 30956 w 190"/>
                <a:gd name="T49" fmla="*/ 44450 h 224"/>
                <a:gd name="T50" fmla="*/ 30956 w 190"/>
                <a:gd name="T51" fmla="*/ 42069 h 224"/>
                <a:gd name="T52" fmla="*/ 38100 w 190"/>
                <a:gd name="T53" fmla="*/ 42069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224"/>
                <a:gd name="T83" fmla="*/ 190 w 190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224">
                  <a:moveTo>
                    <a:pt x="190" y="209"/>
                  </a:moveTo>
                  <a:lnTo>
                    <a:pt x="190" y="209"/>
                  </a:lnTo>
                  <a:lnTo>
                    <a:pt x="190" y="176"/>
                  </a:lnTo>
                  <a:lnTo>
                    <a:pt x="156" y="144"/>
                  </a:lnTo>
                  <a:lnTo>
                    <a:pt x="156" y="128"/>
                  </a:lnTo>
                  <a:lnTo>
                    <a:pt x="87" y="80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69" y="32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32"/>
                  </a:lnTo>
                  <a:lnTo>
                    <a:pt x="18" y="32"/>
                  </a:lnTo>
                  <a:lnTo>
                    <a:pt x="18" y="17"/>
                  </a:lnTo>
                  <a:lnTo>
                    <a:pt x="0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18" y="128"/>
                  </a:lnTo>
                  <a:lnTo>
                    <a:pt x="52" y="113"/>
                  </a:lnTo>
                  <a:lnTo>
                    <a:pt x="87" y="96"/>
                  </a:lnTo>
                  <a:lnTo>
                    <a:pt x="104" y="128"/>
                  </a:lnTo>
                  <a:lnTo>
                    <a:pt x="121" y="161"/>
                  </a:lnTo>
                  <a:lnTo>
                    <a:pt x="138" y="176"/>
                  </a:lnTo>
                  <a:lnTo>
                    <a:pt x="138" y="209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90" y="209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6" name="Freeform 15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213156" y="5584386"/>
              <a:ext cx="122431" cy="56903"/>
            </a:xfrm>
            <a:custGeom>
              <a:avLst/>
              <a:gdLst>
                <a:gd name="T0" fmla="*/ 13335 w 85"/>
                <a:gd name="T1" fmla="*/ 0 h 33"/>
                <a:gd name="T2" fmla="*/ 13335 w 85"/>
                <a:gd name="T3" fmla="*/ 0 h 33"/>
                <a:gd name="T4" fmla="*/ 3138 w 85"/>
                <a:gd name="T5" fmla="*/ 0 h 33"/>
                <a:gd name="T6" fmla="*/ 0 w 85"/>
                <a:gd name="T7" fmla="*/ 3079 h 33"/>
                <a:gd name="T8" fmla="*/ 0 w 85"/>
                <a:gd name="T9" fmla="*/ 6158 h 33"/>
                <a:gd name="T10" fmla="*/ 13335 w 85"/>
                <a:gd name="T11" fmla="*/ 6158 h 33"/>
                <a:gd name="T12" fmla="*/ 16473 w 85"/>
                <a:gd name="T13" fmla="*/ 6158 h 33"/>
                <a:gd name="T14" fmla="*/ 13335 w 8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33"/>
                <a:gd name="T26" fmla="*/ 85 w 8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33">
                  <a:moveTo>
                    <a:pt x="69" y="0"/>
                  </a:moveTo>
                  <a:lnTo>
                    <a:pt x="69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0" y="33"/>
                  </a:lnTo>
                  <a:lnTo>
                    <a:pt x="69" y="33"/>
                  </a:lnTo>
                  <a:lnTo>
                    <a:pt x="85" y="33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7" name="Freeform 15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857523" y="5474141"/>
              <a:ext cx="303163" cy="195602"/>
            </a:xfrm>
            <a:custGeom>
              <a:avLst/>
              <a:gdLst>
                <a:gd name="T0" fmla="*/ 3145 w 210"/>
                <a:gd name="T1" fmla="*/ 0 h 111"/>
                <a:gd name="T2" fmla="*/ 3145 w 210"/>
                <a:gd name="T3" fmla="*/ 0 h 111"/>
                <a:gd name="T4" fmla="*/ 0 w 210"/>
                <a:gd name="T5" fmla="*/ 9439 h 111"/>
                <a:gd name="T6" fmla="*/ 6290 w 210"/>
                <a:gd name="T7" fmla="*/ 11799 h 111"/>
                <a:gd name="T8" fmla="*/ 36951 w 210"/>
                <a:gd name="T9" fmla="*/ 21238 h 111"/>
                <a:gd name="T10" fmla="*/ 40882 w 210"/>
                <a:gd name="T11" fmla="*/ 21238 h 111"/>
                <a:gd name="T12" fmla="*/ 40882 w 210"/>
                <a:gd name="T13" fmla="*/ 18878 h 111"/>
                <a:gd name="T14" fmla="*/ 40882 w 210"/>
                <a:gd name="T15" fmla="*/ 11799 h 111"/>
                <a:gd name="T16" fmla="*/ 30661 w 210"/>
                <a:gd name="T17" fmla="*/ 11799 h 111"/>
                <a:gd name="T18" fmla="*/ 23586 w 210"/>
                <a:gd name="T19" fmla="*/ 9439 h 111"/>
                <a:gd name="T20" fmla="*/ 20441 w 210"/>
                <a:gd name="T21" fmla="*/ 5506 h 111"/>
                <a:gd name="T22" fmla="*/ 16510 w 210"/>
                <a:gd name="T23" fmla="*/ 5506 h 111"/>
                <a:gd name="T24" fmla="*/ 10220 w 210"/>
                <a:gd name="T25" fmla="*/ 0 h 111"/>
                <a:gd name="T26" fmla="*/ 3145 w 210"/>
                <a:gd name="T27" fmla="*/ 0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0"/>
                <a:gd name="T43" fmla="*/ 0 h 111"/>
                <a:gd name="T44" fmla="*/ 210 w 210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0" h="111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35" y="63"/>
                  </a:lnTo>
                  <a:lnTo>
                    <a:pt x="192" y="111"/>
                  </a:lnTo>
                  <a:lnTo>
                    <a:pt x="210" y="111"/>
                  </a:lnTo>
                  <a:lnTo>
                    <a:pt x="210" y="96"/>
                  </a:lnTo>
                  <a:lnTo>
                    <a:pt x="210" y="63"/>
                  </a:lnTo>
                  <a:lnTo>
                    <a:pt x="158" y="63"/>
                  </a:lnTo>
                  <a:lnTo>
                    <a:pt x="121" y="48"/>
                  </a:lnTo>
                  <a:lnTo>
                    <a:pt x="104" y="31"/>
                  </a:lnTo>
                  <a:lnTo>
                    <a:pt x="87" y="31"/>
                  </a:lnTo>
                  <a:lnTo>
                    <a:pt x="52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8" name="Freeform 15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699817" y="5015367"/>
              <a:ext cx="125347" cy="227607"/>
            </a:xfrm>
            <a:custGeom>
              <a:avLst/>
              <a:gdLst>
                <a:gd name="T0" fmla="*/ 0 w 86"/>
                <a:gd name="T1" fmla="*/ 6350 h 128"/>
                <a:gd name="T2" fmla="*/ 0 w 86"/>
                <a:gd name="T3" fmla="*/ 6350 h 128"/>
                <a:gd name="T4" fmla="*/ 9525 w 86"/>
                <a:gd name="T5" fmla="*/ 0 h 128"/>
                <a:gd name="T6" fmla="*/ 14288 w 86"/>
                <a:gd name="T7" fmla="*/ 6350 h 128"/>
                <a:gd name="T8" fmla="*/ 17463 w 86"/>
                <a:gd name="T9" fmla="*/ 15875 h 128"/>
                <a:gd name="T10" fmla="*/ 14288 w 86"/>
                <a:gd name="T11" fmla="*/ 22225 h 128"/>
                <a:gd name="T12" fmla="*/ 0 w 86"/>
                <a:gd name="T13" fmla="*/ 25400 h 128"/>
                <a:gd name="T14" fmla="*/ 0 w 86"/>
                <a:gd name="T15" fmla="*/ 22225 h 128"/>
                <a:gd name="T16" fmla="*/ 0 w 86"/>
                <a:gd name="T17" fmla="*/ 19050 h 128"/>
                <a:gd name="T18" fmla="*/ 0 w 86"/>
                <a:gd name="T19" fmla="*/ 9525 h 128"/>
                <a:gd name="T20" fmla="*/ 0 w 86"/>
                <a:gd name="T21" fmla="*/ 6350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128"/>
                <a:gd name="T35" fmla="*/ 86 w 86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128">
                  <a:moveTo>
                    <a:pt x="0" y="32"/>
                  </a:moveTo>
                  <a:lnTo>
                    <a:pt x="0" y="32"/>
                  </a:lnTo>
                  <a:lnTo>
                    <a:pt x="51" y="0"/>
                  </a:lnTo>
                  <a:lnTo>
                    <a:pt x="69" y="32"/>
                  </a:lnTo>
                  <a:lnTo>
                    <a:pt x="86" y="80"/>
                  </a:lnTo>
                  <a:lnTo>
                    <a:pt x="69" y="113"/>
                  </a:lnTo>
                  <a:lnTo>
                    <a:pt x="0" y="128"/>
                  </a:lnTo>
                  <a:lnTo>
                    <a:pt x="0" y="113"/>
                  </a:lnTo>
                  <a:lnTo>
                    <a:pt x="0" y="96"/>
                  </a:lnTo>
                  <a:lnTo>
                    <a:pt x="0" y="4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29" name="Freeform 157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624026" y="4791318"/>
              <a:ext cx="253609" cy="280954"/>
            </a:xfrm>
            <a:custGeom>
              <a:avLst/>
              <a:gdLst>
                <a:gd name="T0" fmla="*/ 35331 w 172"/>
                <a:gd name="T1" fmla="*/ 0 h 159"/>
                <a:gd name="T2" fmla="*/ 35331 w 172"/>
                <a:gd name="T3" fmla="*/ 0 h 159"/>
                <a:gd name="T4" fmla="*/ 31316 w 172"/>
                <a:gd name="T5" fmla="*/ 0 h 159"/>
                <a:gd name="T6" fmla="*/ 24892 w 172"/>
                <a:gd name="T7" fmla="*/ 3155 h 159"/>
                <a:gd name="T8" fmla="*/ 20878 w 172"/>
                <a:gd name="T9" fmla="*/ 3155 h 159"/>
                <a:gd name="T10" fmla="*/ 17666 w 172"/>
                <a:gd name="T11" fmla="*/ 5521 h 159"/>
                <a:gd name="T12" fmla="*/ 14454 w 172"/>
                <a:gd name="T13" fmla="*/ 5521 h 159"/>
                <a:gd name="T14" fmla="*/ 0 w 172"/>
                <a:gd name="T15" fmla="*/ 14986 h 159"/>
                <a:gd name="T16" fmla="*/ 0 w 172"/>
                <a:gd name="T17" fmla="*/ 18930 h 159"/>
                <a:gd name="T18" fmla="*/ 4015 w 172"/>
                <a:gd name="T19" fmla="*/ 18930 h 159"/>
                <a:gd name="T20" fmla="*/ 0 w 172"/>
                <a:gd name="T21" fmla="*/ 28395 h 159"/>
                <a:gd name="T22" fmla="*/ 4015 w 172"/>
                <a:gd name="T23" fmla="*/ 30762 h 159"/>
                <a:gd name="T24" fmla="*/ 7227 w 172"/>
                <a:gd name="T25" fmla="*/ 30762 h 159"/>
                <a:gd name="T26" fmla="*/ 10439 w 172"/>
                <a:gd name="T27" fmla="*/ 30762 h 159"/>
                <a:gd name="T28" fmla="*/ 20878 w 172"/>
                <a:gd name="T29" fmla="*/ 24452 h 159"/>
                <a:gd name="T30" fmla="*/ 14454 w 172"/>
                <a:gd name="T31" fmla="*/ 22085 h 159"/>
                <a:gd name="T32" fmla="*/ 14454 w 172"/>
                <a:gd name="T33" fmla="*/ 18930 h 159"/>
                <a:gd name="T34" fmla="*/ 28104 w 172"/>
                <a:gd name="T35" fmla="*/ 12620 h 159"/>
                <a:gd name="T36" fmla="*/ 28104 w 172"/>
                <a:gd name="T37" fmla="*/ 5521 h 159"/>
                <a:gd name="T38" fmla="*/ 35331 w 172"/>
                <a:gd name="T39" fmla="*/ 0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2"/>
                <a:gd name="T61" fmla="*/ 0 h 159"/>
                <a:gd name="T62" fmla="*/ 172 w 172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2" h="159">
                  <a:moveTo>
                    <a:pt x="172" y="0"/>
                  </a:moveTo>
                  <a:lnTo>
                    <a:pt x="172" y="0"/>
                  </a:lnTo>
                  <a:lnTo>
                    <a:pt x="155" y="0"/>
                  </a:lnTo>
                  <a:lnTo>
                    <a:pt x="121" y="16"/>
                  </a:lnTo>
                  <a:lnTo>
                    <a:pt x="103" y="16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0" y="79"/>
                  </a:lnTo>
                  <a:lnTo>
                    <a:pt x="0" y="96"/>
                  </a:lnTo>
                  <a:lnTo>
                    <a:pt x="17" y="96"/>
                  </a:lnTo>
                  <a:lnTo>
                    <a:pt x="0" y="144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52" y="159"/>
                  </a:lnTo>
                  <a:lnTo>
                    <a:pt x="103" y="127"/>
                  </a:lnTo>
                  <a:lnTo>
                    <a:pt x="69" y="112"/>
                  </a:lnTo>
                  <a:lnTo>
                    <a:pt x="69" y="96"/>
                  </a:lnTo>
                  <a:lnTo>
                    <a:pt x="138" y="64"/>
                  </a:lnTo>
                  <a:lnTo>
                    <a:pt x="138" y="31"/>
                  </a:lnTo>
                  <a:lnTo>
                    <a:pt x="172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30" name="Freeform 158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825162" y="5271427"/>
              <a:ext cx="102026" cy="170706"/>
            </a:xfrm>
            <a:custGeom>
              <a:avLst/>
              <a:gdLst>
                <a:gd name="T0" fmla="*/ 0 w 69"/>
                <a:gd name="T1" fmla="*/ 3969 h 96"/>
                <a:gd name="T2" fmla="*/ 0 w 69"/>
                <a:gd name="T3" fmla="*/ 3969 h 96"/>
                <a:gd name="T4" fmla="*/ 0 w 69"/>
                <a:gd name="T5" fmla="*/ 6350 h 96"/>
                <a:gd name="T6" fmla="*/ 4026 w 69"/>
                <a:gd name="T7" fmla="*/ 6350 h 96"/>
                <a:gd name="T8" fmla="*/ 4026 w 69"/>
                <a:gd name="T9" fmla="*/ 15875 h 96"/>
                <a:gd name="T10" fmla="*/ 7247 w 69"/>
                <a:gd name="T11" fmla="*/ 19050 h 96"/>
                <a:gd name="T12" fmla="*/ 10468 w 69"/>
                <a:gd name="T13" fmla="*/ 15875 h 96"/>
                <a:gd name="T14" fmla="*/ 14495 w 69"/>
                <a:gd name="T15" fmla="*/ 6350 h 96"/>
                <a:gd name="T16" fmla="*/ 10468 w 69"/>
                <a:gd name="T17" fmla="*/ 3969 h 96"/>
                <a:gd name="T18" fmla="*/ 4026 w 69"/>
                <a:gd name="T19" fmla="*/ 0 h 96"/>
                <a:gd name="T20" fmla="*/ 0 w 69"/>
                <a:gd name="T21" fmla="*/ 39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96"/>
                <a:gd name="T35" fmla="*/ 69 w 69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96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17" y="80"/>
                  </a:lnTo>
                  <a:lnTo>
                    <a:pt x="34" y="96"/>
                  </a:lnTo>
                  <a:lnTo>
                    <a:pt x="52" y="80"/>
                  </a:lnTo>
                  <a:lnTo>
                    <a:pt x="69" y="32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31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927188" y="5271427"/>
              <a:ext cx="104941" cy="56903"/>
            </a:xfrm>
            <a:custGeom>
              <a:avLst/>
              <a:gdLst>
                <a:gd name="T0" fmla="*/ 0 w 71"/>
                <a:gd name="T1" fmla="*/ 3175 h 32"/>
                <a:gd name="T2" fmla="*/ 0 w 71"/>
                <a:gd name="T3" fmla="*/ 3175 h 32"/>
                <a:gd name="T4" fmla="*/ 0 w 71"/>
                <a:gd name="T5" fmla="*/ 6350 h 32"/>
                <a:gd name="T6" fmla="*/ 4025 w 71"/>
                <a:gd name="T7" fmla="*/ 6350 h 32"/>
                <a:gd name="T8" fmla="*/ 7244 w 71"/>
                <a:gd name="T9" fmla="*/ 3175 h 32"/>
                <a:gd name="T10" fmla="*/ 11269 w 71"/>
                <a:gd name="T11" fmla="*/ 3175 h 32"/>
                <a:gd name="T12" fmla="*/ 14489 w 71"/>
                <a:gd name="T13" fmla="*/ 0 h 32"/>
                <a:gd name="T14" fmla="*/ 7244 w 71"/>
                <a:gd name="T15" fmla="*/ 0 h 32"/>
                <a:gd name="T16" fmla="*/ 0 w 71"/>
                <a:gd name="T17" fmla="*/ 3175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32"/>
                <a:gd name="T29" fmla="*/ 71 w 71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32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71" y="0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32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880548" y="4844662"/>
              <a:ext cx="428509" cy="458773"/>
            </a:xfrm>
            <a:custGeom>
              <a:avLst/>
              <a:gdLst>
                <a:gd name="T0" fmla="*/ 0 w 294"/>
                <a:gd name="T1" fmla="*/ 44623 h 257"/>
                <a:gd name="T2" fmla="*/ 0 w 294"/>
                <a:gd name="T3" fmla="*/ 44623 h 257"/>
                <a:gd name="T4" fmla="*/ 0 w 294"/>
                <a:gd name="T5" fmla="*/ 47810 h 257"/>
                <a:gd name="T6" fmla="*/ 7144 w 294"/>
                <a:gd name="T7" fmla="*/ 47810 h 257"/>
                <a:gd name="T8" fmla="*/ 20638 w 294"/>
                <a:gd name="T9" fmla="*/ 42233 h 257"/>
                <a:gd name="T10" fmla="*/ 23813 w 294"/>
                <a:gd name="T11" fmla="*/ 44623 h 257"/>
                <a:gd name="T12" fmla="*/ 23813 w 294"/>
                <a:gd name="T13" fmla="*/ 47810 h 257"/>
                <a:gd name="T14" fmla="*/ 27781 w 294"/>
                <a:gd name="T15" fmla="*/ 51795 h 257"/>
                <a:gd name="T16" fmla="*/ 30956 w 294"/>
                <a:gd name="T17" fmla="*/ 44623 h 257"/>
                <a:gd name="T18" fmla="*/ 30956 w 294"/>
                <a:gd name="T19" fmla="*/ 42233 h 257"/>
                <a:gd name="T20" fmla="*/ 34131 w 294"/>
                <a:gd name="T21" fmla="*/ 44623 h 257"/>
                <a:gd name="T22" fmla="*/ 37306 w 294"/>
                <a:gd name="T23" fmla="*/ 44623 h 257"/>
                <a:gd name="T24" fmla="*/ 41275 w 294"/>
                <a:gd name="T25" fmla="*/ 42233 h 257"/>
                <a:gd name="T26" fmla="*/ 44450 w 294"/>
                <a:gd name="T27" fmla="*/ 44623 h 257"/>
                <a:gd name="T28" fmla="*/ 44450 w 294"/>
                <a:gd name="T29" fmla="*/ 42233 h 257"/>
                <a:gd name="T30" fmla="*/ 47625 w 294"/>
                <a:gd name="T31" fmla="*/ 38248 h 257"/>
                <a:gd name="T32" fmla="*/ 47625 w 294"/>
                <a:gd name="T33" fmla="*/ 42233 h 257"/>
                <a:gd name="T34" fmla="*/ 51594 w 294"/>
                <a:gd name="T35" fmla="*/ 42233 h 257"/>
                <a:gd name="T36" fmla="*/ 55563 w 294"/>
                <a:gd name="T37" fmla="*/ 38248 h 257"/>
                <a:gd name="T38" fmla="*/ 55563 w 294"/>
                <a:gd name="T39" fmla="*/ 23108 h 257"/>
                <a:gd name="T40" fmla="*/ 58738 w 294"/>
                <a:gd name="T41" fmla="*/ 23108 h 257"/>
                <a:gd name="T42" fmla="*/ 58738 w 294"/>
                <a:gd name="T43" fmla="*/ 16734 h 257"/>
                <a:gd name="T44" fmla="*/ 58738 w 294"/>
                <a:gd name="T45" fmla="*/ 3984 h 257"/>
                <a:gd name="T46" fmla="*/ 55563 w 294"/>
                <a:gd name="T47" fmla="*/ 0 h 257"/>
                <a:gd name="T48" fmla="*/ 55563 w 294"/>
                <a:gd name="T49" fmla="*/ 3984 h 257"/>
                <a:gd name="T50" fmla="*/ 51594 w 294"/>
                <a:gd name="T51" fmla="*/ 3984 h 257"/>
                <a:gd name="T52" fmla="*/ 47625 w 294"/>
                <a:gd name="T53" fmla="*/ 16734 h 257"/>
                <a:gd name="T54" fmla="*/ 41275 w 294"/>
                <a:gd name="T55" fmla="*/ 25499 h 257"/>
                <a:gd name="T56" fmla="*/ 34131 w 294"/>
                <a:gd name="T57" fmla="*/ 32670 h 257"/>
                <a:gd name="T58" fmla="*/ 34131 w 294"/>
                <a:gd name="T59" fmla="*/ 25499 h 257"/>
                <a:gd name="T60" fmla="*/ 30956 w 294"/>
                <a:gd name="T61" fmla="*/ 28686 h 257"/>
                <a:gd name="T62" fmla="*/ 27781 w 294"/>
                <a:gd name="T63" fmla="*/ 38248 h 257"/>
                <a:gd name="T64" fmla="*/ 23813 w 294"/>
                <a:gd name="T65" fmla="*/ 38248 h 257"/>
                <a:gd name="T66" fmla="*/ 10319 w 294"/>
                <a:gd name="T67" fmla="*/ 38248 h 257"/>
                <a:gd name="T68" fmla="*/ 0 w 294"/>
                <a:gd name="T69" fmla="*/ 44623 h 2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4"/>
                <a:gd name="T106" fmla="*/ 0 h 257"/>
                <a:gd name="T107" fmla="*/ 294 w 294"/>
                <a:gd name="T108" fmla="*/ 257 h 2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4" h="257">
                  <a:moveTo>
                    <a:pt x="0" y="224"/>
                  </a:moveTo>
                  <a:lnTo>
                    <a:pt x="0" y="224"/>
                  </a:lnTo>
                  <a:lnTo>
                    <a:pt x="0" y="240"/>
                  </a:lnTo>
                  <a:lnTo>
                    <a:pt x="35" y="240"/>
                  </a:lnTo>
                  <a:lnTo>
                    <a:pt x="104" y="209"/>
                  </a:lnTo>
                  <a:lnTo>
                    <a:pt x="121" y="224"/>
                  </a:lnTo>
                  <a:lnTo>
                    <a:pt x="121" y="240"/>
                  </a:lnTo>
                  <a:lnTo>
                    <a:pt x="139" y="257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73" y="224"/>
                  </a:lnTo>
                  <a:lnTo>
                    <a:pt x="190" y="224"/>
                  </a:lnTo>
                  <a:lnTo>
                    <a:pt x="208" y="209"/>
                  </a:lnTo>
                  <a:lnTo>
                    <a:pt x="225" y="224"/>
                  </a:lnTo>
                  <a:lnTo>
                    <a:pt x="225" y="209"/>
                  </a:lnTo>
                  <a:lnTo>
                    <a:pt x="242" y="192"/>
                  </a:lnTo>
                  <a:lnTo>
                    <a:pt x="242" y="209"/>
                  </a:lnTo>
                  <a:lnTo>
                    <a:pt x="260" y="209"/>
                  </a:lnTo>
                  <a:lnTo>
                    <a:pt x="277" y="192"/>
                  </a:lnTo>
                  <a:lnTo>
                    <a:pt x="277" y="113"/>
                  </a:lnTo>
                  <a:lnTo>
                    <a:pt x="294" y="113"/>
                  </a:lnTo>
                  <a:lnTo>
                    <a:pt x="294" y="81"/>
                  </a:lnTo>
                  <a:lnTo>
                    <a:pt x="294" y="17"/>
                  </a:lnTo>
                  <a:lnTo>
                    <a:pt x="277" y="0"/>
                  </a:lnTo>
                  <a:lnTo>
                    <a:pt x="277" y="17"/>
                  </a:lnTo>
                  <a:lnTo>
                    <a:pt x="260" y="17"/>
                  </a:lnTo>
                  <a:lnTo>
                    <a:pt x="242" y="81"/>
                  </a:lnTo>
                  <a:lnTo>
                    <a:pt x="208" y="128"/>
                  </a:lnTo>
                  <a:lnTo>
                    <a:pt x="173" y="161"/>
                  </a:lnTo>
                  <a:lnTo>
                    <a:pt x="173" y="128"/>
                  </a:lnTo>
                  <a:lnTo>
                    <a:pt x="156" y="144"/>
                  </a:lnTo>
                  <a:lnTo>
                    <a:pt x="139" y="192"/>
                  </a:lnTo>
                  <a:lnTo>
                    <a:pt x="121" y="192"/>
                  </a:lnTo>
                  <a:lnTo>
                    <a:pt x="52" y="192"/>
                  </a:lnTo>
                  <a:lnTo>
                    <a:pt x="0" y="224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36" name="Freeform 165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603914" y="4048035"/>
              <a:ext cx="2428214" cy="1906214"/>
            </a:xfrm>
            <a:custGeom>
              <a:avLst/>
              <a:gdLst>
                <a:gd name="T0" fmla="*/ 76292 w 1664"/>
                <a:gd name="T1" fmla="*/ 34958 h 1071"/>
                <a:gd name="T2" fmla="*/ 92980 w 1664"/>
                <a:gd name="T3" fmla="*/ 50847 h 1071"/>
                <a:gd name="T4" fmla="*/ 123974 w 1664"/>
                <a:gd name="T5" fmla="*/ 79449 h 1071"/>
                <a:gd name="T6" fmla="*/ 169272 w 1664"/>
                <a:gd name="T7" fmla="*/ 88983 h 1071"/>
                <a:gd name="T8" fmla="*/ 207418 w 1664"/>
                <a:gd name="T9" fmla="*/ 73093 h 1071"/>
                <a:gd name="T10" fmla="*/ 217749 w 1664"/>
                <a:gd name="T11" fmla="*/ 66737 h 1071"/>
                <a:gd name="T12" fmla="*/ 247948 w 1664"/>
                <a:gd name="T13" fmla="*/ 54025 h 1071"/>
                <a:gd name="T14" fmla="*/ 234438 w 1664"/>
                <a:gd name="T15" fmla="*/ 47669 h 1071"/>
                <a:gd name="T16" fmla="*/ 231259 w 1664"/>
                <a:gd name="T17" fmla="*/ 28602 h 1071"/>
                <a:gd name="T18" fmla="*/ 251921 w 1664"/>
                <a:gd name="T19" fmla="*/ 15890 h 1071"/>
                <a:gd name="T20" fmla="*/ 251921 w 1664"/>
                <a:gd name="T21" fmla="*/ 9534 h 1071"/>
                <a:gd name="T22" fmla="*/ 278941 w 1664"/>
                <a:gd name="T23" fmla="*/ 3178 h 1071"/>
                <a:gd name="T24" fmla="*/ 299604 w 1664"/>
                <a:gd name="T25" fmla="*/ 31780 h 1071"/>
                <a:gd name="T26" fmla="*/ 317087 w 1664"/>
                <a:gd name="T27" fmla="*/ 44491 h 1071"/>
                <a:gd name="T28" fmla="*/ 321061 w 1664"/>
                <a:gd name="T29" fmla="*/ 66737 h 1071"/>
                <a:gd name="T30" fmla="*/ 313908 w 1664"/>
                <a:gd name="T31" fmla="*/ 76271 h 1071"/>
                <a:gd name="T32" fmla="*/ 299604 w 1664"/>
                <a:gd name="T33" fmla="*/ 85805 h 1071"/>
                <a:gd name="T34" fmla="*/ 289272 w 1664"/>
                <a:gd name="T35" fmla="*/ 88983 h 1071"/>
                <a:gd name="T36" fmla="*/ 268610 w 1664"/>
                <a:gd name="T37" fmla="*/ 101695 h 1071"/>
                <a:gd name="T38" fmla="*/ 258279 w 1664"/>
                <a:gd name="T39" fmla="*/ 101695 h 1071"/>
                <a:gd name="T40" fmla="*/ 247948 w 1664"/>
                <a:gd name="T41" fmla="*/ 101695 h 1071"/>
                <a:gd name="T42" fmla="*/ 238411 w 1664"/>
                <a:gd name="T43" fmla="*/ 108051 h 1071"/>
                <a:gd name="T44" fmla="*/ 265431 w 1664"/>
                <a:gd name="T45" fmla="*/ 117585 h 1071"/>
                <a:gd name="T46" fmla="*/ 255100 w 1664"/>
                <a:gd name="T47" fmla="*/ 120763 h 1071"/>
                <a:gd name="T48" fmla="*/ 255100 w 1664"/>
                <a:gd name="T49" fmla="*/ 146186 h 1071"/>
                <a:gd name="T50" fmla="*/ 262252 w 1664"/>
                <a:gd name="T51" fmla="*/ 155720 h 1071"/>
                <a:gd name="T52" fmla="*/ 258279 w 1664"/>
                <a:gd name="T53" fmla="*/ 171610 h 1071"/>
                <a:gd name="T54" fmla="*/ 247948 w 1664"/>
                <a:gd name="T55" fmla="*/ 184322 h 1071"/>
                <a:gd name="T56" fmla="*/ 241590 w 1664"/>
                <a:gd name="T57" fmla="*/ 193856 h 1071"/>
                <a:gd name="T58" fmla="*/ 220928 w 1664"/>
                <a:gd name="T59" fmla="*/ 203390 h 1071"/>
                <a:gd name="T60" fmla="*/ 213775 w 1664"/>
                <a:gd name="T61" fmla="*/ 203390 h 1071"/>
                <a:gd name="T62" fmla="*/ 197087 w 1664"/>
                <a:gd name="T63" fmla="*/ 206568 h 1071"/>
                <a:gd name="T64" fmla="*/ 179603 w 1664"/>
                <a:gd name="T65" fmla="*/ 206568 h 1071"/>
                <a:gd name="T66" fmla="*/ 158146 w 1664"/>
                <a:gd name="T67" fmla="*/ 203390 h 1071"/>
                <a:gd name="T68" fmla="*/ 151789 w 1664"/>
                <a:gd name="T69" fmla="*/ 203390 h 1071"/>
                <a:gd name="T70" fmla="*/ 148610 w 1664"/>
                <a:gd name="T71" fmla="*/ 206568 h 1071"/>
                <a:gd name="T72" fmla="*/ 138279 w 1664"/>
                <a:gd name="T73" fmla="*/ 200212 h 1071"/>
                <a:gd name="T74" fmla="*/ 131126 w 1664"/>
                <a:gd name="T75" fmla="*/ 193856 h 1071"/>
                <a:gd name="T76" fmla="*/ 127947 w 1664"/>
                <a:gd name="T77" fmla="*/ 171610 h 1071"/>
                <a:gd name="T78" fmla="*/ 96954 w 1664"/>
                <a:gd name="T79" fmla="*/ 171610 h 1071"/>
                <a:gd name="T80" fmla="*/ 79470 w 1664"/>
                <a:gd name="T81" fmla="*/ 171610 h 1071"/>
                <a:gd name="T82" fmla="*/ 58808 w 1664"/>
                <a:gd name="T83" fmla="*/ 168432 h 1071"/>
                <a:gd name="T84" fmla="*/ 44503 w 1664"/>
                <a:gd name="T85" fmla="*/ 158898 h 1071"/>
                <a:gd name="T86" fmla="*/ 24636 w 1664"/>
                <a:gd name="T87" fmla="*/ 146186 h 1071"/>
                <a:gd name="T88" fmla="*/ 34172 w 1664"/>
                <a:gd name="T89" fmla="*/ 133474 h 1071"/>
                <a:gd name="T90" fmla="*/ 20662 w 1664"/>
                <a:gd name="T91" fmla="*/ 127119 h 1071"/>
                <a:gd name="T92" fmla="*/ 3974 w 1664"/>
                <a:gd name="T93" fmla="*/ 117585 h 1071"/>
                <a:gd name="T94" fmla="*/ 0 w 1664"/>
                <a:gd name="T95" fmla="*/ 108051 h 1071"/>
                <a:gd name="T96" fmla="*/ 14305 w 1664"/>
                <a:gd name="T97" fmla="*/ 95339 h 1071"/>
                <a:gd name="T98" fmla="*/ 34172 w 1664"/>
                <a:gd name="T99" fmla="*/ 85805 h 1071"/>
                <a:gd name="T100" fmla="*/ 34172 w 1664"/>
                <a:gd name="T101" fmla="*/ 63559 h 1071"/>
                <a:gd name="T102" fmla="*/ 58808 w 1664"/>
                <a:gd name="T103" fmla="*/ 50847 h 1071"/>
                <a:gd name="T104" fmla="*/ 69139 w 1664"/>
                <a:gd name="T105" fmla="*/ 38136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4"/>
                <a:gd name="T160" fmla="*/ 0 h 1071"/>
                <a:gd name="T161" fmla="*/ 1664 w 1664"/>
                <a:gd name="T162" fmla="*/ 1071 h 1071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306 w 10000"/>
                <a:gd name="connsiteY139" fmla="*/ 5677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15 w 10000"/>
                <a:gd name="connsiteY138" fmla="*/ 5817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936 w 10000"/>
                <a:gd name="connsiteY138" fmla="*/ 5821 h 10000"/>
                <a:gd name="connsiteX139" fmla="*/ 444 w 10000"/>
                <a:gd name="connsiteY139" fmla="*/ 5373 h 10000"/>
                <a:gd name="connsiteX140" fmla="*/ 102 w 10000"/>
                <a:gd name="connsiteY140" fmla="*/ 5518 h 10000"/>
                <a:gd name="connsiteX141" fmla="*/ 216 w 10000"/>
                <a:gd name="connsiteY141" fmla="*/ 5243 h 10000"/>
                <a:gd name="connsiteX142" fmla="*/ 204 w 10000"/>
                <a:gd name="connsiteY142" fmla="*/ 5070 h 10000"/>
                <a:gd name="connsiteX143" fmla="*/ 0 w 10000"/>
                <a:gd name="connsiteY143" fmla="*/ 5070 h 10000"/>
                <a:gd name="connsiteX144" fmla="*/ 0 w 10000"/>
                <a:gd name="connsiteY144" fmla="*/ 4622 h 10000"/>
                <a:gd name="connsiteX145" fmla="*/ 204 w 10000"/>
                <a:gd name="connsiteY145" fmla="*/ 4482 h 10000"/>
                <a:gd name="connsiteX146" fmla="*/ 415 w 10000"/>
                <a:gd name="connsiteY146" fmla="*/ 4482 h 10000"/>
                <a:gd name="connsiteX147" fmla="*/ 517 w 10000"/>
                <a:gd name="connsiteY147" fmla="*/ 4332 h 10000"/>
                <a:gd name="connsiteX148" fmla="*/ 727 w 10000"/>
                <a:gd name="connsiteY148" fmla="*/ 4332 h 10000"/>
                <a:gd name="connsiteX149" fmla="*/ 1034 w 10000"/>
                <a:gd name="connsiteY149" fmla="*/ 4034 h 10000"/>
                <a:gd name="connsiteX150" fmla="*/ 1142 w 10000"/>
                <a:gd name="connsiteY150" fmla="*/ 3725 h 10000"/>
                <a:gd name="connsiteX151" fmla="*/ 1034 w 10000"/>
                <a:gd name="connsiteY151" fmla="*/ 3137 h 10000"/>
                <a:gd name="connsiteX152" fmla="*/ 1034 w 10000"/>
                <a:gd name="connsiteY152" fmla="*/ 2988 h 10000"/>
                <a:gd name="connsiteX153" fmla="*/ 1346 w 10000"/>
                <a:gd name="connsiteY153" fmla="*/ 2988 h 10000"/>
                <a:gd name="connsiteX154" fmla="*/ 1454 w 10000"/>
                <a:gd name="connsiteY154" fmla="*/ 2381 h 10000"/>
                <a:gd name="connsiteX155" fmla="*/ 1773 w 10000"/>
                <a:gd name="connsiteY155" fmla="*/ 2381 h 10000"/>
                <a:gd name="connsiteX156" fmla="*/ 1881 w 10000"/>
                <a:gd name="connsiteY156" fmla="*/ 2381 h 10000"/>
                <a:gd name="connsiteX157" fmla="*/ 1983 w 10000"/>
                <a:gd name="connsiteY157" fmla="*/ 1933 h 10000"/>
                <a:gd name="connsiteX158" fmla="*/ 2085 w 10000"/>
                <a:gd name="connsiteY158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19 w 10000"/>
                <a:gd name="connsiteY137" fmla="*/ 5966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444 w 10000"/>
                <a:gd name="connsiteY138" fmla="*/ 5373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  <a:gd name="connsiteX0" fmla="*/ 2085 w 10000"/>
                <a:gd name="connsiteY0" fmla="*/ 1793 h 10000"/>
                <a:gd name="connsiteX1" fmla="*/ 2085 w 10000"/>
                <a:gd name="connsiteY1" fmla="*/ 1793 h 10000"/>
                <a:gd name="connsiteX2" fmla="*/ 2296 w 10000"/>
                <a:gd name="connsiteY2" fmla="*/ 1643 h 10000"/>
                <a:gd name="connsiteX3" fmla="*/ 2500 w 10000"/>
                <a:gd name="connsiteY3" fmla="*/ 2092 h 10000"/>
                <a:gd name="connsiteX4" fmla="*/ 2710 w 10000"/>
                <a:gd name="connsiteY4" fmla="*/ 2092 h 10000"/>
                <a:gd name="connsiteX5" fmla="*/ 2813 w 10000"/>
                <a:gd name="connsiteY5" fmla="*/ 2381 h 10000"/>
                <a:gd name="connsiteX6" fmla="*/ 2813 w 10000"/>
                <a:gd name="connsiteY6" fmla="*/ 2988 h 10000"/>
                <a:gd name="connsiteX7" fmla="*/ 3438 w 10000"/>
                <a:gd name="connsiteY7" fmla="*/ 3277 h 10000"/>
                <a:gd name="connsiteX8" fmla="*/ 3750 w 10000"/>
                <a:gd name="connsiteY8" fmla="*/ 3725 h 10000"/>
                <a:gd name="connsiteX9" fmla="*/ 4369 w 10000"/>
                <a:gd name="connsiteY9" fmla="*/ 3725 h 10000"/>
                <a:gd name="connsiteX10" fmla="*/ 4681 w 10000"/>
                <a:gd name="connsiteY10" fmla="*/ 4034 h 10000"/>
                <a:gd name="connsiteX11" fmla="*/ 5096 w 10000"/>
                <a:gd name="connsiteY11" fmla="*/ 4174 h 10000"/>
                <a:gd name="connsiteX12" fmla="*/ 5523 w 10000"/>
                <a:gd name="connsiteY12" fmla="*/ 3884 h 10000"/>
                <a:gd name="connsiteX13" fmla="*/ 5938 w 10000"/>
                <a:gd name="connsiteY13" fmla="*/ 3884 h 10000"/>
                <a:gd name="connsiteX14" fmla="*/ 6250 w 10000"/>
                <a:gd name="connsiteY14" fmla="*/ 3436 h 10000"/>
                <a:gd name="connsiteX15" fmla="*/ 6148 w 10000"/>
                <a:gd name="connsiteY15" fmla="*/ 3277 h 10000"/>
                <a:gd name="connsiteX16" fmla="*/ 6352 w 10000"/>
                <a:gd name="connsiteY16" fmla="*/ 2988 h 10000"/>
                <a:gd name="connsiteX17" fmla="*/ 6563 w 10000"/>
                <a:gd name="connsiteY17" fmla="*/ 3137 h 10000"/>
                <a:gd name="connsiteX18" fmla="*/ 6875 w 10000"/>
                <a:gd name="connsiteY18" fmla="*/ 2829 h 10000"/>
                <a:gd name="connsiteX19" fmla="*/ 7079 w 10000"/>
                <a:gd name="connsiteY19" fmla="*/ 2540 h 10000"/>
                <a:gd name="connsiteX20" fmla="*/ 7494 w 10000"/>
                <a:gd name="connsiteY20" fmla="*/ 2540 h 10000"/>
                <a:gd name="connsiteX21" fmla="*/ 7392 w 10000"/>
                <a:gd name="connsiteY21" fmla="*/ 2241 h 10000"/>
                <a:gd name="connsiteX22" fmla="*/ 7290 w 10000"/>
                <a:gd name="connsiteY22" fmla="*/ 2092 h 10000"/>
                <a:gd name="connsiteX23" fmla="*/ 7079 w 10000"/>
                <a:gd name="connsiteY23" fmla="*/ 2241 h 10000"/>
                <a:gd name="connsiteX24" fmla="*/ 6875 w 10000"/>
                <a:gd name="connsiteY24" fmla="*/ 2241 h 10000"/>
                <a:gd name="connsiteX25" fmla="*/ 6875 w 10000"/>
                <a:gd name="connsiteY25" fmla="*/ 1643 h 10000"/>
                <a:gd name="connsiteX26" fmla="*/ 6977 w 10000"/>
                <a:gd name="connsiteY26" fmla="*/ 1345 h 10000"/>
                <a:gd name="connsiteX27" fmla="*/ 7188 w 10000"/>
                <a:gd name="connsiteY27" fmla="*/ 1485 h 10000"/>
                <a:gd name="connsiteX28" fmla="*/ 7494 w 10000"/>
                <a:gd name="connsiteY28" fmla="*/ 1345 h 10000"/>
                <a:gd name="connsiteX29" fmla="*/ 7602 w 10000"/>
                <a:gd name="connsiteY29" fmla="*/ 747 h 10000"/>
                <a:gd name="connsiteX30" fmla="*/ 7704 w 10000"/>
                <a:gd name="connsiteY30" fmla="*/ 588 h 10000"/>
                <a:gd name="connsiteX31" fmla="*/ 7704 w 10000"/>
                <a:gd name="connsiteY31" fmla="*/ 448 h 10000"/>
                <a:gd name="connsiteX32" fmla="*/ 7602 w 10000"/>
                <a:gd name="connsiteY32" fmla="*/ 448 h 10000"/>
                <a:gd name="connsiteX33" fmla="*/ 7704 w 10000"/>
                <a:gd name="connsiteY33" fmla="*/ 140 h 10000"/>
                <a:gd name="connsiteX34" fmla="*/ 8119 w 10000"/>
                <a:gd name="connsiteY34" fmla="*/ 0 h 10000"/>
                <a:gd name="connsiteX35" fmla="*/ 8431 w 10000"/>
                <a:gd name="connsiteY35" fmla="*/ 140 h 10000"/>
                <a:gd name="connsiteX36" fmla="*/ 8642 w 10000"/>
                <a:gd name="connsiteY36" fmla="*/ 448 h 10000"/>
                <a:gd name="connsiteX37" fmla="*/ 8846 w 10000"/>
                <a:gd name="connsiteY37" fmla="*/ 1485 h 10000"/>
                <a:gd name="connsiteX38" fmla="*/ 9056 w 10000"/>
                <a:gd name="connsiteY38" fmla="*/ 1485 h 10000"/>
                <a:gd name="connsiteX39" fmla="*/ 9363 w 10000"/>
                <a:gd name="connsiteY39" fmla="*/ 1793 h 10000"/>
                <a:gd name="connsiteX40" fmla="*/ 9363 w 10000"/>
                <a:gd name="connsiteY40" fmla="*/ 2092 h 10000"/>
                <a:gd name="connsiteX41" fmla="*/ 9585 w 10000"/>
                <a:gd name="connsiteY41" fmla="*/ 2092 h 10000"/>
                <a:gd name="connsiteX42" fmla="*/ 10000 w 10000"/>
                <a:gd name="connsiteY42" fmla="*/ 1933 h 10000"/>
                <a:gd name="connsiteX43" fmla="*/ 10000 w 10000"/>
                <a:gd name="connsiteY43" fmla="*/ 2241 h 10000"/>
                <a:gd name="connsiteX44" fmla="*/ 9688 w 10000"/>
                <a:gd name="connsiteY44" fmla="*/ 3137 h 10000"/>
                <a:gd name="connsiteX45" fmla="*/ 9585 w 10000"/>
                <a:gd name="connsiteY45" fmla="*/ 2988 h 10000"/>
                <a:gd name="connsiteX46" fmla="*/ 9363 w 10000"/>
                <a:gd name="connsiteY46" fmla="*/ 3137 h 10000"/>
                <a:gd name="connsiteX47" fmla="*/ 9483 w 10000"/>
                <a:gd name="connsiteY47" fmla="*/ 3585 h 10000"/>
                <a:gd name="connsiteX48" fmla="*/ 9363 w 10000"/>
                <a:gd name="connsiteY48" fmla="*/ 3884 h 10000"/>
                <a:gd name="connsiteX49" fmla="*/ 9261 w 10000"/>
                <a:gd name="connsiteY49" fmla="*/ 3884 h 10000"/>
                <a:gd name="connsiteX50" fmla="*/ 9056 w 10000"/>
                <a:gd name="connsiteY50" fmla="*/ 4034 h 10000"/>
                <a:gd name="connsiteX51" fmla="*/ 8948 w 10000"/>
                <a:gd name="connsiteY51" fmla="*/ 4034 h 10000"/>
                <a:gd name="connsiteX52" fmla="*/ 8846 w 10000"/>
                <a:gd name="connsiteY52" fmla="*/ 4174 h 10000"/>
                <a:gd name="connsiteX53" fmla="*/ 8744 w 10000"/>
                <a:gd name="connsiteY53" fmla="*/ 4174 h 10000"/>
                <a:gd name="connsiteX54" fmla="*/ 8329 w 10000"/>
                <a:gd name="connsiteY54" fmla="*/ 4622 h 10000"/>
                <a:gd name="connsiteX55" fmla="*/ 8329 w 10000"/>
                <a:gd name="connsiteY55" fmla="*/ 4781 h 10000"/>
                <a:gd name="connsiteX56" fmla="*/ 8119 w 10000"/>
                <a:gd name="connsiteY56" fmla="*/ 4781 h 10000"/>
                <a:gd name="connsiteX57" fmla="*/ 7806 w 10000"/>
                <a:gd name="connsiteY57" fmla="*/ 5070 h 10000"/>
                <a:gd name="connsiteX58" fmla="*/ 7806 w 10000"/>
                <a:gd name="connsiteY58" fmla="*/ 4930 h 10000"/>
                <a:gd name="connsiteX59" fmla="*/ 7806 w 10000"/>
                <a:gd name="connsiteY59" fmla="*/ 4781 h 10000"/>
                <a:gd name="connsiteX60" fmla="*/ 7915 w 10000"/>
                <a:gd name="connsiteY60" fmla="*/ 4482 h 10000"/>
                <a:gd name="connsiteX61" fmla="*/ 7806 w 10000"/>
                <a:gd name="connsiteY61" fmla="*/ 4332 h 10000"/>
                <a:gd name="connsiteX62" fmla="*/ 7494 w 10000"/>
                <a:gd name="connsiteY62" fmla="*/ 4781 h 10000"/>
                <a:gd name="connsiteX63" fmla="*/ 7392 w 10000"/>
                <a:gd name="connsiteY63" fmla="*/ 4930 h 10000"/>
                <a:gd name="connsiteX64" fmla="*/ 7290 w 10000"/>
                <a:gd name="connsiteY64" fmla="*/ 4930 h 10000"/>
                <a:gd name="connsiteX65" fmla="*/ 7188 w 10000"/>
                <a:gd name="connsiteY65" fmla="*/ 5070 h 10000"/>
                <a:gd name="connsiteX66" fmla="*/ 7494 w 10000"/>
                <a:gd name="connsiteY66" fmla="*/ 5518 h 10000"/>
                <a:gd name="connsiteX67" fmla="*/ 7704 w 10000"/>
                <a:gd name="connsiteY67" fmla="*/ 5369 h 10000"/>
                <a:gd name="connsiteX68" fmla="*/ 8017 w 10000"/>
                <a:gd name="connsiteY68" fmla="*/ 5518 h 10000"/>
                <a:gd name="connsiteX69" fmla="*/ 8017 w 10000"/>
                <a:gd name="connsiteY69" fmla="*/ 5677 h 10000"/>
                <a:gd name="connsiteX70" fmla="*/ 7915 w 10000"/>
                <a:gd name="connsiteY70" fmla="*/ 5518 h 10000"/>
                <a:gd name="connsiteX71" fmla="*/ 7704 w 10000"/>
                <a:gd name="connsiteY71" fmla="*/ 5677 h 10000"/>
                <a:gd name="connsiteX72" fmla="*/ 7494 w 10000"/>
                <a:gd name="connsiteY72" fmla="*/ 6125 h 10000"/>
                <a:gd name="connsiteX73" fmla="*/ 7602 w 10000"/>
                <a:gd name="connsiteY73" fmla="*/ 6265 h 10000"/>
                <a:gd name="connsiteX74" fmla="*/ 7704 w 10000"/>
                <a:gd name="connsiteY74" fmla="*/ 6863 h 10000"/>
                <a:gd name="connsiteX75" fmla="*/ 7915 w 10000"/>
                <a:gd name="connsiteY75" fmla="*/ 7021 h 10000"/>
                <a:gd name="connsiteX76" fmla="*/ 7806 w 10000"/>
                <a:gd name="connsiteY76" fmla="*/ 7021 h 10000"/>
                <a:gd name="connsiteX77" fmla="*/ 7915 w 10000"/>
                <a:gd name="connsiteY77" fmla="*/ 7311 h 10000"/>
                <a:gd name="connsiteX78" fmla="*/ 7602 w 10000"/>
                <a:gd name="connsiteY78" fmla="*/ 7470 h 10000"/>
                <a:gd name="connsiteX79" fmla="*/ 7915 w 10000"/>
                <a:gd name="connsiteY79" fmla="*/ 7470 h 10000"/>
                <a:gd name="connsiteX80" fmla="*/ 7806 w 10000"/>
                <a:gd name="connsiteY80" fmla="*/ 8058 h 10000"/>
                <a:gd name="connsiteX81" fmla="*/ 7602 w 10000"/>
                <a:gd name="connsiteY81" fmla="*/ 8366 h 10000"/>
                <a:gd name="connsiteX82" fmla="*/ 7494 w 10000"/>
                <a:gd name="connsiteY82" fmla="*/ 8366 h 10000"/>
                <a:gd name="connsiteX83" fmla="*/ 7494 w 10000"/>
                <a:gd name="connsiteY83" fmla="*/ 8655 h 10000"/>
                <a:gd name="connsiteX84" fmla="*/ 7392 w 10000"/>
                <a:gd name="connsiteY84" fmla="*/ 8954 h 10000"/>
                <a:gd name="connsiteX85" fmla="*/ 7290 w 10000"/>
                <a:gd name="connsiteY85" fmla="*/ 8954 h 10000"/>
                <a:gd name="connsiteX86" fmla="*/ 7290 w 10000"/>
                <a:gd name="connsiteY86" fmla="*/ 9104 h 10000"/>
                <a:gd name="connsiteX87" fmla="*/ 6977 w 10000"/>
                <a:gd name="connsiteY87" fmla="*/ 9402 h 10000"/>
                <a:gd name="connsiteX88" fmla="*/ 6665 w 10000"/>
                <a:gd name="connsiteY88" fmla="*/ 9402 h 10000"/>
                <a:gd name="connsiteX89" fmla="*/ 6665 w 10000"/>
                <a:gd name="connsiteY89" fmla="*/ 9552 h 10000"/>
                <a:gd name="connsiteX90" fmla="*/ 6563 w 10000"/>
                <a:gd name="connsiteY90" fmla="*/ 9402 h 10000"/>
                <a:gd name="connsiteX91" fmla="*/ 6563 w 10000"/>
                <a:gd name="connsiteY91" fmla="*/ 9552 h 10000"/>
                <a:gd name="connsiteX92" fmla="*/ 6460 w 10000"/>
                <a:gd name="connsiteY92" fmla="*/ 9552 h 10000"/>
                <a:gd name="connsiteX93" fmla="*/ 6046 w 10000"/>
                <a:gd name="connsiteY93" fmla="*/ 9851 h 10000"/>
                <a:gd name="connsiteX94" fmla="*/ 5938 w 10000"/>
                <a:gd name="connsiteY94" fmla="*/ 10000 h 10000"/>
                <a:gd name="connsiteX95" fmla="*/ 5938 w 10000"/>
                <a:gd name="connsiteY95" fmla="*/ 9711 h 10000"/>
                <a:gd name="connsiteX96" fmla="*/ 5733 w 10000"/>
                <a:gd name="connsiteY96" fmla="*/ 9711 h 10000"/>
                <a:gd name="connsiteX97" fmla="*/ 5625 w 10000"/>
                <a:gd name="connsiteY97" fmla="*/ 9711 h 10000"/>
                <a:gd name="connsiteX98" fmla="*/ 5409 w 10000"/>
                <a:gd name="connsiteY98" fmla="*/ 9711 h 10000"/>
                <a:gd name="connsiteX99" fmla="*/ 5409 w 10000"/>
                <a:gd name="connsiteY99" fmla="*/ 9402 h 10000"/>
                <a:gd name="connsiteX100" fmla="*/ 5198 w 10000"/>
                <a:gd name="connsiteY100" fmla="*/ 9402 h 10000"/>
                <a:gd name="connsiteX101" fmla="*/ 4784 w 10000"/>
                <a:gd name="connsiteY101" fmla="*/ 9552 h 10000"/>
                <a:gd name="connsiteX102" fmla="*/ 4681 w 10000"/>
                <a:gd name="connsiteY102" fmla="*/ 9402 h 10000"/>
                <a:gd name="connsiteX103" fmla="*/ 4681 w 10000"/>
                <a:gd name="connsiteY103" fmla="*/ 9552 h 10000"/>
                <a:gd name="connsiteX104" fmla="*/ 4579 w 10000"/>
                <a:gd name="connsiteY104" fmla="*/ 9552 h 10000"/>
                <a:gd name="connsiteX105" fmla="*/ 4579 w 10000"/>
                <a:gd name="connsiteY105" fmla="*/ 9851 h 10000"/>
                <a:gd name="connsiteX106" fmla="*/ 4477 w 10000"/>
                <a:gd name="connsiteY106" fmla="*/ 9851 h 10000"/>
                <a:gd name="connsiteX107" fmla="*/ 4477 w 10000"/>
                <a:gd name="connsiteY107" fmla="*/ 9711 h 10000"/>
                <a:gd name="connsiteX108" fmla="*/ 4369 w 10000"/>
                <a:gd name="connsiteY108" fmla="*/ 9711 h 10000"/>
                <a:gd name="connsiteX109" fmla="*/ 4165 w 10000"/>
                <a:gd name="connsiteY109" fmla="*/ 9552 h 10000"/>
                <a:gd name="connsiteX110" fmla="*/ 4165 w 10000"/>
                <a:gd name="connsiteY110" fmla="*/ 9402 h 10000"/>
                <a:gd name="connsiteX111" fmla="*/ 4165 w 10000"/>
                <a:gd name="connsiteY111" fmla="*/ 9262 h 10000"/>
                <a:gd name="connsiteX112" fmla="*/ 4056 w 10000"/>
                <a:gd name="connsiteY112" fmla="*/ 9104 h 10000"/>
                <a:gd name="connsiteX113" fmla="*/ 3954 w 10000"/>
                <a:gd name="connsiteY113" fmla="*/ 9104 h 10000"/>
                <a:gd name="connsiteX114" fmla="*/ 4056 w 10000"/>
                <a:gd name="connsiteY114" fmla="*/ 8366 h 10000"/>
                <a:gd name="connsiteX115" fmla="*/ 3954 w 10000"/>
                <a:gd name="connsiteY115" fmla="*/ 8058 h 10000"/>
                <a:gd name="connsiteX116" fmla="*/ 3852 w 10000"/>
                <a:gd name="connsiteY116" fmla="*/ 8058 h 10000"/>
                <a:gd name="connsiteX117" fmla="*/ 3642 w 10000"/>
                <a:gd name="connsiteY117" fmla="*/ 7759 h 10000"/>
                <a:gd name="connsiteX118" fmla="*/ 3438 w 10000"/>
                <a:gd name="connsiteY118" fmla="*/ 7759 h 10000"/>
                <a:gd name="connsiteX119" fmla="*/ 2915 w 10000"/>
                <a:gd name="connsiteY119" fmla="*/ 8058 h 10000"/>
                <a:gd name="connsiteX120" fmla="*/ 2608 w 10000"/>
                <a:gd name="connsiteY120" fmla="*/ 8058 h 10000"/>
                <a:gd name="connsiteX121" fmla="*/ 2500 w 10000"/>
                <a:gd name="connsiteY121" fmla="*/ 8207 h 10000"/>
                <a:gd name="connsiteX122" fmla="*/ 2398 w 10000"/>
                <a:gd name="connsiteY122" fmla="*/ 8058 h 10000"/>
                <a:gd name="connsiteX123" fmla="*/ 2296 w 10000"/>
                <a:gd name="connsiteY123" fmla="*/ 8058 h 10000"/>
                <a:gd name="connsiteX124" fmla="*/ 1983 w 10000"/>
                <a:gd name="connsiteY124" fmla="*/ 8058 h 10000"/>
                <a:gd name="connsiteX125" fmla="*/ 1773 w 10000"/>
                <a:gd name="connsiteY125" fmla="*/ 7918 h 10000"/>
                <a:gd name="connsiteX126" fmla="*/ 1671 w 10000"/>
                <a:gd name="connsiteY126" fmla="*/ 7759 h 10000"/>
                <a:gd name="connsiteX127" fmla="*/ 1556 w 10000"/>
                <a:gd name="connsiteY127" fmla="*/ 7759 h 10000"/>
                <a:gd name="connsiteX128" fmla="*/ 1346 w 10000"/>
                <a:gd name="connsiteY128" fmla="*/ 7470 h 10000"/>
                <a:gd name="connsiteX129" fmla="*/ 1142 w 10000"/>
                <a:gd name="connsiteY129" fmla="*/ 7470 h 10000"/>
                <a:gd name="connsiteX130" fmla="*/ 829 w 10000"/>
                <a:gd name="connsiteY130" fmla="*/ 7311 h 10000"/>
                <a:gd name="connsiteX131" fmla="*/ 727 w 10000"/>
                <a:gd name="connsiteY131" fmla="*/ 6863 h 10000"/>
                <a:gd name="connsiteX132" fmla="*/ 931 w 10000"/>
                <a:gd name="connsiteY132" fmla="*/ 6863 h 10000"/>
                <a:gd name="connsiteX133" fmla="*/ 829 w 10000"/>
                <a:gd name="connsiteY133" fmla="*/ 6573 h 10000"/>
                <a:gd name="connsiteX134" fmla="*/ 1034 w 10000"/>
                <a:gd name="connsiteY134" fmla="*/ 6265 h 10000"/>
                <a:gd name="connsiteX135" fmla="*/ 1034 w 10000"/>
                <a:gd name="connsiteY135" fmla="*/ 5966 h 10000"/>
                <a:gd name="connsiteX136" fmla="*/ 931 w 10000"/>
                <a:gd name="connsiteY136" fmla="*/ 5817 h 10000"/>
                <a:gd name="connsiteX137" fmla="*/ 673 w 10000"/>
                <a:gd name="connsiteY137" fmla="*/ 5821 h 10000"/>
                <a:gd name="connsiteX138" fmla="*/ 302 w 10000"/>
                <a:gd name="connsiteY138" fmla="*/ 5541 h 10000"/>
                <a:gd name="connsiteX139" fmla="*/ 102 w 10000"/>
                <a:gd name="connsiteY139" fmla="*/ 5518 h 10000"/>
                <a:gd name="connsiteX140" fmla="*/ 216 w 10000"/>
                <a:gd name="connsiteY140" fmla="*/ 5243 h 10000"/>
                <a:gd name="connsiteX141" fmla="*/ 204 w 10000"/>
                <a:gd name="connsiteY141" fmla="*/ 5070 h 10000"/>
                <a:gd name="connsiteX142" fmla="*/ 0 w 10000"/>
                <a:gd name="connsiteY142" fmla="*/ 5070 h 10000"/>
                <a:gd name="connsiteX143" fmla="*/ 0 w 10000"/>
                <a:gd name="connsiteY143" fmla="*/ 4622 h 10000"/>
                <a:gd name="connsiteX144" fmla="*/ 204 w 10000"/>
                <a:gd name="connsiteY144" fmla="*/ 4482 h 10000"/>
                <a:gd name="connsiteX145" fmla="*/ 415 w 10000"/>
                <a:gd name="connsiteY145" fmla="*/ 4482 h 10000"/>
                <a:gd name="connsiteX146" fmla="*/ 517 w 10000"/>
                <a:gd name="connsiteY146" fmla="*/ 4332 h 10000"/>
                <a:gd name="connsiteX147" fmla="*/ 727 w 10000"/>
                <a:gd name="connsiteY147" fmla="*/ 4332 h 10000"/>
                <a:gd name="connsiteX148" fmla="*/ 1034 w 10000"/>
                <a:gd name="connsiteY148" fmla="*/ 4034 h 10000"/>
                <a:gd name="connsiteX149" fmla="*/ 1142 w 10000"/>
                <a:gd name="connsiteY149" fmla="*/ 3725 h 10000"/>
                <a:gd name="connsiteX150" fmla="*/ 1034 w 10000"/>
                <a:gd name="connsiteY150" fmla="*/ 3137 h 10000"/>
                <a:gd name="connsiteX151" fmla="*/ 1034 w 10000"/>
                <a:gd name="connsiteY151" fmla="*/ 2988 h 10000"/>
                <a:gd name="connsiteX152" fmla="*/ 1346 w 10000"/>
                <a:gd name="connsiteY152" fmla="*/ 2988 h 10000"/>
                <a:gd name="connsiteX153" fmla="*/ 1454 w 10000"/>
                <a:gd name="connsiteY153" fmla="*/ 2381 h 10000"/>
                <a:gd name="connsiteX154" fmla="*/ 1773 w 10000"/>
                <a:gd name="connsiteY154" fmla="*/ 2381 h 10000"/>
                <a:gd name="connsiteX155" fmla="*/ 1881 w 10000"/>
                <a:gd name="connsiteY155" fmla="*/ 2381 h 10000"/>
                <a:gd name="connsiteX156" fmla="*/ 1983 w 10000"/>
                <a:gd name="connsiteY156" fmla="*/ 1933 h 10000"/>
                <a:gd name="connsiteX157" fmla="*/ 2085 w 10000"/>
                <a:gd name="connsiteY157" fmla="*/ 179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10000" h="10000">
                  <a:moveTo>
                    <a:pt x="2085" y="1793"/>
                  </a:moveTo>
                  <a:lnTo>
                    <a:pt x="2085" y="1793"/>
                  </a:lnTo>
                  <a:lnTo>
                    <a:pt x="2296" y="1643"/>
                  </a:lnTo>
                  <a:lnTo>
                    <a:pt x="2500" y="2092"/>
                  </a:lnTo>
                  <a:lnTo>
                    <a:pt x="2710" y="2092"/>
                  </a:lnTo>
                  <a:cubicBezTo>
                    <a:pt x="2744" y="2188"/>
                    <a:pt x="2779" y="2285"/>
                    <a:pt x="2813" y="2381"/>
                  </a:cubicBezTo>
                  <a:lnTo>
                    <a:pt x="2813" y="2988"/>
                  </a:lnTo>
                  <a:lnTo>
                    <a:pt x="3438" y="3277"/>
                  </a:lnTo>
                  <a:lnTo>
                    <a:pt x="3750" y="3725"/>
                  </a:lnTo>
                  <a:lnTo>
                    <a:pt x="4369" y="3725"/>
                  </a:lnTo>
                  <a:lnTo>
                    <a:pt x="4681" y="4034"/>
                  </a:lnTo>
                  <a:lnTo>
                    <a:pt x="5096" y="4174"/>
                  </a:lnTo>
                  <a:lnTo>
                    <a:pt x="5523" y="3884"/>
                  </a:lnTo>
                  <a:lnTo>
                    <a:pt x="5938" y="3884"/>
                  </a:lnTo>
                  <a:lnTo>
                    <a:pt x="6250" y="3436"/>
                  </a:lnTo>
                  <a:lnTo>
                    <a:pt x="6148" y="3277"/>
                  </a:lnTo>
                  <a:lnTo>
                    <a:pt x="6352" y="2988"/>
                  </a:lnTo>
                  <a:lnTo>
                    <a:pt x="6563" y="3137"/>
                  </a:lnTo>
                  <a:lnTo>
                    <a:pt x="6875" y="2829"/>
                  </a:lnTo>
                  <a:lnTo>
                    <a:pt x="7079" y="2540"/>
                  </a:lnTo>
                  <a:lnTo>
                    <a:pt x="7494" y="2540"/>
                  </a:lnTo>
                  <a:lnTo>
                    <a:pt x="7392" y="2241"/>
                  </a:lnTo>
                  <a:lnTo>
                    <a:pt x="7290" y="2092"/>
                  </a:lnTo>
                  <a:lnTo>
                    <a:pt x="7079" y="2241"/>
                  </a:lnTo>
                  <a:lnTo>
                    <a:pt x="6875" y="2241"/>
                  </a:lnTo>
                  <a:lnTo>
                    <a:pt x="6875" y="1643"/>
                  </a:lnTo>
                  <a:lnTo>
                    <a:pt x="6977" y="1345"/>
                  </a:lnTo>
                  <a:lnTo>
                    <a:pt x="7188" y="1485"/>
                  </a:lnTo>
                  <a:lnTo>
                    <a:pt x="7494" y="1345"/>
                  </a:lnTo>
                  <a:lnTo>
                    <a:pt x="7602" y="747"/>
                  </a:lnTo>
                  <a:lnTo>
                    <a:pt x="7704" y="588"/>
                  </a:lnTo>
                  <a:lnTo>
                    <a:pt x="7704" y="448"/>
                  </a:lnTo>
                  <a:lnTo>
                    <a:pt x="7602" y="448"/>
                  </a:lnTo>
                  <a:lnTo>
                    <a:pt x="7704" y="140"/>
                  </a:lnTo>
                  <a:lnTo>
                    <a:pt x="8119" y="0"/>
                  </a:lnTo>
                  <a:lnTo>
                    <a:pt x="8431" y="140"/>
                  </a:lnTo>
                  <a:cubicBezTo>
                    <a:pt x="8501" y="243"/>
                    <a:pt x="8572" y="345"/>
                    <a:pt x="8642" y="448"/>
                  </a:cubicBezTo>
                  <a:lnTo>
                    <a:pt x="8846" y="1485"/>
                  </a:lnTo>
                  <a:lnTo>
                    <a:pt x="9056" y="1485"/>
                  </a:lnTo>
                  <a:lnTo>
                    <a:pt x="9363" y="1793"/>
                  </a:lnTo>
                  <a:lnTo>
                    <a:pt x="9363" y="2092"/>
                  </a:lnTo>
                  <a:lnTo>
                    <a:pt x="9585" y="2092"/>
                  </a:lnTo>
                  <a:lnTo>
                    <a:pt x="10000" y="1933"/>
                  </a:lnTo>
                  <a:lnTo>
                    <a:pt x="10000" y="2241"/>
                  </a:lnTo>
                  <a:lnTo>
                    <a:pt x="9688" y="3137"/>
                  </a:lnTo>
                  <a:cubicBezTo>
                    <a:pt x="9654" y="3087"/>
                    <a:pt x="9619" y="3038"/>
                    <a:pt x="9585" y="2988"/>
                  </a:cubicBezTo>
                  <a:lnTo>
                    <a:pt x="9363" y="3137"/>
                  </a:lnTo>
                  <a:lnTo>
                    <a:pt x="9483" y="3585"/>
                  </a:lnTo>
                  <a:lnTo>
                    <a:pt x="9363" y="3884"/>
                  </a:lnTo>
                  <a:lnTo>
                    <a:pt x="9261" y="3884"/>
                  </a:lnTo>
                  <a:lnTo>
                    <a:pt x="9056" y="4034"/>
                  </a:lnTo>
                  <a:lnTo>
                    <a:pt x="8948" y="4034"/>
                  </a:lnTo>
                  <a:lnTo>
                    <a:pt x="8846" y="4174"/>
                  </a:lnTo>
                  <a:lnTo>
                    <a:pt x="8744" y="4174"/>
                  </a:lnTo>
                  <a:lnTo>
                    <a:pt x="8329" y="4622"/>
                  </a:lnTo>
                  <a:lnTo>
                    <a:pt x="8329" y="4781"/>
                  </a:lnTo>
                  <a:lnTo>
                    <a:pt x="8119" y="4781"/>
                  </a:lnTo>
                  <a:lnTo>
                    <a:pt x="7806" y="5070"/>
                  </a:lnTo>
                  <a:lnTo>
                    <a:pt x="7806" y="4930"/>
                  </a:lnTo>
                  <a:lnTo>
                    <a:pt x="7806" y="4781"/>
                  </a:lnTo>
                  <a:cubicBezTo>
                    <a:pt x="7842" y="4681"/>
                    <a:pt x="7879" y="4582"/>
                    <a:pt x="7915" y="4482"/>
                  </a:cubicBezTo>
                  <a:cubicBezTo>
                    <a:pt x="7879" y="4432"/>
                    <a:pt x="7842" y="4382"/>
                    <a:pt x="7806" y="4332"/>
                  </a:cubicBezTo>
                  <a:lnTo>
                    <a:pt x="7494" y="4781"/>
                  </a:lnTo>
                  <a:lnTo>
                    <a:pt x="7392" y="4930"/>
                  </a:lnTo>
                  <a:lnTo>
                    <a:pt x="7290" y="4930"/>
                  </a:lnTo>
                  <a:lnTo>
                    <a:pt x="7188" y="5070"/>
                  </a:lnTo>
                  <a:lnTo>
                    <a:pt x="7494" y="5518"/>
                  </a:lnTo>
                  <a:lnTo>
                    <a:pt x="7704" y="5369"/>
                  </a:lnTo>
                  <a:lnTo>
                    <a:pt x="8017" y="5518"/>
                  </a:lnTo>
                  <a:lnTo>
                    <a:pt x="8017" y="5677"/>
                  </a:lnTo>
                  <a:lnTo>
                    <a:pt x="7915" y="5518"/>
                  </a:lnTo>
                  <a:lnTo>
                    <a:pt x="7704" y="5677"/>
                  </a:lnTo>
                  <a:lnTo>
                    <a:pt x="7494" y="6125"/>
                  </a:lnTo>
                  <a:lnTo>
                    <a:pt x="7602" y="6265"/>
                  </a:lnTo>
                  <a:lnTo>
                    <a:pt x="7704" y="6863"/>
                  </a:lnTo>
                  <a:lnTo>
                    <a:pt x="7915" y="7021"/>
                  </a:lnTo>
                  <a:lnTo>
                    <a:pt x="7806" y="7021"/>
                  </a:lnTo>
                  <a:cubicBezTo>
                    <a:pt x="7842" y="7118"/>
                    <a:pt x="7879" y="7214"/>
                    <a:pt x="7915" y="7311"/>
                  </a:cubicBezTo>
                  <a:lnTo>
                    <a:pt x="7602" y="7470"/>
                  </a:lnTo>
                  <a:lnTo>
                    <a:pt x="7915" y="7470"/>
                  </a:lnTo>
                  <a:cubicBezTo>
                    <a:pt x="7879" y="7666"/>
                    <a:pt x="7842" y="7862"/>
                    <a:pt x="7806" y="8058"/>
                  </a:cubicBezTo>
                  <a:lnTo>
                    <a:pt x="7602" y="8366"/>
                  </a:lnTo>
                  <a:lnTo>
                    <a:pt x="7494" y="8366"/>
                  </a:lnTo>
                  <a:lnTo>
                    <a:pt x="7494" y="8655"/>
                  </a:lnTo>
                  <a:lnTo>
                    <a:pt x="7392" y="8954"/>
                  </a:lnTo>
                  <a:lnTo>
                    <a:pt x="7290" y="8954"/>
                  </a:lnTo>
                  <a:lnTo>
                    <a:pt x="7290" y="9104"/>
                  </a:lnTo>
                  <a:lnTo>
                    <a:pt x="6977" y="9402"/>
                  </a:lnTo>
                  <a:lnTo>
                    <a:pt x="6665" y="9402"/>
                  </a:lnTo>
                  <a:lnTo>
                    <a:pt x="6665" y="9552"/>
                  </a:lnTo>
                  <a:lnTo>
                    <a:pt x="6563" y="9402"/>
                  </a:lnTo>
                  <a:lnTo>
                    <a:pt x="6563" y="9552"/>
                  </a:lnTo>
                  <a:lnTo>
                    <a:pt x="6460" y="9552"/>
                  </a:lnTo>
                  <a:lnTo>
                    <a:pt x="6046" y="9851"/>
                  </a:lnTo>
                  <a:lnTo>
                    <a:pt x="5938" y="10000"/>
                  </a:lnTo>
                  <a:lnTo>
                    <a:pt x="5938" y="9711"/>
                  </a:lnTo>
                  <a:lnTo>
                    <a:pt x="5733" y="9711"/>
                  </a:lnTo>
                  <a:lnTo>
                    <a:pt x="5625" y="9711"/>
                  </a:lnTo>
                  <a:lnTo>
                    <a:pt x="5409" y="9711"/>
                  </a:lnTo>
                  <a:lnTo>
                    <a:pt x="5409" y="9402"/>
                  </a:lnTo>
                  <a:lnTo>
                    <a:pt x="5198" y="9402"/>
                  </a:lnTo>
                  <a:lnTo>
                    <a:pt x="4784" y="9552"/>
                  </a:lnTo>
                  <a:cubicBezTo>
                    <a:pt x="4750" y="9502"/>
                    <a:pt x="4715" y="9452"/>
                    <a:pt x="4681" y="9402"/>
                  </a:cubicBezTo>
                  <a:lnTo>
                    <a:pt x="4681" y="9552"/>
                  </a:lnTo>
                  <a:lnTo>
                    <a:pt x="4579" y="9552"/>
                  </a:lnTo>
                  <a:lnTo>
                    <a:pt x="4579" y="9851"/>
                  </a:lnTo>
                  <a:lnTo>
                    <a:pt x="4477" y="9851"/>
                  </a:lnTo>
                  <a:lnTo>
                    <a:pt x="4477" y="9711"/>
                  </a:lnTo>
                  <a:lnTo>
                    <a:pt x="4369" y="9711"/>
                  </a:lnTo>
                  <a:lnTo>
                    <a:pt x="4165" y="9552"/>
                  </a:lnTo>
                  <a:lnTo>
                    <a:pt x="4165" y="9402"/>
                  </a:lnTo>
                  <a:lnTo>
                    <a:pt x="4165" y="9262"/>
                  </a:lnTo>
                  <a:cubicBezTo>
                    <a:pt x="4129" y="9209"/>
                    <a:pt x="4092" y="9157"/>
                    <a:pt x="4056" y="9104"/>
                  </a:cubicBezTo>
                  <a:lnTo>
                    <a:pt x="3954" y="9104"/>
                  </a:lnTo>
                  <a:lnTo>
                    <a:pt x="4056" y="8366"/>
                  </a:lnTo>
                  <a:lnTo>
                    <a:pt x="3954" y="8058"/>
                  </a:lnTo>
                  <a:lnTo>
                    <a:pt x="3852" y="8058"/>
                  </a:lnTo>
                  <a:lnTo>
                    <a:pt x="3642" y="7759"/>
                  </a:lnTo>
                  <a:lnTo>
                    <a:pt x="3438" y="7759"/>
                  </a:lnTo>
                  <a:lnTo>
                    <a:pt x="2915" y="8058"/>
                  </a:lnTo>
                  <a:lnTo>
                    <a:pt x="2608" y="8058"/>
                  </a:lnTo>
                  <a:lnTo>
                    <a:pt x="2500" y="8207"/>
                  </a:lnTo>
                  <a:lnTo>
                    <a:pt x="2398" y="8058"/>
                  </a:lnTo>
                  <a:lnTo>
                    <a:pt x="2296" y="8058"/>
                  </a:lnTo>
                  <a:lnTo>
                    <a:pt x="1983" y="8058"/>
                  </a:lnTo>
                  <a:lnTo>
                    <a:pt x="1773" y="7918"/>
                  </a:lnTo>
                  <a:lnTo>
                    <a:pt x="1671" y="7759"/>
                  </a:lnTo>
                  <a:lnTo>
                    <a:pt x="1556" y="7759"/>
                  </a:lnTo>
                  <a:lnTo>
                    <a:pt x="1346" y="7470"/>
                  </a:lnTo>
                  <a:lnTo>
                    <a:pt x="1142" y="7470"/>
                  </a:lnTo>
                  <a:lnTo>
                    <a:pt x="829" y="7311"/>
                  </a:lnTo>
                  <a:lnTo>
                    <a:pt x="727" y="6863"/>
                  </a:lnTo>
                  <a:lnTo>
                    <a:pt x="931" y="6863"/>
                  </a:lnTo>
                  <a:lnTo>
                    <a:pt x="829" y="6573"/>
                  </a:lnTo>
                  <a:cubicBezTo>
                    <a:pt x="897" y="6470"/>
                    <a:pt x="966" y="6368"/>
                    <a:pt x="1034" y="6265"/>
                  </a:cubicBezTo>
                  <a:lnTo>
                    <a:pt x="1034" y="5966"/>
                  </a:lnTo>
                  <a:cubicBezTo>
                    <a:pt x="1000" y="5916"/>
                    <a:pt x="965" y="5867"/>
                    <a:pt x="931" y="5817"/>
                  </a:cubicBezTo>
                  <a:lnTo>
                    <a:pt x="673" y="5821"/>
                  </a:lnTo>
                  <a:cubicBezTo>
                    <a:pt x="615" y="5623"/>
                    <a:pt x="360" y="5739"/>
                    <a:pt x="302" y="5541"/>
                  </a:cubicBezTo>
                  <a:lnTo>
                    <a:pt x="102" y="5518"/>
                  </a:lnTo>
                  <a:lnTo>
                    <a:pt x="216" y="5243"/>
                  </a:lnTo>
                  <a:cubicBezTo>
                    <a:pt x="212" y="5185"/>
                    <a:pt x="208" y="5128"/>
                    <a:pt x="204" y="5070"/>
                  </a:cubicBezTo>
                  <a:lnTo>
                    <a:pt x="0" y="5070"/>
                  </a:lnTo>
                  <a:lnTo>
                    <a:pt x="0" y="4622"/>
                  </a:lnTo>
                  <a:lnTo>
                    <a:pt x="204" y="4482"/>
                  </a:lnTo>
                  <a:lnTo>
                    <a:pt x="415" y="4482"/>
                  </a:lnTo>
                  <a:lnTo>
                    <a:pt x="517" y="4332"/>
                  </a:lnTo>
                  <a:lnTo>
                    <a:pt x="727" y="4332"/>
                  </a:lnTo>
                  <a:lnTo>
                    <a:pt x="1034" y="4034"/>
                  </a:lnTo>
                  <a:lnTo>
                    <a:pt x="1142" y="3725"/>
                  </a:lnTo>
                  <a:lnTo>
                    <a:pt x="1034" y="3137"/>
                  </a:lnTo>
                  <a:lnTo>
                    <a:pt x="1034" y="2988"/>
                  </a:lnTo>
                  <a:lnTo>
                    <a:pt x="1346" y="2988"/>
                  </a:lnTo>
                  <a:lnTo>
                    <a:pt x="1454" y="2381"/>
                  </a:lnTo>
                  <a:lnTo>
                    <a:pt x="1773" y="2381"/>
                  </a:lnTo>
                  <a:lnTo>
                    <a:pt x="1881" y="2381"/>
                  </a:lnTo>
                  <a:lnTo>
                    <a:pt x="1983" y="1933"/>
                  </a:lnTo>
                  <a:lnTo>
                    <a:pt x="2085" y="179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 dirty="0"/>
            </a:p>
          </p:txBody>
        </p:sp>
        <p:sp>
          <p:nvSpPr>
            <p:cNvPr id="339" name="Freeform 169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4157769" y="4161838"/>
              <a:ext cx="1265120" cy="682823"/>
            </a:xfrm>
            <a:custGeom>
              <a:avLst/>
              <a:gdLst>
                <a:gd name="T0" fmla="*/ 113637 w 867"/>
                <a:gd name="T1" fmla="*/ 19050 h 384"/>
                <a:gd name="T2" fmla="*/ 113637 w 867"/>
                <a:gd name="T3" fmla="*/ 19050 h 384"/>
                <a:gd name="T4" fmla="*/ 92976 w 867"/>
                <a:gd name="T5" fmla="*/ 9525 h 384"/>
                <a:gd name="T6" fmla="*/ 86619 w 867"/>
                <a:gd name="T7" fmla="*/ 13494 h 384"/>
                <a:gd name="T8" fmla="*/ 82645 w 867"/>
                <a:gd name="T9" fmla="*/ 13494 h 384"/>
                <a:gd name="T10" fmla="*/ 76288 w 867"/>
                <a:gd name="T11" fmla="*/ 3969 h 384"/>
                <a:gd name="T12" fmla="*/ 62779 w 867"/>
                <a:gd name="T13" fmla="*/ 0 h 384"/>
                <a:gd name="T14" fmla="*/ 55627 w 867"/>
                <a:gd name="T15" fmla="*/ 3969 h 384"/>
                <a:gd name="T16" fmla="*/ 55627 w 867"/>
                <a:gd name="T17" fmla="*/ 9525 h 384"/>
                <a:gd name="T18" fmla="*/ 55627 w 867"/>
                <a:gd name="T19" fmla="*/ 16669 h 384"/>
                <a:gd name="T20" fmla="*/ 41323 w 867"/>
                <a:gd name="T21" fmla="*/ 16669 h 384"/>
                <a:gd name="T22" fmla="*/ 34965 w 867"/>
                <a:gd name="T23" fmla="*/ 13494 h 384"/>
                <a:gd name="T24" fmla="*/ 20661 w 867"/>
                <a:gd name="T25" fmla="*/ 9525 h 384"/>
                <a:gd name="T26" fmla="*/ 3973 w 867"/>
                <a:gd name="T27" fmla="*/ 19050 h 384"/>
                <a:gd name="T28" fmla="*/ 0 w 867"/>
                <a:gd name="T29" fmla="*/ 22225 h 384"/>
                <a:gd name="T30" fmla="*/ 7152 w 867"/>
                <a:gd name="T31" fmla="*/ 32544 h 384"/>
                <a:gd name="T32" fmla="*/ 14304 w 867"/>
                <a:gd name="T33" fmla="*/ 32544 h 384"/>
                <a:gd name="T34" fmla="*/ 17483 w 867"/>
                <a:gd name="T35" fmla="*/ 38100 h 384"/>
                <a:gd name="T36" fmla="*/ 17483 w 867"/>
                <a:gd name="T37" fmla="*/ 51594 h 384"/>
                <a:gd name="T38" fmla="*/ 38144 w 867"/>
                <a:gd name="T39" fmla="*/ 57150 h 384"/>
                <a:gd name="T40" fmla="*/ 48475 w 867"/>
                <a:gd name="T41" fmla="*/ 66675 h 384"/>
                <a:gd name="T42" fmla="*/ 69136 w 867"/>
                <a:gd name="T43" fmla="*/ 66675 h 384"/>
                <a:gd name="T44" fmla="*/ 79467 w 867"/>
                <a:gd name="T45" fmla="*/ 73819 h 384"/>
                <a:gd name="T46" fmla="*/ 92976 w 867"/>
                <a:gd name="T47" fmla="*/ 76200 h 384"/>
                <a:gd name="T48" fmla="*/ 107280 w 867"/>
                <a:gd name="T49" fmla="*/ 70644 h 384"/>
                <a:gd name="T50" fmla="*/ 120789 w 867"/>
                <a:gd name="T51" fmla="*/ 70644 h 384"/>
                <a:gd name="T52" fmla="*/ 131120 w 867"/>
                <a:gd name="T53" fmla="*/ 61119 h 384"/>
                <a:gd name="T54" fmla="*/ 127941 w 867"/>
                <a:gd name="T55" fmla="*/ 57150 h 384"/>
                <a:gd name="T56" fmla="*/ 135093 w 867"/>
                <a:gd name="T57" fmla="*/ 51594 h 384"/>
                <a:gd name="T58" fmla="*/ 141450 w 867"/>
                <a:gd name="T59" fmla="*/ 54769 h 384"/>
                <a:gd name="T60" fmla="*/ 151781 w 867"/>
                <a:gd name="T61" fmla="*/ 47625 h 384"/>
                <a:gd name="T62" fmla="*/ 158933 w 867"/>
                <a:gd name="T63" fmla="*/ 41275 h 384"/>
                <a:gd name="T64" fmla="*/ 172442 w 867"/>
                <a:gd name="T65" fmla="*/ 41275 h 384"/>
                <a:gd name="T66" fmla="*/ 169264 w 867"/>
                <a:gd name="T67" fmla="*/ 35719 h 384"/>
                <a:gd name="T68" fmla="*/ 166085 w 867"/>
                <a:gd name="T69" fmla="*/ 32544 h 384"/>
                <a:gd name="T70" fmla="*/ 158933 w 867"/>
                <a:gd name="T71" fmla="*/ 35719 h 384"/>
                <a:gd name="T72" fmla="*/ 151781 w 867"/>
                <a:gd name="T73" fmla="*/ 35719 h 384"/>
                <a:gd name="T74" fmla="*/ 151781 w 867"/>
                <a:gd name="T75" fmla="*/ 22225 h 384"/>
                <a:gd name="T76" fmla="*/ 155754 w 867"/>
                <a:gd name="T77" fmla="*/ 16669 h 384"/>
                <a:gd name="T78" fmla="*/ 145424 w 867"/>
                <a:gd name="T79" fmla="*/ 13494 h 384"/>
                <a:gd name="T80" fmla="*/ 138272 w 867"/>
                <a:gd name="T81" fmla="*/ 19050 h 384"/>
                <a:gd name="T82" fmla="*/ 123968 w 867"/>
                <a:gd name="T83" fmla="*/ 22225 h 384"/>
                <a:gd name="T84" fmla="*/ 113637 w 867"/>
                <a:gd name="T85" fmla="*/ 19050 h 3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7"/>
                <a:gd name="T130" fmla="*/ 0 h 384"/>
                <a:gd name="T131" fmla="*/ 867 w 867"/>
                <a:gd name="T132" fmla="*/ 384 h 3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7" h="384">
                  <a:moveTo>
                    <a:pt x="572" y="96"/>
                  </a:moveTo>
                  <a:lnTo>
                    <a:pt x="572" y="96"/>
                  </a:lnTo>
                  <a:lnTo>
                    <a:pt x="468" y="48"/>
                  </a:lnTo>
                  <a:lnTo>
                    <a:pt x="434" y="65"/>
                  </a:lnTo>
                  <a:lnTo>
                    <a:pt x="416" y="65"/>
                  </a:lnTo>
                  <a:lnTo>
                    <a:pt x="382" y="17"/>
                  </a:lnTo>
                  <a:lnTo>
                    <a:pt x="313" y="0"/>
                  </a:lnTo>
                  <a:lnTo>
                    <a:pt x="278" y="17"/>
                  </a:lnTo>
                  <a:lnTo>
                    <a:pt x="278" y="48"/>
                  </a:lnTo>
                  <a:lnTo>
                    <a:pt x="278" y="81"/>
                  </a:lnTo>
                  <a:lnTo>
                    <a:pt x="207" y="81"/>
                  </a:lnTo>
                  <a:lnTo>
                    <a:pt x="173" y="65"/>
                  </a:lnTo>
                  <a:lnTo>
                    <a:pt x="103" y="48"/>
                  </a:lnTo>
                  <a:lnTo>
                    <a:pt x="17" y="96"/>
                  </a:lnTo>
                  <a:lnTo>
                    <a:pt x="0" y="113"/>
                  </a:lnTo>
                  <a:lnTo>
                    <a:pt x="34" y="161"/>
                  </a:lnTo>
                  <a:lnTo>
                    <a:pt x="69" y="161"/>
                  </a:lnTo>
                  <a:lnTo>
                    <a:pt x="86" y="192"/>
                  </a:lnTo>
                  <a:lnTo>
                    <a:pt x="86" y="257"/>
                  </a:lnTo>
                  <a:lnTo>
                    <a:pt x="190" y="288"/>
                  </a:lnTo>
                  <a:lnTo>
                    <a:pt x="244" y="336"/>
                  </a:lnTo>
                  <a:lnTo>
                    <a:pt x="347" y="336"/>
                  </a:lnTo>
                  <a:lnTo>
                    <a:pt x="399" y="369"/>
                  </a:lnTo>
                  <a:lnTo>
                    <a:pt x="468" y="384"/>
                  </a:lnTo>
                  <a:lnTo>
                    <a:pt x="537" y="353"/>
                  </a:lnTo>
                  <a:lnTo>
                    <a:pt x="606" y="353"/>
                  </a:lnTo>
                  <a:lnTo>
                    <a:pt x="660" y="305"/>
                  </a:lnTo>
                  <a:lnTo>
                    <a:pt x="641" y="288"/>
                  </a:lnTo>
                  <a:lnTo>
                    <a:pt x="677" y="257"/>
                  </a:lnTo>
                  <a:lnTo>
                    <a:pt x="712" y="273"/>
                  </a:lnTo>
                  <a:lnTo>
                    <a:pt x="764" y="240"/>
                  </a:lnTo>
                  <a:lnTo>
                    <a:pt x="798" y="209"/>
                  </a:lnTo>
                  <a:lnTo>
                    <a:pt x="867" y="209"/>
                  </a:lnTo>
                  <a:lnTo>
                    <a:pt x="850" y="177"/>
                  </a:lnTo>
                  <a:lnTo>
                    <a:pt x="833" y="161"/>
                  </a:lnTo>
                  <a:lnTo>
                    <a:pt x="798" y="177"/>
                  </a:lnTo>
                  <a:lnTo>
                    <a:pt x="764" y="177"/>
                  </a:lnTo>
                  <a:lnTo>
                    <a:pt x="764" y="113"/>
                  </a:lnTo>
                  <a:lnTo>
                    <a:pt x="781" y="81"/>
                  </a:lnTo>
                  <a:lnTo>
                    <a:pt x="729" y="65"/>
                  </a:lnTo>
                  <a:lnTo>
                    <a:pt x="695" y="96"/>
                  </a:lnTo>
                  <a:lnTo>
                    <a:pt x="624" y="113"/>
                  </a:lnTo>
                  <a:lnTo>
                    <a:pt x="572" y="96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0" name="Freeform 17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592403" y="2486791"/>
              <a:ext cx="75791" cy="113804"/>
            </a:xfrm>
            <a:custGeom>
              <a:avLst/>
              <a:gdLst>
                <a:gd name="T0" fmla="*/ 0 w 52"/>
                <a:gd name="T1" fmla="*/ 12902 h 63"/>
                <a:gd name="T2" fmla="*/ 0 w 52"/>
                <a:gd name="T3" fmla="*/ 12902 h 63"/>
                <a:gd name="T4" fmla="*/ 7144 w 52"/>
                <a:gd name="T5" fmla="*/ 9676 h 63"/>
                <a:gd name="T6" fmla="*/ 10319 w 52"/>
                <a:gd name="T7" fmla="*/ 6451 h 63"/>
                <a:gd name="T8" fmla="*/ 3969 w 52"/>
                <a:gd name="T9" fmla="*/ 0 h 63"/>
                <a:gd name="T10" fmla="*/ 0 w 52"/>
                <a:gd name="T11" fmla="*/ 6451 h 63"/>
                <a:gd name="T12" fmla="*/ 0 w 52"/>
                <a:gd name="T13" fmla="*/ 12902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1" name="Freeform 17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432224" y="3905781"/>
              <a:ext cx="128261" cy="85353"/>
            </a:xfrm>
            <a:custGeom>
              <a:avLst/>
              <a:gdLst>
                <a:gd name="T0" fmla="*/ 18681 w 86"/>
                <a:gd name="T1" fmla="*/ 0 h 48"/>
                <a:gd name="T2" fmla="*/ 18681 w 86"/>
                <a:gd name="T3" fmla="*/ 0 h 48"/>
                <a:gd name="T4" fmla="*/ 18681 w 86"/>
                <a:gd name="T5" fmla="*/ 9525 h 48"/>
                <a:gd name="T6" fmla="*/ 11371 w 86"/>
                <a:gd name="T7" fmla="*/ 9525 h 48"/>
                <a:gd name="T8" fmla="*/ 0 w 86"/>
                <a:gd name="T9" fmla="*/ 7144 h 48"/>
                <a:gd name="T10" fmla="*/ 7310 w 86"/>
                <a:gd name="T11" fmla="*/ 3969 h 48"/>
                <a:gd name="T12" fmla="*/ 11371 w 86"/>
                <a:gd name="T13" fmla="*/ 0 h 48"/>
                <a:gd name="T14" fmla="*/ 18681 w 86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"/>
                <a:gd name="T25" fmla="*/ 0 h 48"/>
                <a:gd name="T26" fmla="*/ 86 w 8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" h="48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52" y="48"/>
                  </a:lnTo>
                  <a:lnTo>
                    <a:pt x="0" y="33"/>
                  </a:lnTo>
                  <a:lnTo>
                    <a:pt x="34" y="18"/>
                  </a:lnTo>
                  <a:lnTo>
                    <a:pt x="52" y="0"/>
                  </a:lnTo>
                  <a:lnTo>
                    <a:pt x="86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2" name="Freeform 18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050356" y="3877329"/>
              <a:ext cx="29150" cy="60459"/>
            </a:xfrm>
            <a:custGeom>
              <a:avLst/>
              <a:gdLst>
                <a:gd name="T0" fmla="*/ 0 w 19"/>
                <a:gd name="T1" fmla="*/ 3271 h 33"/>
                <a:gd name="T2" fmla="*/ 0 w 19"/>
                <a:gd name="T3" fmla="*/ 3271 h 33"/>
                <a:gd name="T4" fmla="*/ 0 w 19"/>
                <a:gd name="T5" fmla="*/ 7360 h 33"/>
                <a:gd name="T6" fmla="*/ 4178 w 19"/>
                <a:gd name="T7" fmla="*/ 7360 h 33"/>
                <a:gd name="T8" fmla="*/ 4178 w 19"/>
                <a:gd name="T9" fmla="*/ 3271 h 33"/>
                <a:gd name="T10" fmla="*/ 4178 w 19"/>
                <a:gd name="T11" fmla="*/ 0 h 33"/>
                <a:gd name="T12" fmla="*/ 0 w 19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3" name="Freeform 18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102825" y="3852436"/>
              <a:ext cx="52470" cy="53347"/>
            </a:xfrm>
            <a:custGeom>
              <a:avLst/>
              <a:gdLst>
                <a:gd name="T0" fmla="*/ 0 w 37"/>
                <a:gd name="T1" fmla="*/ 3175 h 30"/>
                <a:gd name="T2" fmla="*/ 0 w 37"/>
                <a:gd name="T3" fmla="*/ 3175 h 30"/>
                <a:gd name="T4" fmla="*/ 0 w 37"/>
                <a:gd name="T5" fmla="*/ 6350 h 30"/>
                <a:gd name="T6" fmla="*/ 6951 w 37"/>
                <a:gd name="T7" fmla="*/ 6350 h 30"/>
                <a:gd name="T8" fmla="*/ 6951 w 37"/>
                <a:gd name="T9" fmla="*/ 3175 h 30"/>
                <a:gd name="T10" fmla="*/ 6951 w 37"/>
                <a:gd name="T11" fmla="*/ 0 h 30"/>
                <a:gd name="T12" fmla="*/ 0 w 37"/>
                <a:gd name="T13" fmla="*/ 3175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0" y="15"/>
                  </a:lnTo>
                  <a:lnTo>
                    <a:pt x="0" y="30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4" name="Freeform 18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102825" y="3937790"/>
              <a:ext cx="52470" cy="24896"/>
            </a:xfrm>
            <a:custGeom>
              <a:avLst/>
              <a:gdLst>
                <a:gd name="T0" fmla="*/ 0 w 37"/>
                <a:gd name="T1" fmla="*/ 0 h 15"/>
                <a:gd name="T2" fmla="*/ 0 w 37"/>
                <a:gd name="T3" fmla="*/ 0 h 15"/>
                <a:gd name="T4" fmla="*/ 0 w 37"/>
                <a:gd name="T5" fmla="*/ 2223 h 15"/>
                <a:gd name="T6" fmla="*/ 6951 w 37"/>
                <a:gd name="T7" fmla="*/ 0 h 15"/>
                <a:gd name="T8" fmla="*/ 0 w 3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15"/>
                <a:gd name="T17" fmla="*/ 37 w 3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5" name="Freeform 18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379754" y="3706624"/>
              <a:ext cx="52470" cy="60459"/>
            </a:xfrm>
            <a:custGeom>
              <a:avLst/>
              <a:gdLst>
                <a:gd name="T0" fmla="*/ 0 w 37"/>
                <a:gd name="T1" fmla="*/ 3271 h 33"/>
                <a:gd name="T2" fmla="*/ 0 w 37"/>
                <a:gd name="T3" fmla="*/ 3271 h 33"/>
                <a:gd name="T4" fmla="*/ 0 w 37"/>
                <a:gd name="T5" fmla="*/ 7360 h 33"/>
                <a:gd name="T6" fmla="*/ 3089 w 37"/>
                <a:gd name="T7" fmla="*/ 7360 h 33"/>
                <a:gd name="T8" fmla="*/ 3089 w 37"/>
                <a:gd name="T9" fmla="*/ 0 h 33"/>
                <a:gd name="T10" fmla="*/ 6951 w 37"/>
                <a:gd name="T11" fmla="*/ 0 h 33"/>
                <a:gd name="T12" fmla="*/ 0 w 37"/>
                <a:gd name="T13" fmla="*/ 327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3"/>
                <a:gd name="T23" fmla="*/ 37 w 3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6" name="Freeform 18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531335" y="3649722"/>
              <a:ext cx="52470" cy="32008"/>
            </a:xfrm>
            <a:custGeom>
              <a:avLst/>
              <a:gdLst>
                <a:gd name="T0" fmla="*/ 0 w 37"/>
                <a:gd name="T1" fmla="*/ 0 h 18"/>
                <a:gd name="T2" fmla="*/ 0 w 37"/>
                <a:gd name="T3" fmla="*/ 0 h 18"/>
                <a:gd name="T4" fmla="*/ 0 w 37"/>
                <a:gd name="T5" fmla="*/ 3969 h 18"/>
                <a:gd name="T6" fmla="*/ 6951 w 37"/>
                <a:gd name="T7" fmla="*/ 0 h 18"/>
                <a:gd name="T8" fmla="*/ 3089 w 37"/>
                <a:gd name="T9" fmla="*/ 0 h 18"/>
                <a:gd name="T10" fmla="*/ 0 w 3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8"/>
                <a:gd name="T20" fmla="*/ 37 w 3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7" y="0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7" name="Freeform 18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560486" y="3596377"/>
              <a:ext cx="23319" cy="24896"/>
            </a:xfrm>
            <a:custGeom>
              <a:avLst/>
              <a:gdLst>
                <a:gd name="T0" fmla="*/ 0 w 18"/>
                <a:gd name="T1" fmla="*/ 2223 h 15"/>
                <a:gd name="T2" fmla="*/ 0 w 18"/>
                <a:gd name="T3" fmla="*/ 2223 h 15"/>
                <a:gd name="T4" fmla="*/ 2822 w 18"/>
                <a:gd name="T5" fmla="*/ 2223 h 15"/>
                <a:gd name="T6" fmla="*/ 0 w 18"/>
                <a:gd name="T7" fmla="*/ 0 h 15"/>
                <a:gd name="T8" fmla="*/ 0 w 18"/>
                <a:gd name="T9" fmla="*/ 2223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8" name="Freeform 18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2519527" y="3905781"/>
              <a:ext cx="1617838" cy="970889"/>
            </a:xfrm>
            <a:custGeom>
              <a:avLst/>
              <a:gdLst>
                <a:gd name="T0" fmla="*/ 216889 w 1109"/>
                <a:gd name="T1" fmla="*/ 54869 h 545"/>
                <a:gd name="T2" fmla="*/ 209739 w 1109"/>
                <a:gd name="T3" fmla="*/ 66797 h 545"/>
                <a:gd name="T4" fmla="*/ 196233 w 1109"/>
                <a:gd name="T5" fmla="*/ 66797 h 545"/>
                <a:gd name="T6" fmla="*/ 182727 w 1109"/>
                <a:gd name="T7" fmla="*/ 80316 h 545"/>
                <a:gd name="T8" fmla="*/ 185905 w 1109"/>
                <a:gd name="T9" fmla="*/ 95425 h 545"/>
                <a:gd name="T10" fmla="*/ 175577 w 1109"/>
                <a:gd name="T11" fmla="*/ 95425 h 545"/>
                <a:gd name="T12" fmla="*/ 148565 w 1109"/>
                <a:gd name="T13" fmla="*/ 93039 h 545"/>
                <a:gd name="T14" fmla="*/ 144593 w 1109"/>
                <a:gd name="T15" fmla="*/ 99401 h 545"/>
                <a:gd name="T16" fmla="*/ 131087 w 1109"/>
                <a:gd name="T17" fmla="*/ 99401 h 545"/>
                <a:gd name="T18" fmla="*/ 117581 w 1109"/>
                <a:gd name="T19" fmla="*/ 104967 h 545"/>
                <a:gd name="T20" fmla="*/ 110431 w 1109"/>
                <a:gd name="T21" fmla="*/ 102582 h 545"/>
                <a:gd name="T22" fmla="*/ 107253 w 1109"/>
                <a:gd name="T23" fmla="*/ 95425 h 545"/>
                <a:gd name="T24" fmla="*/ 82624 w 1109"/>
                <a:gd name="T25" fmla="*/ 89858 h 545"/>
                <a:gd name="T26" fmla="*/ 65146 w 1109"/>
                <a:gd name="T27" fmla="*/ 76340 h 545"/>
                <a:gd name="T28" fmla="*/ 51640 w 1109"/>
                <a:gd name="T29" fmla="*/ 104967 h 545"/>
                <a:gd name="T30" fmla="*/ 41312 w 1109"/>
                <a:gd name="T31" fmla="*/ 99401 h 545"/>
                <a:gd name="T32" fmla="*/ 30984 w 1109"/>
                <a:gd name="T33" fmla="*/ 95425 h 545"/>
                <a:gd name="T34" fmla="*/ 24628 w 1109"/>
                <a:gd name="T35" fmla="*/ 85882 h 545"/>
                <a:gd name="T36" fmla="*/ 27806 w 1109"/>
                <a:gd name="T37" fmla="*/ 85882 h 545"/>
                <a:gd name="T38" fmla="*/ 27806 w 1109"/>
                <a:gd name="T39" fmla="*/ 80316 h 545"/>
                <a:gd name="T40" fmla="*/ 38134 w 1109"/>
                <a:gd name="T41" fmla="*/ 70773 h 545"/>
                <a:gd name="T42" fmla="*/ 24628 w 1109"/>
                <a:gd name="T43" fmla="*/ 64412 h 545"/>
                <a:gd name="T44" fmla="*/ 10328 w 1109"/>
                <a:gd name="T45" fmla="*/ 70773 h 545"/>
                <a:gd name="T46" fmla="*/ 10328 w 1109"/>
                <a:gd name="T47" fmla="*/ 61231 h 545"/>
                <a:gd name="T48" fmla="*/ 0 w 1109"/>
                <a:gd name="T49" fmla="*/ 54869 h 545"/>
                <a:gd name="T50" fmla="*/ 10328 w 1109"/>
                <a:gd name="T51" fmla="*/ 45327 h 545"/>
                <a:gd name="T52" fmla="*/ 10328 w 1109"/>
                <a:gd name="T53" fmla="*/ 38170 h 545"/>
                <a:gd name="T54" fmla="*/ 27806 w 1109"/>
                <a:gd name="T55" fmla="*/ 32603 h 545"/>
                <a:gd name="T56" fmla="*/ 38134 w 1109"/>
                <a:gd name="T57" fmla="*/ 32603 h 545"/>
                <a:gd name="T58" fmla="*/ 54818 w 1109"/>
                <a:gd name="T59" fmla="*/ 35784 h 545"/>
                <a:gd name="T60" fmla="*/ 65146 w 1109"/>
                <a:gd name="T61" fmla="*/ 38170 h 545"/>
                <a:gd name="T62" fmla="*/ 82624 w 1109"/>
                <a:gd name="T63" fmla="*/ 32603 h 545"/>
                <a:gd name="T64" fmla="*/ 79447 w 1109"/>
                <a:gd name="T65" fmla="*/ 26242 h 545"/>
                <a:gd name="T66" fmla="*/ 79447 w 1109"/>
                <a:gd name="T67" fmla="*/ 19085 h 545"/>
                <a:gd name="T68" fmla="*/ 85802 w 1109"/>
                <a:gd name="T69" fmla="*/ 13519 h 545"/>
                <a:gd name="T70" fmla="*/ 117581 w 1109"/>
                <a:gd name="T71" fmla="*/ 0 h 545"/>
                <a:gd name="T72" fmla="*/ 131087 w 1109"/>
                <a:gd name="T73" fmla="*/ 0 h 545"/>
                <a:gd name="T74" fmla="*/ 134265 w 1109"/>
                <a:gd name="T75" fmla="*/ 9542 h 545"/>
                <a:gd name="T76" fmla="*/ 144593 w 1109"/>
                <a:gd name="T77" fmla="*/ 13519 h 545"/>
                <a:gd name="T78" fmla="*/ 151743 w 1109"/>
                <a:gd name="T79" fmla="*/ 16699 h 545"/>
                <a:gd name="T80" fmla="*/ 165249 w 1109"/>
                <a:gd name="T81" fmla="*/ 7157 h 545"/>
                <a:gd name="T82" fmla="*/ 182727 w 1109"/>
                <a:gd name="T83" fmla="*/ 38170 h 545"/>
                <a:gd name="T84" fmla="*/ 189083 w 1109"/>
                <a:gd name="T85" fmla="*/ 38170 h 545"/>
                <a:gd name="T86" fmla="*/ 209739 w 1109"/>
                <a:gd name="T87" fmla="*/ 45327 h 545"/>
                <a:gd name="T88" fmla="*/ 216889 w 1109"/>
                <a:gd name="T89" fmla="*/ 45327 h 545"/>
                <a:gd name="T90" fmla="*/ 216889 w 1109"/>
                <a:gd name="T91" fmla="*/ 54869 h 5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9"/>
                <a:gd name="T139" fmla="*/ 0 h 545"/>
                <a:gd name="T140" fmla="*/ 1109 w 1109"/>
                <a:gd name="T141" fmla="*/ 545 h 5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9" h="545">
                  <a:moveTo>
                    <a:pt x="1092" y="273"/>
                  </a:moveTo>
                  <a:lnTo>
                    <a:pt x="1092" y="273"/>
                  </a:lnTo>
                  <a:lnTo>
                    <a:pt x="1075" y="288"/>
                  </a:lnTo>
                  <a:lnTo>
                    <a:pt x="1056" y="336"/>
                  </a:lnTo>
                  <a:lnTo>
                    <a:pt x="1038" y="336"/>
                  </a:lnTo>
                  <a:lnTo>
                    <a:pt x="987" y="336"/>
                  </a:lnTo>
                  <a:lnTo>
                    <a:pt x="969" y="401"/>
                  </a:lnTo>
                  <a:lnTo>
                    <a:pt x="917" y="401"/>
                  </a:lnTo>
                  <a:lnTo>
                    <a:pt x="917" y="417"/>
                  </a:lnTo>
                  <a:lnTo>
                    <a:pt x="935" y="480"/>
                  </a:lnTo>
                  <a:lnTo>
                    <a:pt x="917" y="497"/>
                  </a:lnTo>
                  <a:lnTo>
                    <a:pt x="883" y="480"/>
                  </a:lnTo>
                  <a:lnTo>
                    <a:pt x="779" y="480"/>
                  </a:lnTo>
                  <a:lnTo>
                    <a:pt x="745" y="465"/>
                  </a:lnTo>
                  <a:lnTo>
                    <a:pt x="727" y="480"/>
                  </a:lnTo>
                  <a:lnTo>
                    <a:pt x="727" y="497"/>
                  </a:lnTo>
                  <a:lnTo>
                    <a:pt x="676" y="480"/>
                  </a:lnTo>
                  <a:lnTo>
                    <a:pt x="658" y="497"/>
                  </a:lnTo>
                  <a:lnTo>
                    <a:pt x="606" y="545"/>
                  </a:lnTo>
                  <a:lnTo>
                    <a:pt x="589" y="528"/>
                  </a:lnTo>
                  <a:lnTo>
                    <a:pt x="555" y="528"/>
                  </a:lnTo>
                  <a:lnTo>
                    <a:pt x="555" y="513"/>
                  </a:lnTo>
                  <a:lnTo>
                    <a:pt x="537" y="513"/>
                  </a:lnTo>
                  <a:lnTo>
                    <a:pt x="537" y="480"/>
                  </a:lnTo>
                  <a:lnTo>
                    <a:pt x="501" y="449"/>
                  </a:lnTo>
                  <a:lnTo>
                    <a:pt x="414" y="449"/>
                  </a:lnTo>
                  <a:lnTo>
                    <a:pt x="363" y="401"/>
                  </a:lnTo>
                  <a:lnTo>
                    <a:pt x="328" y="384"/>
                  </a:lnTo>
                  <a:lnTo>
                    <a:pt x="259" y="401"/>
                  </a:lnTo>
                  <a:lnTo>
                    <a:pt x="259" y="528"/>
                  </a:lnTo>
                  <a:lnTo>
                    <a:pt x="242" y="528"/>
                  </a:lnTo>
                  <a:lnTo>
                    <a:pt x="207" y="497"/>
                  </a:lnTo>
                  <a:lnTo>
                    <a:pt x="155" y="513"/>
                  </a:lnTo>
                  <a:lnTo>
                    <a:pt x="155" y="480"/>
                  </a:lnTo>
                  <a:lnTo>
                    <a:pt x="138" y="480"/>
                  </a:lnTo>
                  <a:lnTo>
                    <a:pt x="121" y="432"/>
                  </a:lnTo>
                  <a:lnTo>
                    <a:pt x="103" y="432"/>
                  </a:lnTo>
                  <a:lnTo>
                    <a:pt x="138" y="432"/>
                  </a:lnTo>
                  <a:lnTo>
                    <a:pt x="121" y="417"/>
                  </a:lnTo>
                  <a:lnTo>
                    <a:pt x="138" y="401"/>
                  </a:lnTo>
                  <a:lnTo>
                    <a:pt x="207" y="401"/>
                  </a:lnTo>
                  <a:lnTo>
                    <a:pt x="190" y="353"/>
                  </a:lnTo>
                  <a:lnTo>
                    <a:pt x="155" y="336"/>
                  </a:lnTo>
                  <a:lnTo>
                    <a:pt x="121" y="321"/>
                  </a:lnTo>
                  <a:lnTo>
                    <a:pt x="69" y="353"/>
                  </a:lnTo>
                  <a:lnTo>
                    <a:pt x="52" y="353"/>
                  </a:lnTo>
                  <a:lnTo>
                    <a:pt x="69" y="336"/>
                  </a:lnTo>
                  <a:lnTo>
                    <a:pt x="52" y="305"/>
                  </a:lnTo>
                  <a:lnTo>
                    <a:pt x="17" y="305"/>
                  </a:lnTo>
                  <a:lnTo>
                    <a:pt x="0" y="273"/>
                  </a:lnTo>
                  <a:lnTo>
                    <a:pt x="17" y="192"/>
                  </a:lnTo>
                  <a:lnTo>
                    <a:pt x="52" y="225"/>
                  </a:lnTo>
                  <a:lnTo>
                    <a:pt x="69" y="225"/>
                  </a:lnTo>
                  <a:lnTo>
                    <a:pt x="52" y="192"/>
                  </a:lnTo>
                  <a:lnTo>
                    <a:pt x="103" y="144"/>
                  </a:lnTo>
                  <a:lnTo>
                    <a:pt x="138" y="161"/>
                  </a:lnTo>
                  <a:lnTo>
                    <a:pt x="155" y="144"/>
                  </a:lnTo>
                  <a:lnTo>
                    <a:pt x="190" y="161"/>
                  </a:lnTo>
                  <a:lnTo>
                    <a:pt x="242" y="192"/>
                  </a:lnTo>
                  <a:lnTo>
                    <a:pt x="276" y="177"/>
                  </a:lnTo>
                  <a:lnTo>
                    <a:pt x="311" y="177"/>
                  </a:lnTo>
                  <a:lnTo>
                    <a:pt x="328" y="192"/>
                  </a:lnTo>
                  <a:lnTo>
                    <a:pt x="397" y="192"/>
                  </a:lnTo>
                  <a:lnTo>
                    <a:pt x="414" y="161"/>
                  </a:lnTo>
                  <a:lnTo>
                    <a:pt x="363" y="144"/>
                  </a:lnTo>
                  <a:lnTo>
                    <a:pt x="397" y="129"/>
                  </a:lnTo>
                  <a:lnTo>
                    <a:pt x="380" y="113"/>
                  </a:lnTo>
                  <a:lnTo>
                    <a:pt x="397" y="96"/>
                  </a:lnTo>
                  <a:lnTo>
                    <a:pt x="397" y="48"/>
                  </a:lnTo>
                  <a:lnTo>
                    <a:pt x="432" y="65"/>
                  </a:lnTo>
                  <a:lnTo>
                    <a:pt x="589" y="18"/>
                  </a:lnTo>
                  <a:lnTo>
                    <a:pt x="589" y="0"/>
                  </a:lnTo>
                  <a:lnTo>
                    <a:pt x="606" y="0"/>
                  </a:lnTo>
                  <a:lnTo>
                    <a:pt x="658" y="0"/>
                  </a:lnTo>
                  <a:lnTo>
                    <a:pt x="676" y="33"/>
                  </a:lnTo>
                  <a:lnTo>
                    <a:pt x="676" y="48"/>
                  </a:lnTo>
                  <a:lnTo>
                    <a:pt x="693" y="48"/>
                  </a:lnTo>
                  <a:lnTo>
                    <a:pt x="727" y="65"/>
                  </a:lnTo>
                  <a:lnTo>
                    <a:pt x="727" y="81"/>
                  </a:lnTo>
                  <a:lnTo>
                    <a:pt x="762" y="81"/>
                  </a:lnTo>
                  <a:lnTo>
                    <a:pt x="796" y="48"/>
                  </a:lnTo>
                  <a:lnTo>
                    <a:pt x="831" y="33"/>
                  </a:lnTo>
                  <a:lnTo>
                    <a:pt x="848" y="81"/>
                  </a:lnTo>
                  <a:lnTo>
                    <a:pt x="917" y="192"/>
                  </a:lnTo>
                  <a:lnTo>
                    <a:pt x="935" y="161"/>
                  </a:lnTo>
                  <a:lnTo>
                    <a:pt x="952" y="192"/>
                  </a:lnTo>
                  <a:lnTo>
                    <a:pt x="1004" y="177"/>
                  </a:lnTo>
                  <a:lnTo>
                    <a:pt x="1056" y="225"/>
                  </a:lnTo>
                  <a:lnTo>
                    <a:pt x="1092" y="240"/>
                  </a:lnTo>
                  <a:lnTo>
                    <a:pt x="1092" y="225"/>
                  </a:lnTo>
                  <a:lnTo>
                    <a:pt x="1109" y="257"/>
                  </a:lnTo>
                  <a:lnTo>
                    <a:pt x="1092" y="27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49" name="Freeform 188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2895565" y="4588604"/>
              <a:ext cx="685031" cy="512117"/>
            </a:xfrm>
            <a:custGeom>
              <a:avLst/>
              <a:gdLst>
                <a:gd name="T0" fmla="*/ 55800 w 468"/>
                <a:gd name="T1" fmla="*/ 57150 h 288"/>
                <a:gd name="T2" fmla="*/ 55800 w 468"/>
                <a:gd name="T3" fmla="*/ 57150 h 288"/>
                <a:gd name="T4" fmla="*/ 62177 w 468"/>
                <a:gd name="T5" fmla="*/ 57150 h 288"/>
                <a:gd name="T6" fmla="*/ 66163 w 468"/>
                <a:gd name="T7" fmla="*/ 51594 h 288"/>
                <a:gd name="T8" fmla="*/ 66163 w 468"/>
                <a:gd name="T9" fmla="*/ 44450 h 288"/>
                <a:gd name="T10" fmla="*/ 62177 w 468"/>
                <a:gd name="T11" fmla="*/ 41275 h 288"/>
                <a:gd name="T12" fmla="*/ 69351 w 468"/>
                <a:gd name="T13" fmla="*/ 41275 h 288"/>
                <a:gd name="T14" fmla="*/ 72540 w 468"/>
                <a:gd name="T15" fmla="*/ 34925 h 288"/>
                <a:gd name="T16" fmla="*/ 72540 w 468"/>
                <a:gd name="T17" fmla="*/ 31750 h 288"/>
                <a:gd name="T18" fmla="*/ 79714 w 468"/>
                <a:gd name="T19" fmla="*/ 31750 h 288"/>
                <a:gd name="T20" fmla="*/ 79714 w 468"/>
                <a:gd name="T21" fmla="*/ 34925 h 288"/>
                <a:gd name="T22" fmla="*/ 86889 w 468"/>
                <a:gd name="T23" fmla="*/ 34925 h 288"/>
                <a:gd name="T24" fmla="*/ 94063 w 468"/>
                <a:gd name="T25" fmla="*/ 31750 h 288"/>
                <a:gd name="T26" fmla="*/ 86889 w 468"/>
                <a:gd name="T27" fmla="*/ 28575 h 288"/>
                <a:gd name="T28" fmla="*/ 83700 w 468"/>
                <a:gd name="T29" fmla="*/ 28575 h 288"/>
                <a:gd name="T30" fmla="*/ 76526 w 468"/>
                <a:gd name="T31" fmla="*/ 28575 h 288"/>
                <a:gd name="T32" fmla="*/ 83700 w 468"/>
                <a:gd name="T33" fmla="*/ 22225 h 288"/>
                <a:gd name="T34" fmla="*/ 79714 w 468"/>
                <a:gd name="T35" fmla="*/ 22225 h 288"/>
                <a:gd name="T36" fmla="*/ 69351 w 468"/>
                <a:gd name="T37" fmla="*/ 31750 h 288"/>
                <a:gd name="T38" fmla="*/ 66163 w 468"/>
                <a:gd name="T39" fmla="*/ 28575 h 288"/>
                <a:gd name="T40" fmla="*/ 58989 w 468"/>
                <a:gd name="T41" fmla="*/ 28575 h 288"/>
                <a:gd name="T42" fmla="*/ 58989 w 468"/>
                <a:gd name="T43" fmla="*/ 26194 h 288"/>
                <a:gd name="T44" fmla="*/ 55800 w 468"/>
                <a:gd name="T45" fmla="*/ 26194 h 288"/>
                <a:gd name="T46" fmla="*/ 55800 w 468"/>
                <a:gd name="T47" fmla="*/ 19050 h 288"/>
                <a:gd name="T48" fmla="*/ 48626 w 468"/>
                <a:gd name="T49" fmla="*/ 13494 h 288"/>
                <a:gd name="T50" fmla="*/ 31089 w 468"/>
                <a:gd name="T51" fmla="*/ 13494 h 288"/>
                <a:gd name="T52" fmla="*/ 20726 w 468"/>
                <a:gd name="T53" fmla="*/ 3969 h 288"/>
                <a:gd name="T54" fmla="*/ 14349 w 468"/>
                <a:gd name="T55" fmla="*/ 0 h 288"/>
                <a:gd name="T56" fmla="*/ 0 w 468"/>
                <a:gd name="T57" fmla="*/ 3969 h 288"/>
                <a:gd name="T58" fmla="*/ 0 w 468"/>
                <a:gd name="T59" fmla="*/ 28575 h 288"/>
                <a:gd name="T60" fmla="*/ 3986 w 468"/>
                <a:gd name="T61" fmla="*/ 28575 h 288"/>
                <a:gd name="T62" fmla="*/ 3986 w 468"/>
                <a:gd name="T63" fmla="*/ 26194 h 288"/>
                <a:gd name="T64" fmla="*/ 10363 w 468"/>
                <a:gd name="T65" fmla="*/ 22225 h 288"/>
                <a:gd name="T66" fmla="*/ 14349 w 468"/>
                <a:gd name="T67" fmla="*/ 22225 h 288"/>
                <a:gd name="T68" fmla="*/ 10363 w 468"/>
                <a:gd name="T69" fmla="*/ 19050 h 288"/>
                <a:gd name="T70" fmla="*/ 14349 w 468"/>
                <a:gd name="T71" fmla="*/ 19050 h 288"/>
                <a:gd name="T72" fmla="*/ 20726 w 468"/>
                <a:gd name="T73" fmla="*/ 22225 h 288"/>
                <a:gd name="T74" fmla="*/ 20726 w 468"/>
                <a:gd name="T75" fmla="*/ 28575 h 288"/>
                <a:gd name="T76" fmla="*/ 31089 w 468"/>
                <a:gd name="T77" fmla="*/ 28575 h 288"/>
                <a:gd name="T78" fmla="*/ 35074 w 468"/>
                <a:gd name="T79" fmla="*/ 38100 h 288"/>
                <a:gd name="T80" fmla="*/ 51814 w 468"/>
                <a:gd name="T81" fmla="*/ 47625 h 288"/>
                <a:gd name="T82" fmla="*/ 58989 w 468"/>
                <a:gd name="T83" fmla="*/ 51594 h 288"/>
                <a:gd name="T84" fmla="*/ 55800 w 468"/>
                <a:gd name="T85" fmla="*/ 57150 h 2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8"/>
                <a:gd name="T130" fmla="*/ 0 h 288"/>
                <a:gd name="T131" fmla="*/ 468 w 468"/>
                <a:gd name="T132" fmla="*/ 288 h 2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8" h="288">
                  <a:moveTo>
                    <a:pt x="276" y="288"/>
                  </a:moveTo>
                  <a:lnTo>
                    <a:pt x="276" y="288"/>
                  </a:lnTo>
                  <a:lnTo>
                    <a:pt x="311" y="288"/>
                  </a:lnTo>
                  <a:lnTo>
                    <a:pt x="328" y="257"/>
                  </a:lnTo>
                  <a:lnTo>
                    <a:pt x="328" y="225"/>
                  </a:lnTo>
                  <a:lnTo>
                    <a:pt x="311" y="209"/>
                  </a:lnTo>
                  <a:lnTo>
                    <a:pt x="346" y="209"/>
                  </a:lnTo>
                  <a:lnTo>
                    <a:pt x="363" y="177"/>
                  </a:lnTo>
                  <a:lnTo>
                    <a:pt x="363" y="161"/>
                  </a:lnTo>
                  <a:lnTo>
                    <a:pt x="399" y="161"/>
                  </a:lnTo>
                  <a:lnTo>
                    <a:pt x="399" y="177"/>
                  </a:lnTo>
                  <a:lnTo>
                    <a:pt x="434" y="177"/>
                  </a:lnTo>
                  <a:lnTo>
                    <a:pt x="468" y="161"/>
                  </a:lnTo>
                  <a:lnTo>
                    <a:pt x="434" y="144"/>
                  </a:lnTo>
                  <a:lnTo>
                    <a:pt x="417" y="144"/>
                  </a:lnTo>
                  <a:lnTo>
                    <a:pt x="380" y="144"/>
                  </a:lnTo>
                  <a:lnTo>
                    <a:pt x="417" y="113"/>
                  </a:lnTo>
                  <a:lnTo>
                    <a:pt x="399" y="113"/>
                  </a:lnTo>
                  <a:lnTo>
                    <a:pt x="346" y="161"/>
                  </a:lnTo>
                  <a:lnTo>
                    <a:pt x="328" y="144"/>
                  </a:lnTo>
                  <a:lnTo>
                    <a:pt x="294" y="144"/>
                  </a:lnTo>
                  <a:lnTo>
                    <a:pt x="294" y="129"/>
                  </a:lnTo>
                  <a:lnTo>
                    <a:pt x="276" y="129"/>
                  </a:lnTo>
                  <a:lnTo>
                    <a:pt x="276" y="96"/>
                  </a:lnTo>
                  <a:lnTo>
                    <a:pt x="242" y="65"/>
                  </a:lnTo>
                  <a:lnTo>
                    <a:pt x="155" y="65"/>
                  </a:lnTo>
                  <a:lnTo>
                    <a:pt x="104" y="17"/>
                  </a:lnTo>
                  <a:lnTo>
                    <a:pt x="69" y="0"/>
                  </a:lnTo>
                  <a:lnTo>
                    <a:pt x="0" y="17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17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96"/>
                  </a:lnTo>
                  <a:lnTo>
                    <a:pt x="69" y="96"/>
                  </a:lnTo>
                  <a:lnTo>
                    <a:pt x="104" y="113"/>
                  </a:lnTo>
                  <a:lnTo>
                    <a:pt x="104" y="144"/>
                  </a:lnTo>
                  <a:lnTo>
                    <a:pt x="155" y="144"/>
                  </a:lnTo>
                  <a:lnTo>
                    <a:pt x="173" y="192"/>
                  </a:lnTo>
                  <a:lnTo>
                    <a:pt x="259" y="240"/>
                  </a:lnTo>
                  <a:lnTo>
                    <a:pt x="294" y="257"/>
                  </a:lnTo>
                  <a:lnTo>
                    <a:pt x="276" y="288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BBAD87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0" name="Freeform 20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1000803" y="4759309"/>
              <a:ext cx="23319" cy="117361"/>
            </a:xfrm>
            <a:custGeom>
              <a:avLst/>
              <a:gdLst>
                <a:gd name="T0" fmla="*/ 0 w 18"/>
                <a:gd name="T1" fmla="*/ 4030 h 65"/>
                <a:gd name="T2" fmla="*/ 0 w 18"/>
                <a:gd name="T3" fmla="*/ 4030 h 65"/>
                <a:gd name="T4" fmla="*/ 0 w 18"/>
                <a:gd name="T5" fmla="*/ 9672 h 65"/>
                <a:gd name="T6" fmla="*/ 2822 w 18"/>
                <a:gd name="T7" fmla="*/ 13701 h 65"/>
                <a:gd name="T8" fmla="*/ 2822 w 18"/>
                <a:gd name="T9" fmla="*/ 0 h 65"/>
                <a:gd name="T10" fmla="*/ 0 w 18"/>
                <a:gd name="T11" fmla="*/ 403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65"/>
                <a:gd name="T20" fmla="*/ 18 w 18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65">
                  <a:moveTo>
                    <a:pt x="0" y="17"/>
                  </a:moveTo>
                  <a:lnTo>
                    <a:pt x="0" y="17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18" y="0"/>
                  </a:lnTo>
                  <a:lnTo>
                    <a:pt x="0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1" name="Freeform 209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74567" y="4876670"/>
              <a:ext cx="75791" cy="138699"/>
            </a:xfrm>
            <a:custGeom>
              <a:avLst/>
              <a:gdLst>
                <a:gd name="T0" fmla="*/ 0 w 52"/>
                <a:gd name="T1" fmla="*/ 0 h 79"/>
                <a:gd name="T2" fmla="*/ 0 w 52"/>
                <a:gd name="T3" fmla="*/ 0 h 79"/>
                <a:gd name="T4" fmla="*/ 3969 w 52"/>
                <a:gd name="T5" fmla="*/ 12539 h 79"/>
                <a:gd name="T6" fmla="*/ 3969 w 52"/>
                <a:gd name="T7" fmla="*/ 14890 h 79"/>
                <a:gd name="T8" fmla="*/ 7144 w 52"/>
                <a:gd name="T9" fmla="*/ 12539 h 79"/>
                <a:gd name="T10" fmla="*/ 10319 w 52"/>
                <a:gd name="T11" fmla="*/ 3135 h 79"/>
                <a:gd name="T12" fmla="*/ 7144 w 52"/>
                <a:gd name="T13" fmla="*/ 0 h 79"/>
                <a:gd name="T14" fmla="*/ 0 w 52"/>
                <a:gd name="T15" fmla="*/ 0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79"/>
                <a:gd name="T26" fmla="*/ 52 w 52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79">
                  <a:moveTo>
                    <a:pt x="0" y="0"/>
                  </a:moveTo>
                  <a:lnTo>
                    <a:pt x="0" y="0"/>
                  </a:lnTo>
                  <a:lnTo>
                    <a:pt x="17" y="64"/>
                  </a:lnTo>
                  <a:lnTo>
                    <a:pt x="17" y="79"/>
                  </a:lnTo>
                  <a:lnTo>
                    <a:pt x="35" y="64"/>
                  </a:lnTo>
                  <a:lnTo>
                    <a:pt x="52" y="16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2" name="Freeform 210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1152382" y="5047377"/>
              <a:ext cx="131178" cy="85353"/>
            </a:xfrm>
            <a:custGeom>
              <a:avLst/>
              <a:gdLst>
                <a:gd name="T0" fmla="*/ 0 w 88"/>
                <a:gd name="T1" fmla="*/ 0 h 48"/>
                <a:gd name="T2" fmla="*/ 0 w 88"/>
                <a:gd name="T3" fmla="*/ 0 h 48"/>
                <a:gd name="T4" fmla="*/ 0 w 88"/>
                <a:gd name="T5" fmla="*/ 2381 h 48"/>
                <a:gd name="T6" fmla="*/ 14612 w 88"/>
                <a:gd name="T7" fmla="*/ 9525 h 48"/>
                <a:gd name="T8" fmla="*/ 18671 w 88"/>
                <a:gd name="T9" fmla="*/ 0 h 48"/>
                <a:gd name="T10" fmla="*/ 11365 w 88"/>
                <a:gd name="T11" fmla="*/ 0 h 48"/>
                <a:gd name="T12" fmla="*/ 4059 w 88"/>
                <a:gd name="T13" fmla="*/ 0 h 48"/>
                <a:gd name="T14" fmla="*/ 0 w 88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8"/>
                <a:gd name="T26" fmla="*/ 88 w 88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9" y="48"/>
                  </a:lnTo>
                  <a:lnTo>
                    <a:pt x="88" y="0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4" name="Freeform 222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530009" y="4133926"/>
              <a:ext cx="734585" cy="540568"/>
            </a:xfrm>
            <a:custGeom>
              <a:avLst/>
              <a:gdLst>
                <a:gd name="T0" fmla="*/ 42152 w 503"/>
                <a:gd name="T1" fmla="*/ 54153 h 303"/>
                <a:gd name="T2" fmla="*/ 42152 w 503"/>
                <a:gd name="T3" fmla="*/ 54153 h 303"/>
                <a:gd name="T4" fmla="*/ 34994 w 503"/>
                <a:gd name="T5" fmla="*/ 54153 h 303"/>
                <a:gd name="T6" fmla="*/ 34994 w 503"/>
                <a:gd name="T7" fmla="*/ 50968 h 303"/>
                <a:gd name="T8" fmla="*/ 38176 w 503"/>
                <a:gd name="T9" fmla="*/ 44597 h 303"/>
                <a:gd name="T10" fmla="*/ 45334 w 503"/>
                <a:gd name="T11" fmla="*/ 44597 h 303"/>
                <a:gd name="T12" fmla="*/ 45334 w 503"/>
                <a:gd name="T13" fmla="*/ 41411 h 303"/>
                <a:gd name="T14" fmla="*/ 42152 w 503"/>
                <a:gd name="T15" fmla="*/ 35040 h 303"/>
                <a:gd name="T16" fmla="*/ 42152 w 503"/>
                <a:gd name="T17" fmla="*/ 31855 h 303"/>
                <a:gd name="T18" fmla="*/ 31018 w 503"/>
                <a:gd name="T19" fmla="*/ 28669 h 303"/>
                <a:gd name="T20" fmla="*/ 24655 w 503"/>
                <a:gd name="T21" fmla="*/ 31855 h 303"/>
                <a:gd name="T22" fmla="*/ 17497 w 503"/>
                <a:gd name="T23" fmla="*/ 35040 h 303"/>
                <a:gd name="T24" fmla="*/ 14316 w 503"/>
                <a:gd name="T25" fmla="*/ 35040 h 303"/>
                <a:gd name="T26" fmla="*/ 3977 w 503"/>
                <a:gd name="T27" fmla="*/ 35040 h 303"/>
                <a:gd name="T28" fmla="*/ 0 w 503"/>
                <a:gd name="T29" fmla="*/ 31855 h 303"/>
                <a:gd name="T30" fmla="*/ 3977 w 503"/>
                <a:gd name="T31" fmla="*/ 25484 h 303"/>
                <a:gd name="T32" fmla="*/ 7158 w 503"/>
                <a:gd name="T33" fmla="*/ 19113 h 303"/>
                <a:gd name="T34" fmla="*/ 10339 w 503"/>
                <a:gd name="T35" fmla="*/ 15927 h 303"/>
                <a:gd name="T36" fmla="*/ 7158 w 503"/>
                <a:gd name="T37" fmla="*/ 6371 h 303"/>
                <a:gd name="T38" fmla="*/ 14316 w 503"/>
                <a:gd name="T39" fmla="*/ 3185 h 303"/>
                <a:gd name="T40" fmla="*/ 20679 w 503"/>
                <a:gd name="T41" fmla="*/ 3185 h 303"/>
                <a:gd name="T42" fmla="*/ 31018 w 503"/>
                <a:gd name="T43" fmla="*/ 6371 h 303"/>
                <a:gd name="T44" fmla="*/ 34994 w 503"/>
                <a:gd name="T45" fmla="*/ 6371 h 303"/>
                <a:gd name="T46" fmla="*/ 38176 w 503"/>
                <a:gd name="T47" fmla="*/ 6371 h 303"/>
                <a:gd name="T48" fmla="*/ 42152 w 503"/>
                <a:gd name="T49" fmla="*/ 6371 h 303"/>
                <a:gd name="T50" fmla="*/ 48515 w 503"/>
                <a:gd name="T51" fmla="*/ 6371 h 303"/>
                <a:gd name="T52" fmla="*/ 52492 w 503"/>
                <a:gd name="T53" fmla="*/ 0 h 303"/>
                <a:gd name="T54" fmla="*/ 55673 w 503"/>
                <a:gd name="T55" fmla="*/ 0 h 303"/>
                <a:gd name="T56" fmla="*/ 66012 w 503"/>
                <a:gd name="T57" fmla="*/ 0 h 303"/>
                <a:gd name="T58" fmla="*/ 69194 w 503"/>
                <a:gd name="T59" fmla="*/ 3185 h 303"/>
                <a:gd name="T60" fmla="*/ 66012 w 503"/>
                <a:gd name="T61" fmla="*/ 3185 h 303"/>
                <a:gd name="T62" fmla="*/ 69194 w 503"/>
                <a:gd name="T63" fmla="*/ 6371 h 303"/>
                <a:gd name="T64" fmla="*/ 73170 w 503"/>
                <a:gd name="T65" fmla="*/ 6371 h 303"/>
                <a:gd name="T66" fmla="*/ 76351 w 503"/>
                <a:gd name="T67" fmla="*/ 12742 h 303"/>
                <a:gd name="T68" fmla="*/ 79533 w 503"/>
                <a:gd name="T69" fmla="*/ 15927 h 303"/>
                <a:gd name="T70" fmla="*/ 83509 w 503"/>
                <a:gd name="T71" fmla="*/ 12742 h 303"/>
                <a:gd name="T72" fmla="*/ 100211 w 503"/>
                <a:gd name="T73" fmla="*/ 22298 h 303"/>
                <a:gd name="T74" fmla="*/ 97030 w 503"/>
                <a:gd name="T75" fmla="*/ 35040 h 303"/>
                <a:gd name="T76" fmla="*/ 93053 w 503"/>
                <a:gd name="T77" fmla="*/ 31855 h 303"/>
                <a:gd name="T78" fmla="*/ 89872 w 503"/>
                <a:gd name="T79" fmla="*/ 35040 h 303"/>
                <a:gd name="T80" fmla="*/ 89872 w 503"/>
                <a:gd name="T81" fmla="*/ 41411 h 303"/>
                <a:gd name="T82" fmla="*/ 86691 w 503"/>
                <a:gd name="T83" fmla="*/ 41411 h 303"/>
                <a:gd name="T84" fmla="*/ 69194 w 503"/>
                <a:gd name="T85" fmla="*/ 50968 h 303"/>
                <a:gd name="T86" fmla="*/ 76351 w 503"/>
                <a:gd name="T87" fmla="*/ 54153 h 303"/>
                <a:gd name="T88" fmla="*/ 79533 w 503"/>
                <a:gd name="T89" fmla="*/ 54153 h 303"/>
                <a:gd name="T90" fmla="*/ 76351 w 503"/>
                <a:gd name="T91" fmla="*/ 54153 h 303"/>
                <a:gd name="T92" fmla="*/ 66012 w 503"/>
                <a:gd name="T93" fmla="*/ 60524 h 303"/>
                <a:gd name="T94" fmla="*/ 62831 w 503"/>
                <a:gd name="T95" fmla="*/ 60524 h 303"/>
                <a:gd name="T96" fmla="*/ 62831 w 503"/>
                <a:gd name="T97" fmla="*/ 57339 h 303"/>
                <a:gd name="T98" fmla="*/ 58854 w 503"/>
                <a:gd name="T99" fmla="*/ 54153 h 303"/>
                <a:gd name="T100" fmla="*/ 66012 w 503"/>
                <a:gd name="T101" fmla="*/ 50968 h 303"/>
                <a:gd name="T102" fmla="*/ 55673 w 503"/>
                <a:gd name="T103" fmla="*/ 47782 h 303"/>
                <a:gd name="T104" fmla="*/ 55673 w 503"/>
                <a:gd name="T105" fmla="*/ 44597 h 303"/>
                <a:gd name="T106" fmla="*/ 48515 w 503"/>
                <a:gd name="T107" fmla="*/ 44597 h 303"/>
                <a:gd name="T108" fmla="*/ 45334 w 503"/>
                <a:gd name="T109" fmla="*/ 50968 h 303"/>
                <a:gd name="T110" fmla="*/ 42152 w 503"/>
                <a:gd name="T111" fmla="*/ 50968 h 303"/>
                <a:gd name="T112" fmla="*/ 42152 w 503"/>
                <a:gd name="T113" fmla="*/ 54153 h 3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03"/>
                <a:gd name="T172" fmla="*/ 0 h 303"/>
                <a:gd name="T173" fmla="*/ 503 w 503"/>
                <a:gd name="T174" fmla="*/ 303 h 3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03" h="303">
                  <a:moveTo>
                    <a:pt x="209" y="272"/>
                  </a:moveTo>
                  <a:lnTo>
                    <a:pt x="209" y="272"/>
                  </a:lnTo>
                  <a:lnTo>
                    <a:pt x="173" y="272"/>
                  </a:lnTo>
                  <a:lnTo>
                    <a:pt x="173" y="255"/>
                  </a:lnTo>
                  <a:lnTo>
                    <a:pt x="192" y="224"/>
                  </a:lnTo>
                  <a:lnTo>
                    <a:pt x="227" y="224"/>
                  </a:lnTo>
                  <a:lnTo>
                    <a:pt x="227" y="207"/>
                  </a:lnTo>
                  <a:lnTo>
                    <a:pt x="209" y="176"/>
                  </a:lnTo>
                  <a:lnTo>
                    <a:pt x="209" y="159"/>
                  </a:lnTo>
                  <a:lnTo>
                    <a:pt x="156" y="144"/>
                  </a:lnTo>
                  <a:lnTo>
                    <a:pt x="121" y="159"/>
                  </a:lnTo>
                  <a:lnTo>
                    <a:pt x="86" y="176"/>
                  </a:lnTo>
                  <a:lnTo>
                    <a:pt x="69" y="176"/>
                  </a:lnTo>
                  <a:lnTo>
                    <a:pt x="17" y="176"/>
                  </a:lnTo>
                  <a:lnTo>
                    <a:pt x="0" y="159"/>
                  </a:lnTo>
                  <a:lnTo>
                    <a:pt x="17" y="128"/>
                  </a:lnTo>
                  <a:lnTo>
                    <a:pt x="35" y="96"/>
                  </a:lnTo>
                  <a:lnTo>
                    <a:pt x="52" y="80"/>
                  </a:lnTo>
                  <a:lnTo>
                    <a:pt x="35" y="32"/>
                  </a:lnTo>
                  <a:lnTo>
                    <a:pt x="69" y="15"/>
                  </a:lnTo>
                  <a:lnTo>
                    <a:pt x="104" y="15"/>
                  </a:lnTo>
                  <a:lnTo>
                    <a:pt x="156" y="32"/>
                  </a:lnTo>
                  <a:lnTo>
                    <a:pt x="173" y="32"/>
                  </a:lnTo>
                  <a:lnTo>
                    <a:pt x="192" y="32"/>
                  </a:lnTo>
                  <a:lnTo>
                    <a:pt x="209" y="32"/>
                  </a:lnTo>
                  <a:lnTo>
                    <a:pt x="244" y="32"/>
                  </a:lnTo>
                  <a:lnTo>
                    <a:pt x="261" y="0"/>
                  </a:lnTo>
                  <a:lnTo>
                    <a:pt x="278" y="0"/>
                  </a:lnTo>
                  <a:lnTo>
                    <a:pt x="330" y="0"/>
                  </a:lnTo>
                  <a:lnTo>
                    <a:pt x="348" y="15"/>
                  </a:lnTo>
                  <a:lnTo>
                    <a:pt x="330" y="15"/>
                  </a:lnTo>
                  <a:lnTo>
                    <a:pt x="348" y="32"/>
                  </a:lnTo>
                  <a:lnTo>
                    <a:pt x="365" y="32"/>
                  </a:lnTo>
                  <a:lnTo>
                    <a:pt x="382" y="63"/>
                  </a:lnTo>
                  <a:lnTo>
                    <a:pt x="399" y="80"/>
                  </a:lnTo>
                  <a:lnTo>
                    <a:pt x="417" y="63"/>
                  </a:lnTo>
                  <a:lnTo>
                    <a:pt x="503" y="111"/>
                  </a:lnTo>
                  <a:lnTo>
                    <a:pt x="486" y="176"/>
                  </a:lnTo>
                  <a:lnTo>
                    <a:pt x="468" y="159"/>
                  </a:lnTo>
                  <a:lnTo>
                    <a:pt x="451" y="176"/>
                  </a:lnTo>
                  <a:lnTo>
                    <a:pt x="451" y="207"/>
                  </a:lnTo>
                  <a:lnTo>
                    <a:pt x="434" y="207"/>
                  </a:lnTo>
                  <a:lnTo>
                    <a:pt x="348" y="255"/>
                  </a:lnTo>
                  <a:lnTo>
                    <a:pt x="382" y="272"/>
                  </a:lnTo>
                  <a:lnTo>
                    <a:pt x="399" y="272"/>
                  </a:lnTo>
                  <a:lnTo>
                    <a:pt x="382" y="272"/>
                  </a:lnTo>
                  <a:lnTo>
                    <a:pt x="330" y="303"/>
                  </a:lnTo>
                  <a:lnTo>
                    <a:pt x="313" y="303"/>
                  </a:lnTo>
                  <a:lnTo>
                    <a:pt x="313" y="288"/>
                  </a:lnTo>
                  <a:lnTo>
                    <a:pt x="296" y="272"/>
                  </a:lnTo>
                  <a:lnTo>
                    <a:pt x="330" y="255"/>
                  </a:lnTo>
                  <a:lnTo>
                    <a:pt x="278" y="240"/>
                  </a:lnTo>
                  <a:lnTo>
                    <a:pt x="278" y="224"/>
                  </a:lnTo>
                  <a:lnTo>
                    <a:pt x="244" y="224"/>
                  </a:lnTo>
                  <a:lnTo>
                    <a:pt x="227" y="255"/>
                  </a:lnTo>
                  <a:lnTo>
                    <a:pt x="209" y="255"/>
                  </a:lnTo>
                  <a:lnTo>
                    <a:pt x="209" y="272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5" name="Freeform 223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1516759" y="3681732"/>
              <a:ext cx="276928" cy="195602"/>
            </a:xfrm>
            <a:custGeom>
              <a:avLst/>
              <a:gdLst>
                <a:gd name="T0" fmla="*/ 17463 w 190"/>
                <a:gd name="T1" fmla="*/ 0 h 111"/>
                <a:gd name="T2" fmla="*/ 17463 w 190"/>
                <a:gd name="T3" fmla="*/ 0 h 111"/>
                <a:gd name="T4" fmla="*/ 17463 w 190"/>
                <a:gd name="T5" fmla="*/ 9439 h 111"/>
                <a:gd name="T6" fmla="*/ 14288 w 190"/>
                <a:gd name="T7" fmla="*/ 9439 h 111"/>
                <a:gd name="T8" fmla="*/ 10319 w 190"/>
                <a:gd name="T9" fmla="*/ 9439 h 111"/>
                <a:gd name="T10" fmla="*/ 7144 w 190"/>
                <a:gd name="T11" fmla="*/ 2360 h 111"/>
                <a:gd name="T12" fmla="*/ 3969 w 190"/>
                <a:gd name="T13" fmla="*/ 5506 h 111"/>
                <a:gd name="T14" fmla="*/ 0 w 190"/>
                <a:gd name="T15" fmla="*/ 11799 h 111"/>
                <a:gd name="T16" fmla="*/ 0 w 190"/>
                <a:gd name="T17" fmla="*/ 18878 h 111"/>
                <a:gd name="T18" fmla="*/ 3969 w 190"/>
                <a:gd name="T19" fmla="*/ 14945 h 111"/>
                <a:gd name="T20" fmla="*/ 17463 w 190"/>
                <a:gd name="T21" fmla="*/ 14945 h 111"/>
                <a:gd name="T22" fmla="*/ 19844 w 190"/>
                <a:gd name="T23" fmla="*/ 14945 h 111"/>
                <a:gd name="T24" fmla="*/ 30956 w 190"/>
                <a:gd name="T25" fmla="*/ 21238 h 111"/>
                <a:gd name="T26" fmla="*/ 38100 w 190"/>
                <a:gd name="T27" fmla="*/ 14945 h 111"/>
                <a:gd name="T28" fmla="*/ 34925 w 190"/>
                <a:gd name="T29" fmla="*/ 9439 h 111"/>
                <a:gd name="T30" fmla="*/ 34925 w 190"/>
                <a:gd name="T31" fmla="*/ 5506 h 111"/>
                <a:gd name="T32" fmla="*/ 34925 w 190"/>
                <a:gd name="T33" fmla="*/ 2360 h 111"/>
                <a:gd name="T34" fmla="*/ 27781 w 190"/>
                <a:gd name="T35" fmla="*/ 2360 h 111"/>
                <a:gd name="T36" fmla="*/ 19844 w 190"/>
                <a:gd name="T37" fmla="*/ 0 h 111"/>
                <a:gd name="T38" fmla="*/ 17463 w 190"/>
                <a:gd name="T39" fmla="*/ 0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0"/>
                <a:gd name="T61" fmla="*/ 0 h 111"/>
                <a:gd name="T62" fmla="*/ 190 w 190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0" h="111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17" y="30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17" y="78"/>
                  </a:lnTo>
                  <a:lnTo>
                    <a:pt x="86" y="78"/>
                  </a:lnTo>
                  <a:lnTo>
                    <a:pt x="103" y="78"/>
                  </a:lnTo>
                  <a:lnTo>
                    <a:pt x="155" y="111"/>
                  </a:lnTo>
                  <a:lnTo>
                    <a:pt x="190" y="78"/>
                  </a:lnTo>
                  <a:lnTo>
                    <a:pt x="173" y="48"/>
                  </a:lnTo>
                  <a:lnTo>
                    <a:pt x="173" y="30"/>
                  </a:lnTo>
                  <a:lnTo>
                    <a:pt x="173" y="15"/>
                  </a:lnTo>
                  <a:lnTo>
                    <a:pt x="138" y="15"/>
                  </a:lnTo>
                  <a:lnTo>
                    <a:pt x="103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6" name="Freeform 224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1513845" y="3820429"/>
              <a:ext cx="227372" cy="202714"/>
            </a:xfrm>
            <a:custGeom>
              <a:avLst/>
              <a:gdLst>
                <a:gd name="T0" fmla="*/ 0 w 155"/>
                <a:gd name="T1" fmla="*/ 9609 h 113"/>
                <a:gd name="T2" fmla="*/ 0 w 155"/>
                <a:gd name="T3" fmla="*/ 9609 h 113"/>
                <a:gd name="T4" fmla="*/ 0 w 155"/>
                <a:gd name="T5" fmla="*/ 7207 h 113"/>
                <a:gd name="T6" fmla="*/ 0 w 155"/>
                <a:gd name="T7" fmla="*/ 4004 h 113"/>
                <a:gd name="T8" fmla="*/ 3994 w 155"/>
                <a:gd name="T9" fmla="*/ 0 h 113"/>
                <a:gd name="T10" fmla="*/ 17575 w 155"/>
                <a:gd name="T11" fmla="*/ 0 h 113"/>
                <a:gd name="T12" fmla="*/ 20771 w 155"/>
                <a:gd name="T13" fmla="*/ 0 h 113"/>
                <a:gd name="T14" fmla="*/ 31156 w 155"/>
                <a:gd name="T15" fmla="*/ 7207 h 113"/>
                <a:gd name="T16" fmla="*/ 31156 w 155"/>
                <a:gd name="T17" fmla="*/ 9609 h 113"/>
                <a:gd name="T18" fmla="*/ 24765 w 155"/>
                <a:gd name="T19" fmla="*/ 13613 h 113"/>
                <a:gd name="T20" fmla="*/ 24765 w 155"/>
                <a:gd name="T21" fmla="*/ 19219 h 113"/>
                <a:gd name="T22" fmla="*/ 20771 w 155"/>
                <a:gd name="T23" fmla="*/ 19219 h 113"/>
                <a:gd name="T24" fmla="*/ 14380 w 155"/>
                <a:gd name="T25" fmla="*/ 23223 h 113"/>
                <a:gd name="T26" fmla="*/ 10385 w 155"/>
                <a:gd name="T27" fmla="*/ 23223 h 113"/>
                <a:gd name="T28" fmla="*/ 7190 w 155"/>
                <a:gd name="T29" fmla="*/ 19219 h 113"/>
                <a:gd name="T30" fmla="*/ 7190 w 155"/>
                <a:gd name="T31" fmla="*/ 9609 h 113"/>
                <a:gd name="T32" fmla="*/ 0 w 155"/>
                <a:gd name="T33" fmla="*/ 9609 h 11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5"/>
                <a:gd name="T52" fmla="*/ 0 h 113"/>
                <a:gd name="T53" fmla="*/ 155 w 155"/>
                <a:gd name="T54" fmla="*/ 113 h 11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5" h="113">
                  <a:moveTo>
                    <a:pt x="0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86" y="0"/>
                  </a:lnTo>
                  <a:lnTo>
                    <a:pt x="103" y="0"/>
                  </a:lnTo>
                  <a:lnTo>
                    <a:pt x="155" y="33"/>
                  </a:lnTo>
                  <a:lnTo>
                    <a:pt x="155" y="48"/>
                  </a:lnTo>
                  <a:lnTo>
                    <a:pt x="121" y="66"/>
                  </a:lnTo>
                  <a:lnTo>
                    <a:pt x="121" y="96"/>
                  </a:lnTo>
                  <a:lnTo>
                    <a:pt x="103" y="96"/>
                  </a:lnTo>
                  <a:lnTo>
                    <a:pt x="69" y="113"/>
                  </a:lnTo>
                  <a:lnTo>
                    <a:pt x="52" y="113"/>
                  </a:lnTo>
                  <a:lnTo>
                    <a:pt x="34" y="96"/>
                  </a:lnTo>
                  <a:lnTo>
                    <a:pt x="34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7" name="Freeform 225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1618785" y="3564369"/>
              <a:ext cx="174903" cy="142255"/>
            </a:xfrm>
            <a:custGeom>
              <a:avLst/>
              <a:gdLst>
                <a:gd name="T0" fmla="*/ 3149 w 121"/>
                <a:gd name="T1" fmla="*/ 12543 h 81"/>
                <a:gd name="T2" fmla="*/ 3149 w 121"/>
                <a:gd name="T3" fmla="*/ 12543 h 81"/>
                <a:gd name="T4" fmla="*/ 0 w 121"/>
                <a:gd name="T5" fmla="*/ 9407 h 81"/>
                <a:gd name="T6" fmla="*/ 0 w 121"/>
                <a:gd name="T7" fmla="*/ 3136 h 81"/>
                <a:gd name="T8" fmla="*/ 3149 w 121"/>
                <a:gd name="T9" fmla="*/ 0 h 81"/>
                <a:gd name="T10" fmla="*/ 10233 w 121"/>
                <a:gd name="T11" fmla="*/ 0 h 81"/>
                <a:gd name="T12" fmla="*/ 23616 w 121"/>
                <a:gd name="T13" fmla="*/ 0 h 81"/>
                <a:gd name="T14" fmla="*/ 20467 w 121"/>
                <a:gd name="T15" fmla="*/ 3136 h 81"/>
                <a:gd name="T16" fmla="*/ 16531 w 121"/>
                <a:gd name="T17" fmla="*/ 3136 h 81"/>
                <a:gd name="T18" fmla="*/ 20467 w 121"/>
                <a:gd name="T19" fmla="*/ 12543 h 81"/>
                <a:gd name="T20" fmla="*/ 20467 w 121"/>
                <a:gd name="T21" fmla="*/ 15679 h 81"/>
                <a:gd name="T22" fmla="*/ 13382 w 121"/>
                <a:gd name="T23" fmla="*/ 15679 h 81"/>
                <a:gd name="T24" fmla="*/ 6298 w 121"/>
                <a:gd name="T25" fmla="*/ 12543 h 81"/>
                <a:gd name="T26" fmla="*/ 3149 w 121"/>
                <a:gd name="T27" fmla="*/ 12543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81"/>
                <a:gd name="T44" fmla="*/ 121 w 121"/>
                <a:gd name="T45" fmla="*/ 81 h 8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81">
                  <a:moveTo>
                    <a:pt x="17" y="66"/>
                  </a:moveTo>
                  <a:lnTo>
                    <a:pt x="17" y="66"/>
                  </a:lnTo>
                  <a:lnTo>
                    <a:pt x="0" y="48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04" y="18"/>
                  </a:lnTo>
                  <a:lnTo>
                    <a:pt x="86" y="18"/>
                  </a:lnTo>
                  <a:lnTo>
                    <a:pt x="104" y="66"/>
                  </a:lnTo>
                  <a:lnTo>
                    <a:pt x="104" y="81"/>
                  </a:lnTo>
                  <a:lnTo>
                    <a:pt x="69" y="81"/>
                  </a:lnTo>
                  <a:lnTo>
                    <a:pt x="34" y="66"/>
                  </a:lnTo>
                  <a:lnTo>
                    <a:pt x="17" y="66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8" name="Freeform 226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1709150" y="4389448"/>
              <a:ext cx="151581" cy="199157"/>
            </a:xfrm>
            <a:custGeom>
              <a:avLst/>
              <a:gdLst>
                <a:gd name="T0" fmla="*/ 0 w 104"/>
                <a:gd name="T1" fmla="*/ 3204 h 111"/>
                <a:gd name="T2" fmla="*/ 0 w 104"/>
                <a:gd name="T3" fmla="*/ 3204 h 111"/>
                <a:gd name="T4" fmla="*/ 3969 w 104"/>
                <a:gd name="T5" fmla="*/ 3204 h 111"/>
                <a:gd name="T6" fmla="*/ 10319 w 104"/>
                <a:gd name="T7" fmla="*/ 12814 h 111"/>
                <a:gd name="T8" fmla="*/ 10319 w 104"/>
                <a:gd name="T9" fmla="*/ 22425 h 111"/>
                <a:gd name="T10" fmla="*/ 14288 w 104"/>
                <a:gd name="T11" fmla="*/ 16018 h 111"/>
                <a:gd name="T12" fmla="*/ 20638 w 104"/>
                <a:gd name="T13" fmla="*/ 16018 h 111"/>
                <a:gd name="T14" fmla="*/ 20638 w 104"/>
                <a:gd name="T15" fmla="*/ 12814 h 111"/>
                <a:gd name="T16" fmla="*/ 17463 w 104"/>
                <a:gd name="T17" fmla="*/ 6407 h 111"/>
                <a:gd name="T18" fmla="*/ 17463 w 104"/>
                <a:gd name="T19" fmla="*/ 3204 h 111"/>
                <a:gd name="T20" fmla="*/ 7144 w 104"/>
                <a:gd name="T21" fmla="*/ 0 h 111"/>
                <a:gd name="T22" fmla="*/ 0 w 104"/>
                <a:gd name="T23" fmla="*/ 3204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9" name="Freeform 227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1455544" y="4417897"/>
              <a:ext cx="381869" cy="312961"/>
            </a:xfrm>
            <a:custGeom>
              <a:avLst/>
              <a:gdLst>
                <a:gd name="T0" fmla="*/ 7171 w 261"/>
                <a:gd name="T1" fmla="*/ 25257 h 177"/>
                <a:gd name="T2" fmla="*/ 7171 w 261"/>
                <a:gd name="T3" fmla="*/ 25257 h 177"/>
                <a:gd name="T4" fmla="*/ 14342 w 261"/>
                <a:gd name="T5" fmla="*/ 25257 h 177"/>
                <a:gd name="T6" fmla="*/ 14342 w 261"/>
                <a:gd name="T7" fmla="*/ 28414 h 177"/>
                <a:gd name="T8" fmla="*/ 17529 w 261"/>
                <a:gd name="T9" fmla="*/ 31571 h 177"/>
                <a:gd name="T10" fmla="*/ 20717 w 261"/>
                <a:gd name="T11" fmla="*/ 31571 h 177"/>
                <a:gd name="T12" fmla="*/ 31075 w 261"/>
                <a:gd name="T13" fmla="*/ 34728 h 177"/>
                <a:gd name="T14" fmla="*/ 38246 w 261"/>
                <a:gd name="T15" fmla="*/ 28414 h 177"/>
                <a:gd name="T16" fmla="*/ 48604 w 261"/>
                <a:gd name="T17" fmla="*/ 31571 h 177"/>
                <a:gd name="T18" fmla="*/ 48604 w 261"/>
                <a:gd name="T19" fmla="*/ 28414 h 177"/>
                <a:gd name="T20" fmla="*/ 52588 w 261"/>
                <a:gd name="T21" fmla="*/ 25257 h 177"/>
                <a:gd name="T22" fmla="*/ 52588 w 261"/>
                <a:gd name="T23" fmla="*/ 22099 h 177"/>
                <a:gd name="T24" fmla="*/ 45417 w 261"/>
                <a:gd name="T25" fmla="*/ 22099 h 177"/>
                <a:gd name="T26" fmla="*/ 45417 w 261"/>
                <a:gd name="T27" fmla="*/ 18942 h 177"/>
                <a:gd name="T28" fmla="*/ 45417 w 261"/>
                <a:gd name="T29" fmla="*/ 9471 h 177"/>
                <a:gd name="T30" fmla="*/ 38246 w 261"/>
                <a:gd name="T31" fmla="*/ 0 h 177"/>
                <a:gd name="T32" fmla="*/ 35059 w 261"/>
                <a:gd name="T33" fmla="*/ 0 h 177"/>
                <a:gd name="T34" fmla="*/ 27888 w 261"/>
                <a:gd name="T35" fmla="*/ 3157 h 177"/>
                <a:gd name="T36" fmla="*/ 24701 w 261"/>
                <a:gd name="T37" fmla="*/ 3157 h 177"/>
                <a:gd name="T38" fmla="*/ 14342 w 261"/>
                <a:gd name="T39" fmla="*/ 3157 h 177"/>
                <a:gd name="T40" fmla="*/ 10358 w 261"/>
                <a:gd name="T41" fmla="*/ 3157 h 177"/>
                <a:gd name="T42" fmla="*/ 7171 w 261"/>
                <a:gd name="T43" fmla="*/ 15785 h 177"/>
                <a:gd name="T44" fmla="*/ 0 w 261"/>
                <a:gd name="T45" fmla="*/ 15785 h 177"/>
                <a:gd name="T46" fmla="*/ 7171 w 261"/>
                <a:gd name="T47" fmla="*/ 25257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0" name="Freeform 228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1455544" y="4844662"/>
              <a:ext cx="253609" cy="227607"/>
            </a:xfrm>
            <a:custGeom>
              <a:avLst/>
              <a:gdLst>
                <a:gd name="T0" fmla="*/ 6314 w 175"/>
                <a:gd name="T1" fmla="*/ 3175 h 128"/>
                <a:gd name="T2" fmla="*/ 6314 w 175"/>
                <a:gd name="T3" fmla="*/ 3175 h 128"/>
                <a:gd name="T4" fmla="*/ 17363 w 175"/>
                <a:gd name="T5" fmla="*/ 0 h 128"/>
                <a:gd name="T6" fmla="*/ 23677 w 175"/>
                <a:gd name="T7" fmla="*/ 0 h 128"/>
                <a:gd name="T8" fmla="*/ 30779 w 175"/>
                <a:gd name="T9" fmla="*/ 3175 h 128"/>
                <a:gd name="T10" fmla="*/ 33936 w 175"/>
                <a:gd name="T11" fmla="*/ 0 h 128"/>
                <a:gd name="T12" fmla="*/ 30779 w 175"/>
                <a:gd name="T13" fmla="*/ 6350 h 128"/>
                <a:gd name="T14" fmla="*/ 23677 w 175"/>
                <a:gd name="T15" fmla="*/ 3175 h 128"/>
                <a:gd name="T16" fmla="*/ 20520 w 175"/>
                <a:gd name="T17" fmla="*/ 6350 h 128"/>
                <a:gd name="T18" fmla="*/ 20520 w 175"/>
                <a:gd name="T19" fmla="*/ 9525 h 128"/>
                <a:gd name="T20" fmla="*/ 17363 w 175"/>
                <a:gd name="T21" fmla="*/ 9525 h 128"/>
                <a:gd name="T22" fmla="*/ 13417 w 175"/>
                <a:gd name="T23" fmla="*/ 6350 h 128"/>
                <a:gd name="T24" fmla="*/ 13417 w 175"/>
                <a:gd name="T25" fmla="*/ 9525 h 128"/>
                <a:gd name="T26" fmla="*/ 17363 w 175"/>
                <a:gd name="T27" fmla="*/ 15875 h 128"/>
                <a:gd name="T28" fmla="*/ 23677 w 175"/>
                <a:gd name="T29" fmla="*/ 22225 h 128"/>
                <a:gd name="T30" fmla="*/ 20520 w 175"/>
                <a:gd name="T31" fmla="*/ 22225 h 128"/>
                <a:gd name="T32" fmla="*/ 20520 w 175"/>
                <a:gd name="T33" fmla="*/ 25400 h 128"/>
                <a:gd name="T34" fmla="*/ 13417 w 175"/>
                <a:gd name="T35" fmla="*/ 22225 h 128"/>
                <a:gd name="T36" fmla="*/ 6314 w 175"/>
                <a:gd name="T37" fmla="*/ 22225 h 128"/>
                <a:gd name="T38" fmla="*/ 0 w 175"/>
                <a:gd name="T39" fmla="*/ 12700 h 128"/>
                <a:gd name="T40" fmla="*/ 6314 w 175"/>
                <a:gd name="T41" fmla="*/ 6350 h 128"/>
                <a:gd name="T42" fmla="*/ 6314 w 175"/>
                <a:gd name="T43" fmla="*/ 3175 h 12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5"/>
                <a:gd name="T67" fmla="*/ 0 h 128"/>
                <a:gd name="T68" fmla="*/ 175 w 175"/>
                <a:gd name="T69" fmla="*/ 128 h 12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5" h="128">
                  <a:moveTo>
                    <a:pt x="35" y="17"/>
                  </a:moveTo>
                  <a:lnTo>
                    <a:pt x="35" y="17"/>
                  </a:lnTo>
                  <a:lnTo>
                    <a:pt x="89" y="0"/>
                  </a:lnTo>
                  <a:lnTo>
                    <a:pt x="123" y="0"/>
                  </a:lnTo>
                  <a:lnTo>
                    <a:pt x="158" y="17"/>
                  </a:lnTo>
                  <a:lnTo>
                    <a:pt x="175" y="0"/>
                  </a:lnTo>
                  <a:lnTo>
                    <a:pt x="158" y="33"/>
                  </a:lnTo>
                  <a:lnTo>
                    <a:pt x="123" y="17"/>
                  </a:lnTo>
                  <a:lnTo>
                    <a:pt x="106" y="33"/>
                  </a:lnTo>
                  <a:lnTo>
                    <a:pt x="106" y="48"/>
                  </a:lnTo>
                  <a:lnTo>
                    <a:pt x="89" y="48"/>
                  </a:lnTo>
                  <a:lnTo>
                    <a:pt x="69" y="33"/>
                  </a:lnTo>
                  <a:lnTo>
                    <a:pt x="69" y="48"/>
                  </a:lnTo>
                  <a:lnTo>
                    <a:pt x="89" y="81"/>
                  </a:lnTo>
                  <a:lnTo>
                    <a:pt x="123" y="113"/>
                  </a:lnTo>
                  <a:lnTo>
                    <a:pt x="106" y="113"/>
                  </a:lnTo>
                  <a:lnTo>
                    <a:pt x="106" y="128"/>
                  </a:lnTo>
                  <a:lnTo>
                    <a:pt x="69" y="113"/>
                  </a:lnTo>
                  <a:lnTo>
                    <a:pt x="35" y="113"/>
                  </a:lnTo>
                  <a:lnTo>
                    <a:pt x="0" y="65"/>
                  </a:lnTo>
                  <a:lnTo>
                    <a:pt x="35" y="33"/>
                  </a:lnTo>
                  <a:lnTo>
                    <a:pt x="35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1" name="Freeform 230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1228171" y="3937790"/>
              <a:ext cx="378952" cy="426765"/>
            </a:xfrm>
            <a:custGeom>
              <a:avLst/>
              <a:gdLst>
                <a:gd name="T0" fmla="*/ 44622 w 259"/>
                <a:gd name="T1" fmla="*/ 47824 h 239"/>
                <a:gd name="T2" fmla="*/ 44622 w 259"/>
                <a:gd name="T3" fmla="*/ 47824 h 239"/>
                <a:gd name="T4" fmla="*/ 48606 w 259"/>
                <a:gd name="T5" fmla="*/ 41448 h 239"/>
                <a:gd name="T6" fmla="*/ 51793 w 259"/>
                <a:gd name="T7" fmla="*/ 38259 h 239"/>
                <a:gd name="T8" fmla="*/ 48606 w 259"/>
                <a:gd name="T9" fmla="*/ 28695 h 239"/>
                <a:gd name="T10" fmla="*/ 48606 w 259"/>
                <a:gd name="T11" fmla="*/ 22318 h 239"/>
                <a:gd name="T12" fmla="*/ 51793 w 259"/>
                <a:gd name="T13" fmla="*/ 15941 h 239"/>
                <a:gd name="T14" fmla="*/ 48606 w 259"/>
                <a:gd name="T15" fmla="*/ 9565 h 239"/>
                <a:gd name="T16" fmla="*/ 44622 w 259"/>
                <a:gd name="T17" fmla="*/ 6377 h 239"/>
                <a:gd name="T18" fmla="*/ 38247 w 259"/>
                <a:gd name="T19" fmla="*/ 6377 h 239"/>
                <a:gd name="T20" fmla="*/ 27889 w 259"/>
                <a:gd name="T21" fmla="*/ 3188 h 239"/>
                <a:gd name="T22" fmla="*/ 27889 w 259"/>
                <a:gd name="T23" fmla="*/ 6377 h 239"/>
                <a:gd name="T24" fmla="*/ 24701 w 259"/>
                <a:gd name="T25" fmla="*/ 6377 h 239"/>
                <a:gd name="T26" fmla="*/ 20717 w 259"/>
                <a:gd name="T27" fmla="*/ 0 h 239"/>
                <a:gd name="T28" fmla="*/ 0 w 259"/>
                <a:gd name="T29" fmla="*/ 9565 h 239"/>
                <a:gd name="T30" fmla="*/ 3984 w 259"/>
                <a:gd name="T31" fmla="*/ 35071 h 239"/>
                <a:gd name="T32" fmla="*/ 3984 w 259"/>
                <a:gd name="T33" fmla="*/ 31883 h 239"/>
                <a:gd name="T34" fmla="*/ 7171 w 259"/>
                <a:gd name="T35" fmla="*/ 35071 h 239"/>
                <a:gd name="T36" fmla="*/ 14343 w 259"/>
                <a:gd name="T37" fmla="*/ 38259 h 239"/>
                <a:gd name="T38" fmla="*/ 17530 w 259"/>
                <a:gd name="T39" fmla="*/ 38259 h 239"/>
                <a:gd name="T40" fmla="*/ 24701 w 259"/>
                <a:gd name="T41" fmla="*/ 44636 h 239"/>
                <a:gd name="T42" fmla="*/ 27889 w 259"/>
                <a:gd name="T43" fmla="*/ 44636 h 239"/>
                <a:gd name="T44" fmla="*/ 31076 w 259"/>
                <a:gd name="T45" fmla="*/ 47824 h 239"/>
                <a:gd name="T46" fmla="*/ 38247 w 259"/>
                <a:gd name="T47" fmla="*/ 44636 h 239"/>
                <a:gd name="T48" fmla="*/ 44622 w 259"/>
                <a:gd name="T49" fmla="*/ 47824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9"/>
                <a:gd name="T76" fmla="*/ 0 h 239"/>
                <a:gd name="T77" fmla="*/ 259 w 259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9" h="239">
                  <a:moveTo>
                    <a:pt x="224" y="239"/>
                  </a:moveTo>
                  <a:lnTo>
                    <a:pt x="224" y="239"/>
                  </a:lnTo>
                  <a:lnTo>
                    <a:pt x="242" y="207"/>
                  </a:lnTo>
                  <a:lnTo>
                    <a:pt x="259" y="191"/>
                  </a:lnTo>
                  <a:lnTo>
                    <a:pt x="242" y="143"/>
                  </a:lnTo>
                  <a:lnTo>
                    <a:pt x="242" y="111"/>
                  </a:lnTo>
                  <a:lnTo>
                    <a:pt x="259" y="78"/>
                  </a:lnTo>
                  <a:lnTo>
                    <a:pt x="242" y="47"/>
                  </a:lnTo>
                  <a:lnTo>
                    <a:pt x="224" y="30"/>
                  </a:lnTo>
                  <a:lnTo>
                    <a:pt x="190" y="30"/>
                  </a:lnTo>
                  <a:lnTo>
                    <a:pt x="138" y="15"/>
                  </a:lnTo>
                  <a:lnTo>
                    <a:pt x="138" y="30"/>
                  </a:lnTo>
                  <a:lnTo>
                    <a:pt x="121" y="30"/>
                  </a:lnTo>
                  <a:lnTo>
                    <a:pt x="103" y="0"/>
                  </a:lnTo>
                  <a:lnTo>
                    <a:pt x="0" y="47"/>
                  </a:lnTo>
                  <a:lnTo>
                    <a:pt x="17" y="174"/>
                  </a:lnTo>
                  <a:lnTo>
                    <a:pt x="17" y="159"/>
                  </a:lnTo>
                  <a:lnTo>
                    <a:pt x="34" y="174"/>
                  </a:lnTo>
                  <a:lnTo>
                    <a:pt x="69" y="191"/>
                  </a:lnTo>
                  <a:lnTo>
                    <a:pt x="86" y="191"/>
                  </a:lnTo>
                  <a:lnTo>
                    <a:pt x="121" y="222"/>
                  </a:lnTo>
                  <a:lnTo>
                    <a:pt x="138" y="222"/>
                  </a:lnTo>
                  <a:lnTo>
                    <a:pt x="155" y="239"/>
                  </a:lnTo>
                  <a:lnTo>
                    <a:pt x="190" y="222"/>
                  </a:lnTo>
                  <a:lnTo>
                    <a:pt x="224" y="239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2" name="Freeform 231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432224" y="4791318"/>
              <a:ext cx="75791" cy="170706"/>
            </a:xfrm>
            <a:custGeom>
              <a:avLst/>
              <a:gdLst>
                <a:gd name="T0" fmla="*/ 0 w 52"/>
                <a:gd name="T1" fmla="*/ 0 h 96"/>
                <a:gd name="T2" fmla="*/ 0 w 52"/>
                <a:gd name="T3" fmla="*/ 0 h 96"/>
                <a:gd name="T4" fmla="*/ 3969 w 52"/>
                <a:gd name="T5" fmla="*/ 0 h 96"/>
                <a:gd name="T6" fmla="*/ 7144 w 52"/>
                <a:gd name="T7" fmla="*/ 3175 h 96"/>
                <a:gd name="T8" fmla="*/ 7144 w 52"/>
                <a:gd name="T9" fmla="*/ 5556 h 96"/>
                <a:gd name="T10" fmla="*/ 10319 w 52"/>
                <a:gd name="T11" fmla="*/ 9525 h 96"/>
                <a:gd name="T12" fmla="*/ 10319 w 52"/>
                <a:gd name="T13" fmla="*/ 12700 h 96"/>
                <a:gd name="T14" fmla="*/ 3969 w 52"/>
                <a:gd name="T15" fmla="*/ 19050 h 96"/>
                <a:gd name="T16" fmla="*/ 0 w 52"/>
                <a:gd name="T17" fmla="*/ 15875 h 96"/>
                <a:gd name="T18" fmla="*/ 0 w 52"/>
                <a:gd name="T19" fmla="*/ 5556 h 96"/>
                <a:gd name="T20" fmla="*/ 0 w 52"/>
                <a:gd name="T21" fmla="*/ 3175 h 96"/>
                <a:gd name="T22" fmla="*/ 0 w 5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96"/>
                <a:gd name="T38" fmla="*/ 52 w 5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96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52" y="48"/>
                  </a:lnTo>
                  <a:lnTo>
                    <a:pt x="52" y="64"/>
                  </a:lnTo>
                  <a:lnTo>
                    <a:pt x="17" y="96"/>
                  </a:lnTo>
                  <a:lnTo>
                    <a:pt x="0" y="79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3" name="Freeform 232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303963" y="4389448"/>
              <a:ext cx="256523" cy="199157"/>
            </a:xfrm>
            <a:custGeom>
              <a:avLst/>
              <a:gdLst>
                <a:gd name="T0" fmla="*/ 14452 w 174"/>
                <a:gd name="T1" fmla="*/ 22425 h 111"/>
                <a:gd name="T2" fmla="*/ 14452 w 174"/>
                <a:gd name="T3" fmla="*/ 22425 h 111"/>
                <a:gd name="T4" fmla="*/ 20875 w 174"/>
                <a:gd name="T5" fmla="*/ 19222 h 111"/>
                <a:gd name="T6" fmla="*/ 28903 w 174"/>
                <a:gd name="T7" fmla="*/ 19222 h 111"/>
                <a:gd name="T8" fmla="*/ 32115 w 174"/>
                <a:gd name="T9" fmla="*/ 6407 h 111"/>
                <a:gd name="T10" fmla="*/ 36129 w 174"/>
                <a:gd name="T11" fmla="*/ 6407 h 111"/>
                <a:gd name="T12" fmla="*/ 32115 w 174"/>
                <a:gd name="T13" fmla="*/ 3204 h 111"/>
                <a:gd name="T14" fmla="*/ 24889 w 174"/>
                <a:gd name="T15" fmla="*/ 0 h 111"/>
                <a:gd name="T16" fmla="*/ 10437 w 174"/>
                <a:gd name="T17" fmla="*/ 6407 h 111"/>
                <a:gd name="T18" fmla="*/ 4014 w 174"/>
                <a:gd name="T19" fmla="*/ 6407 h 111"/>
                <a:gd name="T20" fmla="*/ 0 w 174"/>
                <a:gd name="T21" fmla="*/ 12814 h 111"/>
                <a:gd name="T22" fmla="*/ 0 w 174"/>
                <a:gd name="T23" fmla="*/ 16018 h 111"/>
                <a:gd name="T24" fmla="*/ 10437 w 174"/>
                <a:gd name="T25" fmla="*/ 22425 h 111"/>
                <a:gd name="T26" fmla="*/ 14452 w 174"/>
                <a:gd name="T27" fmla="*/ 22425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4"/>
                <a:gd name="T43" fmla="*/ 0 h 111"/>
                <a:gd name="T44" fmla="*/ 174 w 174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4" h="111">
                  <a:moveTo>
                    <a:pt x="69" y="111"/>
                  </a:moveTo>
                  <a:lnTo>
                    <a:pt x="69" y="111"/>
                  </a:lnTo>
                  <a:lnTo>
                    <a:pt x="103" y="96"/>
                  </a:lnTo>
                  <a:lnTo>
                    <a:pt x="140" y="96"/>
                  </a:lnTo>
                  <a:lnTo>
                    <a:pt x="157" y="32"/>
                  </a:lnTo>
                  <a:lnTo>
                    <a:pt x="174" y="32"/>
                  </a:lnTo>
                  <a:lnTo>
                    <a:pt x="157" y="15"/>
                  </a:lnTo>
                  <a:lnTo>
                    <a:pt x="121" y="0"/>
                  </a:lnTo>
                  <a:lnTo>
                    <a:pt x="51" y="32"/>
                  </a:lnTo>
                  <a:lnTo>
                    <a:pt x="17" y="32"/>
                  </a:lnTo>
                  <a:lnTo>
                    <a:pt x="0" y="63"/>
                  </a:lnTo>
                  <a:lnTo>
                    <a:pt x="0" y="80"/>
                  </a:lnTo>
                  <a:lnTo>
                    <a:pt x="51" y="111"/>
                  </a:lnTo>
                  <a:lnTo>
                    <a:pt x="69" y="111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4" name="Freeform 233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283557" y="4588604"/>
              <a:ext cx="148667" cy="170706"/>
            </a:xfrm>
            <a:custGeom>
              <a:avLst/>
              <a:gdLst>
                <a:gd name="T0" fmla="*/ 16348 w 104"/>
                <a:gd name="T1" fmla="*/ 19050 h 96"/>
                <a:gd name="T2" fmla="*/ 16348 w 104"/>
                <a:gd name="T3" fmla="*/ 19050 h 96"/>
                <a:gd name="T4" fmla="*/ 13234 w 104"/>
                <a:gd name="T5" fmla="*/ 19050 h 96"/>
                <a:gd name="T6" fmla="*/ 16348 w 104"/>
                <a:gd name="T7" fmla="*/ 16669 h 96"/>
                <a:gd name="T8" fmla="*/ 19462 w 104"/>
                <a:gd name="T9" fmla="*/ 16669 h 96"/>
                <a:gd name="T10" fmla="*/ 19462 w 104"/>
                <a:gd name="T11" fmla="*/ 13494 h 96"/>
                <a:gd name="T12" fmla="*/ 19462 w 104"/>
                <a:gd name="T13" fmla="*/ 9525 h 96"/>
                <a:gd name="T14" fmla="*/ 19462 w 104"/>
                <a:gd name="T15" fmla="*/ 7144 h 96"/>
                <a:gd name="T16" fmla="*/ 16348 w 104"/>
                <a:gd name="T17" fmla="*/ 7144 h 96"/>
                <a:gd name="T18" fmla="*/ 16348 w 104"/>
                <a:gd name="T19" fmla="*/ 3969 h 96"/>
                <a:gd name="T20" fmla="*/ 6228 w 104"/>
                <a:gd name="T21" fmla="*/ 0 h 96"/>
                <a:gd name="T22" fmla="*/ 3114 w 104"/>
                <a:gd name="T23" fmla="*/ 3969 h 96"/>
                <a:gd name="T24" fmla="*/ 3114 w 104"/>
                <a:gd name="T25" fmla="*/ 0 h 96"/>
                <a:gd name="T26" fmla="*/ 0 w 104"/>
                <a:gd name="T27" fmla="*/ 3969 h 96"/>
                <a:gd name="T28" fmla="*/ 3114 w 104"/>
                <a:gd name="T29" fmla="*/ 7144 h 96"/>
                <a:gd name="T30" fmla="*/ 10120 w 104"/>
                <a:gd name="T31" fmla="*/ 16669 h 96"/>
                <a:gd name="T32" fmla="*/ 16348 w 104"/>
                <a:gd name="T33" fmla="*/ 19050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96"/>
                <a:gd name="T53" fmla="*/ 104 w 104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96">
                  <a:moveTo>
                    <a:pt x="87" y="96"/>
                  </a:moveTo>
                  <a:lnTo>
                    <a:pt x="87" y="96"/>
                  </a:lnTo>
                  <a:lnTo>
                    <a:pt x="69" y="96"/>
                  </a:lnTo>
                  <a:lnTo>
                    <a:pt x="87" y="81"/>
                  </a:lnTo>
                  <a:lnTo>
                    <a:pt x="104" y="81"/>
                  </a:lnTo>
                  <a:lnTo>
                    <a:pt x="104" y="65"/>
                  </a:lnTo>
                  <a:lnTo>
                    <a:pt x="104" y="48"/>
                  </a:lnTo>
                  <a:lnTo>
                    <a:pt x="104" y="33"/>
                  </a:lnTo>
                  <a:lnTo>
                    <a:pt x="87" y="33"/>
                  </a:lnTo>
                  <a:lnTo>
                    <a:pt x="87" y="17"/>
                  </a:lnTo>
                  <a:lnTo>
                    <a:pt x="35" y="0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18" y="33"/>
                  </a:lnTo>
                  <a:lnTo>
                    <a:pt x="52" y="81"/>
                  </a:lnTo>
                  <a:lnTo>
                    <a:pt x="87" y="96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5" name="Freeform 234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1408905" y="4560153"/>
              <a:ext cx="174903" cy="256059"/>
            </a:xfrm>
            <a:custGeom>
              <a:avLst/>
              <a:gdLst>
                <a:gd name="T0" fmla="*/ 3149 w 121"/>
                <a:gd name="T1" fmla="*/ 9525 h 144"/>
                <a:gd name="T2" fmla="*/ 3149 w 121"/>
                <a:gd name="T3" fmla="*/ 9525 h 144"/>
                <a:gd name="T4" fmla="*/ 3149 w 121"/>
                <a:gd name="T5" fmla="*/ 6350 h 144"/>
                <a:gd name="T6" fmla="*/ 0 w 121"/>
                <a:gd name="T7" fmla="*/ 2381 h 144"/>
                <a:gd name="T8" fmla="*/ 6298 w 121"/>
                <a:gd name="T9" fmla="*/ 0 h 144"/>
                <a:gd name="T10" fmla="*/ 13382 w 121"/>
                <a:gd name="T11" fmla="*/ 9525 h 144"/>
                <a:gd name="T12" fmla="*/ 19680 w 121"/>
                <a:gd name="T13" fmla="*/ 9525 h 144"/>
                <a:gd name="T14" fmla="*/ 19680 w 121"/>
                <a:gd name="T15" fmla="*/ 11906 h 144"/>
                <a:gd name="T16" fmla="*/ 19680 w 121"/>
                <a:gd name="T17" fmla="*/ 15875 h 144"/>
                <a:gd name="T18" fmla="*/ 23616 w 121"/>
                <a:gd name="T19" fmla="*/ 21431 h 144"/>
                <a:gd name="T20" fmla="*/ 19680 w 121"/>
                <a:gd name="T21" fmla="*/ 25400 h 144"/>
                <a:gd name="T22" fmla="*/ 13382 w 121"/>
                <a:gd name="T23" fmla="*/ 25400 h 144"/>
                <a:gd name="T24" fmla="*/ 9446 w 121"/>
                <a:gd name="T25" fmla="*/ 28575 h 144"/>
                <a:gd name="T26" fmla="*/ 6298 w 121"/>
                <a:gd name="T27" fmla="*/ 25400 h 144"/>
                <a:gd name="T28" fmla="*/ 6298 w 121"/>
                <a:gd name="T29" fmla="*/ 21431 h 144"/>
                <a:gd name="T30" fmla="*/ 3149 w 121"/>
                <a:gd name="T31" fmla="*/ 19050 h 144"/>
                <a:gd name="T32" fmla="*/ 3149 w 121"/>
                <a:gd name="T33" fmla="*/ 15875 h 144"/>
                <a:gd name="T34" fmla="*/ 3149 w 121"/>
                <a:gd name="T35" fmla="*/ 11906 h 144"/>
                <a:gd name="T36" fmla="*/ 3149 w 121"/>
                <a:gd name="T37" fmla="*/ 9525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44"/>
                <a:gd name="T59" fmla="*/ 121 w 121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44">
                  <a:moveTo>
                    <a:pt x="17" y="48"/>
                  </a:moveTo>
                  <a:lnTo>
                    <a:pt x="17" y="48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34" y="0"/>
                  </a:lnTo>
                  <a:lnTo>
                    <a:pt x="69" y="48"/>
                  </a:lnTo>
                  <a:lnTo>
                    <a:pt x="103" y="48"/>
                  </a:lnTo>
                  <a:lnTo>
                    <a:pt x="103" y="63"/>
                  </a:lnTo>
                  <a:lnTo>
                    <a:pt x="103" y="80"/>
                  </a:lnTo>
                  <a:lnTo>
                    <a:pt x="121" y="111"/>
                  </a:lnTo>
                  <a:lnTo>
                    <a:pt x="103" y="128"/>
                  </a:lnTo>
                  <a:lnTo>
                    <a:pt x="69" y="128"/>
                  </a:lnTo>
                  <a:lnTo>
                    <a:pt x="51" y="144"/>
                  </a:lnTo>
                  <a:lnTo>
                    <a:pt x="34" y="128"/>
                  </a:lnTo>
                  <a:lnTo>
                    <a:pt x="34" y="111"/>
                  </a:lnTo>
                  <a:lnTo>
                    <a:pt x="17" y="96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17" y="48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6" name="Freeform 236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1131977" y="4218741"/>
              <a:ext cx="274012" cy="170706"/>
            </a:xfrm>
            <a:custGeom>
              <a:avLst/>
              <a:gdLst>
                <a:gd name="T0" fmla="*/ 37306 w 188"/>
                <a:gd name="T1" fmla="*/ 11906 h 96"/>
                <a:gd name="T2" fmla="*/ 37306 w 188"/>
                <a:gd name="T3" fmla="*/ 11906 h 96"/>
                <a:gd name="T4" fmla="*/ 30956 w 188"/>
                <a:gd name="T5" fmla="*/ 6350 h 96"/>
                <a:gd name="T6" fmla="*/ 26988 w 188"/>
                <a:gd name="T7" fmla="*/ 6350 h 96"/>
                <a:gd name="T8" fmla="*/ 19844 w 188"/>
                <a:gd name="T9" fmla="*/ 2381 h 96"/>
                <a:gd name="T10" fmla="*/ 17463 w 188"/>
                <a:gd name="T11" fmla="*/ 0 h 96"/>
                <a:gd name="T12" fmla="*/ 17463 w 188"/>
                <a:gd name="T13" fmla="*/ 2381 h 96"/>
                <a:gd name="T14" fmla="*/ 14288 w 188"/>
                <a:gd name="T15" fmla="*/ 0 h 96"/>
                <a:gd name="T16" fmla="*/ 7144 w 188"/>
                <a:gd name="T17" fmla="*/ 2381 h 96"/>
                <a:gd name="T18" fmla="*/ 0 w 188"/>
                <a:gd name="T19" fmla="*/ 6350 h 96"/>
                <a:gd name="T20" fmla="*/ 3969 w 188"/>
                <a:gd name="T21" fmla="*/ 11906 h 96"/>
                <a:gd name="T22" fmla="*/ 9525 w 188"/>
                <a:gd name="T23" fmla="*/ 19050 h 96"/>
                <a:gd name="T24" fmla="*/ 17463 w 188"/>
                <a:gd name="T25" fmla="*/ 19050 h 96"/>
                <a:gd name="T26" fmla="*/ 17463 w 188"/>
                <a:gd name="T27" fmla="*/ 15875 h 96"/>
                <a:gd name="T28" fmla="*/ 26988 w 188"/>
                <a:gd name="T29" fmla="*/ 19050 h 96"/>
                <a:gd name="T30" fmla="*/ 37306 w 188"/>
                <a:gd name="T31" fmla="*/ 11906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8"/>
                <a:gd name="T49" fmla="*/ 0 h 96"/>
                <a:gd name="T50" fmla="*/ 188 w 188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8" h="96">
                  <a:moveTo>
                    <a:pt x="188" y="63"/>
                  </a:moveTo>
                  <a:lnTo>
                    <a:pt x="188" y="63"/>
                  </a:lnTo>
                  <a:lnTo>
                    <a:pt x="153" y="32"/>
                  </a:lnTo>
                  <a:lnTo>
                    <a:pt x="136" y="32"/>
                  </a:lnTo>
                  <a:lnTo>
                    <a:pt x="103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69" y="0"/>
                  </a:lnTo>
                  <a:lnTo>
                    <a:pt x="34" y="15"/>
                  </a:lnTo>
                  <a:lnTo>
                    <a:pt x="0" y="32"/>
                  </a:lnTo>
                  <a:lnTo>
                    <a:pt x="17" y="63"/>
                  </a:lnTo>
                  <a:lnTo>
                    <a:pt x="51" y="96"/>
                  </a:lnTo>
                  <a:lnTo>
                    <a:pt x="86" y="96"/>
                  </a:lnTo>
                  <a:lnTo>
                    <a:pt x="86" y="80"/>
                  </a:lnTo>
                  <a:lnTo>
                    <a:pt x="136" y="96"/>
                  </a:lnTo>
                  <a:lnTo>
                    <a:pt x="188" y="6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7" name="Freeform 237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330197" y="4332545"/>
              <a:ext cx="230287" cy="117361"/>
            </a:xfrm>
            <a:custGeom>
              <a:avLst/>
              <a:gdLst>
                <a:gd name="T0" fmla="*/ 0 w 157"/>
                <a:gd name="T1" fmla="*/ 7254 h 65"/>
                <a:gd name="T2" fmla="*/ 0 w 157"/>
                <a:gd name="T3" fmla="*/ 7254 h 65"/>
                <a:gd name="T4" fmla="*/ 0 w 157"/>
                <a:gd name="T5" fmla="*/ 13701 h 65"/>
                <a:gd name="T6" fmla="*/ 7189 w 157"/>
                <a:gd name="T7" fmla="*/ 13701 h 65"/>
                <a:gd name="T8" fmla="*/ 21568 w 157"/>
                <a:gd name="T9" fmla="*/ 7254 h 65"/>
                <a:gd name="T10" fmla="*/ 27958 w 157"/>
                <a:gd name="T11" fmla="*/ 9672 h 65"/>
                <a:gd name="T12" fmla="*/ 31952 w 157"/>
                <a:gd name="T13" fmla="*/ 4030 h 65"/>
                <a:gd name="T14" fmla="*/ 24763 w 157"/>
                <a:gd name="T15" fmla="*/ 0 h 65"/>
                <a:gd name="T16" fmla="*/ 17574 w 157"/>
                <a:gd name="T17" fmla="*/ 4030 h 65"/>
                <a:gd name="T18" fmla="*/ 14379 w 157"/>
                <a:gd name="T19" fmla="*/ 0 h 65"/>
                <a:gd name="T20" fmla="*/ 11183 w 157"/>
                <a:gd name="T21" fmla="*/ 0 h 65"/>
                <a:gd name="T22" fmla="*/ 0 w 157"/>
                <a:gd name="T23" fmla="*/ 7254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7"/>
                <a:gd name="T37" fmla="*/ 0 h 65"/>
                <a:gd name="T38" fmla="*/ 157 w 157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7" h="65">
                  <a:moveTo>
                    <a:pt x="0" y="33"/>
                  </a:moveTo>
                  <a:lnTo>
                    <a:pt x="0" y="33"/>
                  </a:lnTo>
                  <a:lnTo>
                    <a:pt x="0" y="65"/>
                  </a:lnTo>
                  <a:lnTo>
                    <a:pt x="34" y="65"/>
                  </a:lnTo>
                  <a:lnTo>
                    <a:pt x="105" y="33"/>
                  </a:lnTo>
                  <a:lnTo>
                    <a:pt x="140" y="48"/>
                  </a:lnTo>
                  <a:lnTo>
                    <a:pt x="157" y="17"/>
                  </a:lnTo>
                  <a:lnTo>
                    <a:pt x="123" y="0"/>
                  </a:lnTo>
                  <a:lnTo>
                    <a:pt x="88" y="17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8" name="Freeform 238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207766" y="4535258"/>
              <a:ext cx="224457" cy="256059"/>
            </a:xfrm>
            <a:custGeom>
              <a:avLst/>
              <a:gdLst>
                <a:gd name="T0" fmla="*/ 13321 w 156"/>
                <a:gd name="T1" fmla="*/ 0 h 144"/>
                <a:gd name="T2" fmla="*/ 13321 w 156"/>
                <a:gd name="T3" fmla="*/ 0 h 144"/>
                <a:gd name="T4" fmla="*/ 23507 w 156"/>
                <a:gd name="T5" fmla="*/ 5556 h 144"/>
                <a:gd name="T6" fmla="*/ 26642 w 156"/>
                <a:gd name="T7" fmla="*/ 5556 h 144"/>
                <a:gd name="T8" fmla="*/ 29776 w 156"/>
                <a:gd name="T9" fmla="*/ 9525 h 144"/>
                <a:gd name="T10" fmla="*/ 29776 w 156"/>
                <a:gd name="T11" fmla="*/ 12700 h 144"/>
                <a:gd name="T12" fmla="*/ 26642 w 156"/>
                <a:gd name="T13" fmla="*/ 12700 h 144"/>
                <a:gd name="T14" fmla="*/ 26642 w 156"/>
                <a:gd name="T15" fmla="*/ 9525 h 144"/>
                <a:gd name="T16" fmla="*/ 16455 w 156"/>
                <a:gd name="T17" fmla="*/ 5556 h 144"/>
                <a:gd name="T18" fmla="*/ 13321 w 156"/>
                <a:gd name="T19" fmla="*/ 9525 h 144"/>
                <a:gd name="T20" fmla="*/ 13321 w 156"/>
                <a:gd name="T21" fmla="*/ 5556 h 144"/>
                <a:gd name="T22" fmla="*/ 10186 w 156"/>
                <a:gd name="T23" fmla="*/ 9525 h 144"/>
                <a:gd name="T24" fmla="*/ 13321 w 156"/>
                <a:gd name="T25" fmla="*/ 12700 h 144"/>
                <a:gd name="T26" fmla="*/ 19589 w 156"/>
                <a:gd name="T27" fmla="*/ 22225 h 144"/>
                <a:gd name="T28" fmla="*/ 26642 w 156"/>
                <a:gd name="T29" fmla="*/ 24606 h 144"/>
                <a:gd name="T30" fmla="*/ 23507 w 156"/>
                <a:gd name="T31" fmla="*/ 28575 h 144"/>
                <a:gd name="T32" fmla="*/ 16455 w 156"/>
                <a:gd name="T33" fmla="*/ 22225 h 144"/>
                <a:gd name="T34" fmla="*/ 13321 w 156"/>
                <a:gd name="T35" fmla="*/ 22225 h 144"/>
                <a:gd name="T36" fmla="*/ 6269 w 156"/>
                <a:gd name="T37" fmla="*/ 15081 h 144"/>
                <a:gd name="T38" fmla="*/ 10186 w 156"/>
                <a:gd name="T39" fmla="*/ 15081 h 144"/>
                <a:gd name="T40" fmla="*/ 6269 w 156"/>
                <a:gd name="T41" fmla="*/ 15081 h 144"/>
                <a:gd name="T42" fmla="*/ 6269 w 156"/>
                <a:gd name="T43" fmla="*/ 9525 h 144"/>
                <a:gd name="T44" fmla="*/ 3134 w 156"/>
                <a:gd name="T45" fmla="*/ 9525 h 144"/>
                <a:gd name="T46" fmla="*/ 0 w 156"/>
                <a:gd name="T47" fmla="*/ 12700 h 144"/>
                <a:gd name="T48" fmla="*/ 0 w 156"/>
                <a:gd name="T49" fmla="*/ 9525 h 144"/>
                <a:gd name="T50" fmla="*/ 0 w 156"/>
                <a:gd name="T51" fmla="*/ 5556 h 144"/>
                <a:gd name="T52" fmla="*/ 3134 w 156"/>
                <a:gd name="T53" fmla="*/ 5556 h 144"/>
                <a:gd name="T54" fmla="*/ 6269 w 156"/>
                <a:gd name="T55" fmla="*/ 5556 h 144"/>
                <a:gd name="T56" fmla="*/ 10186 w 156"/>
                <a:gd name="T57" fmla="*/ 0 h 144"/>
                <a:gd name="T58" fmla="*/ 13321 w 156"/>
                <a:gd name="T59" fmla="*/ 0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44"/>
                <a:gd name="T92" fmla="*/ 156 w 156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44">
                  <a:moveTo>
                    <a:pt x="70" y="0"/>
                  </a:moveTo>
                  <a:lnTo>
                    <a:pt x="70" y="0"/>
                  </a:lnTo>
                  <a:lnTo>
                    <a:pt x="121" y="31"/>
                  </a:lnTo>
                  <a:lnTo>
                    <a:pt x="139" y="31"/>
                  </a:lnTo>
                  <a:lnTo>
                    <a:pt x="156" y="48"/>
                  </a:lnTo>
                  <a:lnTo>
                    <a:pt x="156" y="64"/>
                  </a:lnTo>
                  <a:lnTo>
                    <a:pt x="139" y="64"/>
                  </a:lnTo>
                  <a:lnTo>
                    <a:pt x="139" y="48"/>
                  </a:lnTo>
                  <a:lnTo>
                    <a:pt x="87" y="31"/>
                  </a:lnTo>
                  <a:lnTo>
                    <a:pt x="70" y="48"/>
                  </a:lnTo>
                  <a:lnTo>
                    <a:pt x="70" y="31"/>
                  </a:lnTo>
                  <a:lnTo>
                    <a:pt x="52" y="48"/>
                  </a:lnTo>
                  <a:lnTo>
                    <a:pt x="70" y="64"/>
                  </a:lnTo>
                  <a:lnTo>
                    <a:pt x="104" y="112"/>
                  </a:lnTo>
                  <a:lnTo>
                    <a:pt x="139" y="127"/>
                  </a:lnTo>
                  <a:lnTo>
                    <a:pt x="121" y="144"/>
                  </a:lnTo>
                  <a:lnTo>
                    <a:pt x="87" y="112"/>
                  </a:lnTo>
                  <a:lnTo>
                    <a:pt x="70" y="112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35" y="79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6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8" y="31"/>
                  </a:lnTo>
                  <a:lnTo>
                    <a:pt x="35" y="31"/>
                  </a:lnTo>
                  <a:lnTo>
                    <a:pt x="52" y="0"/>
                  </a:lnTo>
                  <a:lnTo>
                    <a:pt x="70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69" name="Freeform 239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379754" y="4730858"/>
              <a:ext cx="75791" cy="85353"/>
            </a:xfrm>
            <a:custGeom>
              <a:avLst/>
              <a:gdLst>
                <a:gd name="T0" fmla="*/ 0 w 52"/>
                <a:gd name="T1" fmla="*/ 6350 h 48"/>
                <a:gd name="T2" fmla="*/ 0 w 52"/>
                <a:gd name="T3" fmla="*/ 6350 h 48"/>
                <a:gd name="T4" fmla="*/ 7144 w 52"/>
                <a:gd name="T5" fmla="*/ 9525 h 48"/>
                <a:gd name="T6" fmla="*/ 7144 w 52"/>
                <a:gd name="T7" fmla="*/ 6350 h 48"/>
                <a:gd name="T8" fmla="*/ 10319 w 52"/>
                <a:gd name="T9" fmla="*/ 6350 h 48"/>
                <a:gd name="T10" fmla="*/ 10319 w 52"/>
                <a:gd name="T11" fmla="*/ 2381 h 48"/>
                <a:gd name="T12" fmla="*/ 7144 w 52"/>
                <a:gd name="T13" fmla="*/ 0 h 48"/>
                <a:gd name="T14" fmla="*/ 3969 w 52"/>
                <a:gd name="T15" fmla="*/ 0 h 48"/>
                <a:gd name="T16" fmla="*/ 0 w 52"/>
                <a:gd name="T17" fmla="*/ 2381 h 48"/>
                <a:gd name="T18" fmla="*/ 3969 w 52"/>
                <a:gd name="T19" fmla="*/ 2381 h 48"/>
                <a:gd name="T20" fmla="*/ 0 w 52"/>
                <a:gd name="T21" fmla="*/ 6350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32"/>
                  </a:moveTo>
                  <a:lnTo>
                    <a:pt x="0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15"/>
                  </a:lnTo>
                  <a:lnTo>
                    <a:pt x="18" y="15"/>
                  </a:lnTo>
                  <a:lnTo>
                    <a:pt x="0" y="32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0" name="Freeform 240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42008" y="3905781"/>
              <a:ext cx="104941" cy="117361"/>
            </a:xfrm>
            <a:custGeom>
              <a:avLst/>
              <a:gdLst>
                <a:gd name="T0" fmla="*/ 11269 w 71"/>
                <a:gd name="T1" fmla="*/ 13701 h 65"/>
                <a:gd name="T2" fmla="*/ 11269 w 71"/>
                <a:gd name="T3" fmla="*/ 9672 h 65"/>
                <a:gd name="T4" fmla="*/ 4025 w 71"/>
                <a:gd name="T5" fmla="*/ 9672 h 65"/>
                <a:gd name="T6" fmla="*/ 0 w 71"/>
                <a:gd name="T7" fmla="*/ 7254 h 65"/>
                <a:gd name="T8" fmla="*/ 4025 w 71"/>
                <a:gd name="T9" fmla="*/ 0 h 65"/>
                <a:gd name="T10" fmla="*/ 11269 w 71"/>
                <a:gd name="T11" fmla="*/ 4030 h 65"/>
                <a:gd name="T12" fmla="*/ 14489 w 71"/>
                <a:gd name="T13" fmla="*/ 9672 h 65"/>
                <a:gd name="T14" fmla="*/ 11269 w 71"/>
                <a:gd name="T15" fmla="*/ 13701 h 6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65"/>
                <a:gd name="T26" fmla="*/ 71 w 71"/>
                <a:gd name="T27" fmla="*/ 65 h 6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65">
                  <a:moveTo>
                    <a:pt x="54" y="65"/>
                  </a:moveTo>
                  <a:lnTo>
                    <a:pt x="54" y="48"/>
                  </a:lnTo>
                  <a:lnTo>
                    <a:pt x="18" y="48"/>
                  </a:lnTo>
                  <a:lnTo>
                    <a:pt x="0" y="33"/>
                  </a:lnTo>
                  <a:lnTo>
                    <a:pt x="18" y="0"/>
                  </a:lnTo>
                  <a:lnTo>
                    <a:pt x="54" y="18"/>
                  </a:lnTo>
                  <a:lnTo>
                    <a:pt x="71" y="48"/>
                  </a:lnTo>
                  <a:lnTo>
                    <a:pt x="54" y="65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1" name="Freeform 241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45811" y="3905781"/>
              <a:ext cx="171988" cy="288067"/>
            </a:xfrm>
            <a:custGeom>
              <a:avLst/>
              <a:gdLst>
                <a:gd name="T0" fmla="*/ 16529 w 119"/>
                <a:gd name="T1" fmla="*/ 0 h 161"/>
                <a:gd name="T2" fmla="*/ 13380 w 119"/>
                <a:gd name="T3" fmla="*/ 7188 h 161"/>
                <a:gd name="T4" fmla="*/ 16529 w 119"/>
                <a:gd name="T5" fmla="*/ 9584 h 161"/>
                <a:gd name="T6" fmla="*/ 22825 w 119"/>
                <a:gd name="T7" fmla="*/ 9584 h 161"/>
                <a:gd name="T8" fmla="*/ 22825 w 119"/>
                <a:gd name="T9" fmla="*/ 13578 h 161"/>
                <a:gd name="T10" fmla="*/ 22825 w 119"/>
                <a:gd name="T11" fmla="*/ 19168 h 161"/>
                <a:gd name="T12" fmla="*/ 19677 w 119"/>
                <a:gd name="T13" fmla="*/ 28753 h 161"/>
                <a:gd name="T14" fmla="*/ 3148 w 119"/>
                <a:gd name="T15" fmla="*/ 32746 h 161"/>
                <a:gd name="T16" fmla="*/ 0 w 119"/>
                <a:gd name="T17" fmla="*/ 28753 h 161"/>
                <a:gd name="T18" fmla="*/ 3148 w 119"/>
                <a:gd name="T19" fmla="*/ 28753 h 161"/>
                <a:gd name="T20" fmla="*/ 6297 w 119"/>
                <a:gd name="T21" fmla="*/ 19168 h 161"/>
                <a:gd name="T22" fmla="*/ 3148 w 119"/>
                <a:gd name="T23" fmla="*/ 16772 h 161"/>
                <a:gd name="T24" fmla="*/ 6297 w 119"/>
                <a:gd name="T25" fmla="*/ 13578 h 161"/>
                <a:gd name="T26" fmla="*/ 3148 w 119"/>
                <a:gd name="T27" fmla="*/ 13578 h 161"/>
                <a:gd name="T28" fmla="*/ 3148 w 119"/>
                <a:gd name="T29" fmla="*/ 9584 h 161"/>
                <a:gd name="T30" fmla="*/ 10232 w 119"/>
                <a:gd name="T31" fmla="*/ 9584 h 161"/>
                <a:gd name="T32" fmla="*/ 13380 w 119"/>
                <a:gd name="T33" fmla="*/ 7188 h 161"/>
                <a:gd name="T34" fmla="*/ 10232 w 119"/>
                <a:gd name="T35" fmla="*/ 7188 h 161"/>
                <a:gd name="T36" fmla="*/ 10232 w 119"/>
                <a:gd name="T37" fmla="*/ 3993 h 161"/>
                <a:gd name="T38" fmla="*/ 16529 w 119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9"/>
                <a:gd name="T61" fmla="*/ 0 h 161"/>
                <a:gd name="T62" fmla="*/ 119 w 119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9" h="161">
                  <a:moveTo>
                    <a:pt x="86" y="0"/>
                  </a:moveTo>
                  <a:lnTo>
                    <a:pt x="69" y="33"/>
                  </a:lnTo>
                  <a:lnTo>
                    <a:pt x="86" y="48"/>
                  </a:lnTo>
                  <a:lnTo>
                    <a:pt x="119" y="48"/>
                  </a:lnTo>
                  <a:lnTo>
                    <a:pt x="119" y="65"/>
                  </a:lnTo>
                  <a:lnTo>
                    <a:pt x="119" y="96"/>
                  </a:lnTo>
                  <a:lnTo>
                    <a:pt x="102" y="144"/>
                  </a:lnTo>
                  <a:lnTo>
                    <a:pt x="17" y="161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35" y="96"/>
                  </a:lnTo>
                  <a:lnTo>
                    <a:pt x="17" y="81"/>
                  </a:lnTo>
                  <a:lnTo>
                    <a:pt x="35" y="65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52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52" y="18"/>
                  </a:lnTo>
                  <a:lnTo>
                    <a:pt x="86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2" name="Freeform 242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95368" y="4705966"/>
              <a:ext cx="478063" cy="451660"/>
            </a:xfrm>
            <a:custGeom>
              <a:avLst/>
              <a:gdLst>
                <a:gd name="T0" fmla="*/ 3969 w 328"/>
                <a:gd name="T1" fmla="*/ 12650 h 255"/>
                <a:gd name="T2" fmla="*/ 3969 w 328"/>
                <a:gd name="T3" fmla="*/ 12650 h 255"/>
                <a:gd name="T4" fmla="*/ 16669 w 328"/>
                <a:gd name="T5" fmla="*/ 12650 h 255"/>
                <a:gd name="T6" fmla="*/ 16669 w 328"/>
                <a:gd name="T7" fmla="*/ 15022 h 255"/>
                <a:gd name="T8" fmla="*/ 14288 w 328"/>
                <a:gd name="T9" fmla="*/ 18975 h 255"/>
                <a:gd name="T10" fmla="*/ 14288 w 328"/>
                <a:gd name="T11" fmla="*/ 24510 h 255"/>
                <a:gd name="T12" fmla="*/ 9525 w 328"/>
                <a:gd name="T13" fmla="*/ 28463 h 255"/>
                <a:gd name="T14" fmla="*/ 14288 w 328"/>
                <a:gd name="T15" fmla="*/ 37951 h 255"/>
                <a:gd name="T16" fmla="*/ 9525 w 328"/>
                <a:gd name="T17" fmla="*/ 43485 h 255"/>
                <a:gd name="T18" fmla="*/ 19844 w 328"/>
                <a:gd name="T19" fmla="*/ 49810 h 255"/>
                <a:gd name="T20" fmla="*/ 23812 w 328"/>
                <a:gd name="T21" fmla="*/ 47438 h 255"/>
                <a:gd name="T22" fmla="*/ 37306 w 328"/>
                <a:gd name="T23" fmla="*/ 47438 h 255"/>
                <a:gd name="T24" fmla="*/ 51594 w 328"/>
                <a:gd name="T25" fmla="*/ 33997 h 255"/>
                <a:gd name="T26" fmla="*/ 47625 w 328"/>
                <a:gd name="T27" fmla="*/ 28463 h 255"/>
                <a:gd name="T28" fmla="*/ 54769 w 328"/>
                <a:gd name="T29" fmla="*/ 18975 h 255"/>
                <a:gd name="T30" fmla="*/ 65088 w 328"/>
                <a:gd name="T31" fmla="*/ 12650 h 255"/>
                <a:gd name="T32" fmla="*/ 65088 w 328"/>
                <a:gd name="T33" fmla="*/ 9488 h 255"/>
                <a:gd name="T34" fmla="*/ 47625 w 328"/>
                <a:gd name="T35" fmla="*/ 5534 h 255"/>
                <a:gd name="T36" fmla="*/ 40481 w 328"/>
                <a:gd name="T37" fmla="*/ 3163 h 255"/>
                <a:gd name="T38" fmla="*/ 37306 w 328"/>
                <a:gd name="T39" fmla="*/ 3163 h 255"/>
                <a:gd name="T40" fmla="*/ 30956 w 328"/>
                <a:gd name="T41" fmla="*/ 3163 h 255"/>
                <a:gd name="T42" fmla="*/ 27781 w 328"/>
                <a:gd name="T43" fmla="*/ 3163 h 255"/>
                <a:gd name="T44" fmla="*/ 7144 w 328"/>
                <a:gd name="T45" fmla="*/ 0 h 255"/>
                <a:gd name="T46" fmla="*/ 3969 w 328"/>
                <a:gd name="T47" fmla="*/ 3163 h 255"/>
                <a:gd name="T48" fmla="*/ 0 w 328"/>
                <a:gd name="T49" fmla="*/ 3163 h 255"/>
                <a:gd name="T50" fmla="*/ 0 w 328"/>
                <a:gd name="T51" fmla="*/ 5534 h 255"/>
                <a:gd name="T52" fmla="*/ 3969 w 328"/>
                <a:gd name="T53" fmla="*/ 12650 h 2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8"/>
                <a:gd name="T82" fmla="*/ 0 h 255"/>
                <a:gd name="T83" fmla="*/ 328 w 328"/>
                <a:gd name="T84" fmla="*/ 255 h 2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8" h="255">
                  <a:moveTo>
                    <a:pt x="17" y="64"/>
                  </a:moveTo>
                  <a:lnTo>
                    <a:pt x="17" y="64"/>
                  </a:lnTo>
                  <a:lnTo>
                    <a:pt x="86" y="64"/>
                  </a:lnTo>
                  <a:lnTo>
                    <a:pt x="86" y="79"/>
                  </a:lnTo>
                  <a:lnTo>
                    <a:pt x="69" y="96"/>
                  </a:lnTo>
                  <a:lnTo>
                    <a:pt x="69" y="127"/>
                  </a:lnTo>
                  <a:lnTo>
                    <a:pt x="51" y="144"/>
                  </a:lnTo>
                  <a:lnTo>
                    <a:pt x="69" y="192"/>
                  </a:lnTo>
                  <a:lnTo>
                    <a:pt x="51" y="223"/>
                  </a:lnTo>
                  <a:lnTo>
                    <a:pt x="103" y="255"/>
                  </a:lnTo>
                  <a:lnTo>
                    <a:pt x="121" y="240"/>
                  </a:lnTo>
                  <a:lnTo>
                    <a:pt x="190" y="240"/>
                  </a:lnTo>
                  <a:lnTo>
                    <a:pt x="259" y="175"/>
                  </a:lnTo>
                  <a:lnTo>
                    <a:pt x="241" y="144"/>
                  </a:lnTo>
                  <a:lnTo>
                    <a:pt x="276" y="96"/>
                  </a:lnTo>
                  <a:lnTo>
                    <a:pt x="328" y="64"/>
                  </a:lnTo>
                  <a:lnTo>
                    <a:pt x="328" y="48"/>
                  </a:lnTo>
                  <a:lnTo>
                    <a:pt x="241" y="31"/>
                  </a:lnTo>
                  <a:lnTo>
                    <a:pt x="207" y="16"/>
                  </a:lnTo>
                  <a:lnTo>
                    <a:pt x="190" y="16"/>
                  </a:lnTo>
                  <a:lnTo>
                    <a:pt x="155" y="16"/>
                  </a:lnTo>
                  <a:lnTo>
                    <a:pt x="138" y="16"/>
                  </a:lnTo>
                  <a:lnTo>
                    <a:pt x="34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31"/>
                  </a:lnTo>
                  <a:lnTo>
                    <a:pt x="17" y="64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3" name="Freeform 243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95368" y="4816210"/>
              <a:ext cx="122431" cy="284509"/>
            </a:xfrm>
            <a:custGeom>
              <a:avLst/>
              <a:gdLst>
                <a:gd name="T0" fmla="*/ 9525 w 84"/>
                <a:gd name="T1" fmla="*/ 31950 h 159"/>
                <a:gd name="T2" fmla="*/ 9525 w 84"/>
                <a:gd name="T3" fmla="*/ 31950 h 159"/>
                <a:gd name="T4" fmla="*/ 13494 w 84"/>
                <a:gd name="T5" fmla="*/ 25560 h 159"/>
                <a:gd name="T6" fmla="*/ 9525 w 84"/>
                <a:gd name="T7" fmla="*/ 15975 h 159"/>
                <a:gd name="T8" fmla="*/ 13494 w 84"/>
                <a:gd name="T9" fmla="*/ 12780 h 159"/>
                <a:gd name="T10" fmla="*/ 13494 w 84"/>
                <a:gd name="T11" fmla="*/ 6390 h 159"/>
                <a:gd name="T12" fmla="*/ 16669 w 84"/>
                <a:gd name="T13" fmla="*/ 3195 h 159"/>
                <a:gd name="T14" fmla="*/ 16669 w 84"/>
                <a:gd name="T15" fmla="*/ 0 h 159"/>
                <a:gd name="T16" fmla="*/ 3969 w 84"/>
                <a:gd name="T17" fmla="*/ 0 h 159"/>
                <a:gd name="T18" fmla="*/ 3969 w 84"/>
                <a:gd name="T19" fmla="*/ 6390 h 159"/>
                <a:gd name="T20" fmla="*/ 0 w 84"/>
                <a:gd name="T21" fmla="*/ 22365 h 159"/>
                <a:gd name="T22" fmla="*/ 3969 w 84"/>
                <a:gd name="T23" fmla="*/ 22365 h 159"/>
                <a:gd name="T24" fmla="*/ 0 w 84"/>
                <a:gd name="T25" fmla="*/ 31950 h 159"/>
                <a:gd name="T26" fmla="*/ 9525 w 84"/>
                <a:gd name="T27" fmla="*/ 31950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4"/>
                <a:gd name="T43" fmla="*/ 0 h 159"/>
                <a:gd name="T44" fmla="*/ 84 w 84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4" h="159">
                  <a:moveTo>
                    <a:pt x="50" y="159"/>
                  </a:moveTo>
                  <a:lnTo>
                    <a:pt x="50" y="159"/>
                  </a:lnTo>
                  <a:lnTo>
                    <a:pt x="67" y="128"/>
                  </a:lnTo>
                  <a:lnTo>
                    <a:pt x="50" y="80"/>
                  </a:lnTo>
                  <a:lnTo>
                    <a:pt x="67" y="63"/>
                  </a:lnTo>
                  <a:lnTo>
                    <a:pt x="67" y="32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7" y="0"/>
                  </a:lnTo>
                  <a:lnTo>
                    <a:pt x="17" y="32"/>
                  </a:lnTo>
                  <a:lnTo>
                    <a:pt x="0" y="111"/>
                  </a:lnTo>
                  <a:lnTo>
                    <a:pt x="17" y="111"/>
                  </a:lnTo>
                  <a:lnTo>
                    <a:pt x="0" y="159"/>
                  </a:lnTo>
                  <a:lnTo>
                    <a:pt x="50" y="159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4" name="Freeform 244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4478" y="3649722"/>
              <a:ext cx="329399" cy="654372"/>
            </a:xfrm>
            <a:custGeom>
              <a:avLst/>
              <a:gdLst>
                <a:gd name="T0" fmla="*/ 7208 w 224"/>
                <a:gd name="T1" fmla="*/ 72827 h 369"/>
                <a:gd name="T2" fmla="*/ 10411 w 224"/>
                <a:gd name="T3" fmla="*/ 69661 h 369"/>
                <a:gd name="T4" fmla="*/ 17618 w 224"/>
                <a:gd name="T5" fmla="*/ 72827 h 369"/>
                <a:gd name="T6" fmla="*/ 17618 w 224"/>
                <a:gd name="T7" fmla="*/ 69661 h 369"/>
                <a:gd name="T8" fmla="*/ 20822 w 224"/>
                <a:gd name="T9" fmla="*/ 66494 h 369"/>
                <a:gd name="T10" fmla="*/ 24826 w 224"/>
                <a:gd name="T11" fmla="*/ 69661 h 369"/>
                <a:gd name="T12" fmla="*/ 28029 w 224"/>
                <a:gd name="T13" fmla="*/ 66494 h 369"/>
                <a:gd name="T14" fmla="*/ 41644 w 224"/>
                <a:gd name="T15" fmla="*/ 66494 h 369"/>
                <a:gd name="T16" fmla="*/ 45648 w 224"/>
                <a:gd name="T17" fmla="*/ 63328 h 369"/>
                <a:gd name="T18" fmla="*/ 38440 w 224"/>
                <a:gd name="T19" fmla="*/ 63328 h 369"/>
                <a:gd name="T20" fmla="*/ 45648 w 224"/>
                <a:gd name="T21" fmla="*/ 53829 h 369"/>
                <a:gd name="T22" fmla="*/ 41644 w 224"/>
                <a:gd name="T23" fmla="*/ 50662 h 369"/>
                <a:gd name="T24" fmla="*/ 38440 w 224"/>
                <a:gd name="T25" fmla="*/ 50662 h 369"/>
                <a:gd name="T26" fmla="*/ 35237 w 224"/>
                <a:gd name="T27" fmla="*/ 50662 h 369"/>
                <a:gd name="T28" fmla="*/ 38440 w 224"/>
                <a:gd name="T29" fmla="*/ 47496 h 369"/>
                <a:gd name="T30" fmla="*/ 38440 w 224"/>
                <a:gd name="T31" fmla="*/ 44330 h 369"/>
                <a:gd name="T32" fmla="*/ 35237 w 224"/>
                <a:gd name="T33" fmla="*/ 37997 h 369"/>
                <a:gd name="T34" fmla="*/ 31233 w 224"/>
                <a:gd name="T35" fmla="*/ 34830 h 369"/>
                <a:gd name="T36" fmla="*/ 24826 w 224"/>
                <a:gd name="T37" fmla="*/ 25331 h 369"/>
                <a:gd name="T38" fmla="*/ 17618 w 224"/>
                <a:gd name="T39" fmla="*/ 22165 h 369"/>
                <a:gd name="T40" fmla="*/ 28029 w 224"/>
                <a:gd name="T41" fmla="*/ 9499 h 369"/>
                <a:gd name="T42" fmla="*/ 24826 w 224"/>
                <a:gd name="T43" fmla="*/ 6333 h 369"/>
                <a:gd name="T44" fmla="*/ 14415 w 224"/>
                <a:gd name="T45" fmla="*/ 9499 h 369"/>
                <a:gd name="T46" fmla="*/ 14415 w 224"/>
                <a:gd name="T47" fmla="*/ 3166 h 369"/>
                <a:gd name="T48" fmla="*/ 20822 w 224"/>
                <a:gd name="T49" fmla="*/ 0 h 369"/>
                <a:gd name="T50" fmla="*/ 17618 w 224"/>
                <a:gd name="T51" fmla="*/ 0 h 369"/>
                <a:gd name="T52" fmla="*/ 10411 w 224"/>
                <a:gd name="T53" fmla="*/ 0 h 369"/>
                <a:gd name="T54" fmla="*/ 4004 w 224"/>
                <a:gd name="T55" fmla="*/ 9499 h 369"/>
                <a:gd name="T56" fmla="*/ 0 w 224"/>
                <a:gd name="T57" fmla="*/ 9499 h 369"/>
                <a:gd name="T58" fmla="*/ 4004 w 224"/>
                <a:gd name="T59" fmla="*/ 12666 h 369"/>
                <a:gd name="T60" fmla="*/ 7208 w 224"/>
                <a:gd name="T61" fmla="*/ 12666 h 369"/>
                <a:gd name="T62" fmla="*/ 4004 w 224"/>
                <a:gd name="T63" fmla="*/ 18998 h 369"/>
                <a:gd name="T64" fmla="*/ 7208 w 224"/>
                <a:gd name="T65" fmla="*/ 18998 h 369"/>
                <a:gd name="T66" fmla="*/ 7208 w 224"/>
                <a:gd name="T67" fmla="*/ 22165 h 369"/>
                <a:gd name="T68" fmla="*/ 4004 w 224"/>
                <a:gd name="T69" fmla="*/ 25331 h 369"/>
                <a:gd name="T70" fmla="*/ 7208 w 224"/>
                <a:gd name="T71" fmla="*/ 25331 h 369"/>
                <a:gd name="T72" fmla="*/ 7208 w 224"/>
                <a:gd name="T73" fmla="*/ 28498 h 369"/>
                <a:gd name="T74" fmla="*/ 7208 w 224"/>
                <a:gd name="T75" fmla="*/ 25331 h 369"/>
                <a:gd name="T76" fmla="*/ 10411 w 224"/>
                <a:gd name="T77" fmla="*/ 28498 h 369"/>
                <a:gd name="T78" fmla="*/ 7208 w 224"/>
                <a:gd name="T79" fmla="*/ 31664 h 369"/>
                <a:gd name="T80" fmla="*/ 10411 w 224"/>
                <a:gd name="T81" fmla="*/ 34830 h 369"/>
                <a:gd name="T82" fmla="*/ 17618 w 224"/>
                <a:gd name="T83" fmla="*/ 31664 h 369"/>
                <a:gd name="T84" fmla="*/ 17618 w 224"/>
                <a:gd name="T85" fmla="*/ 34830 h 369"/>
                <a:gd name="T86" fmla="*/ 17618 w 224"/>
                <a:gd name="T87" fmla="*/ 37997 h 369"/>
                <a:gd name="T88" fmla="*/ 20822 w 224"/>
                <a:gd name="T89" fmla="*/ 37997 h 369"/>
                <a:gd name="T90" fmla="*/ 20822 w 224"/>
                <a:gd name="T91" fmla="*/ 44330 h 369"/>
                <a:gd name="T92" fmla="*/ 10411 w 224"/>
                <a:gd name="T93" fmla="*/ 44330 h 369"/>
                <a:gd name="T94" fmla="*/ 14415 w 224"/>
                <a:gd name="T95" fmla="*/ 47496 h 369"/>
                <a:gd name="T96" fmla="*/ 10411 w 224"/>
                <a:gd name="T97" fmla="*/ 50662 h 369"/>
                <a:gd name="T98" fmla="*/ 14415 w 224"/>
                <a:gd name="T99" fmla="*/ 50662 h 369"/>
                <a:gd name="T100" fmla="*/ 14415 w 224"/>
                <a:gd name="T101" fmla="*/ 53829 h 369"/>
                <a:gd name="T102" fmla="*/ 7208 w 224"/>
                <a:gd name="T103" fmla="*/ 56995 h 369"/>
                <a:gd name="T104" fmla="*/ 10411 w 224"/>
                <a:gd name="T105" fmla="*/ 60162 h 369"/>
                <a:gd name="T106" fmla="*/ 14415 w 224"/>
                <a:gd name="T107" fmla="*/ 60162 h 369"/>
                <a:gd name="T108" fmla="*/ 17618 w 224"/>
                <a:gd name="T109" fmla="*/ 63328 h 369"/>
                <a:gd name="T110" fmla="*/ 20822 w 224"/>
                <a:gd name="T111" fmla="*/ 60162 h 369"/>
                <a:gd name="T112" fmla="*/ 20822 w 224"/>
                <a:gd name="T113" fmla="*/ 63328 h 369"/>
                <a:gd name="T114" fmla="*/ 14415 w 224"/>
                <a:gd name="T115" fmla="*/ 63328 h 369"/>
                <a:gd name="T116" fmla="*/ 7208 w 224"/>
                <a:gd name="T117" fmla="*/ 72827 h 36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"/>
                <a:gd name="T178" fmla="*/ 0 h 369"/>
                <a:gd name="T179" fmla="*/ 224 w 224"/>
                <a:gd name="T180" fmla="*/ 369 h 36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" h="369">
                  <a:moveTo>
                    <a:pt x="34" y="369"/>
                  </a:moveTo>
                  <a:lnTo>
                    <a:pt x="52" y="353"/>
                  </a:lnTo>
                  <a:lnTo>
                    <a:pt x="86" y="369"/>
                  </a:lnTo>
                  <a:lnTo>
                    <a:pt x="86" y="353"/>
                  </a:lnTo>
                  <a:lnTo>
                    <a:pt x="103" y="336"/>
                  </a:lnTo>
                  <a:lnTo>
                    <a:pt x="121" y="353"/>
                  </a:lnTo>
                  <a:lnTo>
                    <a:pt x="138" y="336"/>
                  </a:lnTo>
                  <a:lnTo>
                    <a:pt x="207" y="336"/>
                  </a:lnTo>
                  <a:lnTo>
                    <a:pt x="224" y="321"/>
                  </a:lnTo>
                  <a:lnTo>
                    <a:pt x="190" y="321"/>
                  </a:lnTo>
                  <a:lnTo>
                    <a:pt x="224" y="273"/>
                  </a:lnTo>
                  <a:lnTo>
                    <a:pt x="207" y="257"/>
                  </a:lnTo>
                  <a:lnTo>
                    <a:pt x="190" y="257"/>
                  </a:lnTo>
                  <a:lnTo>
                    <a:pt x="172" y="257"/>
                  </a:lnTo>
                  <a:lnTo>
                    <a:pt x="190" y="240"/>
                  </a:lnTo>
                  <a:lnTo>
                    <a:pt x="190" y="225"/>
                  </a:lnTo>
                  <a:lnTo>
                    <a:pt x="172" y="192"/>
                  </a:lnTo>
                  <a:lnTo>
                    <a:pt x="155" y="177"/>
                  </a:lnTo>
                  <a:lnTo>
                    <a:pt x="121" y="129"/>
                  </a:lnTo>
                  <a:lnTo>
                    <a:pt x="86" y="114"/>
                  </a:lnTo>
                  <a:lnTo>
                    <a:pt x="138" y="48"/>
                  </a:lnTo>
                  <a:lnTo>
                    <a:pt x="121" y="33"/>
                  </a:lnTo>
                  <a:lnTo>
                    <a:pt x="69" y="48"/>
                  </a:lnTo>
                  <a:lnTo>
                    <a:pt x="69" y="18"/>
                  </a:lnTo>
                  <a:lnTo>
                    <a:pt x="103" y="0"/>
                  </a:lnTo>
                  <a:lnTo>
                    <a:pt x="86" y="0"/>
                  </a:lnTo>
                  <a:lnTo>
                    <a:pt x="52" y="0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17" y="66"/>
                  </a:lnTo>
                  <a:lnTo>
                    <a:pt x="34" y="66"/>
                  </a:lnTo>
                  <a:lnTo>
                    <a:pt x="17" y="96"/>
                  </a:lnTo>
                  <a:lnTo>
                    <a:pt x="34" y="96"/>
                  </a:lnTo>
                  <a:lnTo>
                    <a:pt x="34" y="114"/>
                  </a:lnTo>
                  <a:lnTo>
                    <a:pt x="17" y="129"/>
                  </a:lnTo>
                  <a:lnTo>
                    <a:pt x="34" y="129"/>
                  </a:lnTo>
                  <a:lnTo>
                    <a:pt x="34" y="144"/>
                  </a:lnTo>
                  <a:lnTo>
                    <a:pt x="34" y="129"/>
                  </a:lnTo>
                  <a:lnTo>
                    <a:pt x="52" y="144"/>
                  </a:lnTo>
                  <a:lnTo>
                    <a:pt x="34" y="162"/>
                  </a:lnTo>
                  <a:lnTo>
                    <a:pt x="52" y="177"/>
                  </a:lnTo>
                  <a:lnTo>
                    <a:pt x="86" y="162"/>
                  </a:lnTo>
                  <a:lnTo>
                    <a:pt x="86" y="177"/>
                  </a:lnTo>
                  <a:lnTo>
                    <a:pt x="86" y="192"/>
                  </a:lnTo>
                  <a:lnTo>
                    <a:pt x="103" y="192"/>
                  </a:lnTo>
                  <a:lnTo>
                    <a:pt x="103" y="225"/>
                  </a:lnTo>
                  <a:lnTo>
                    <a:pt x="52" y="225"/>
                  </a:lnTo>
                  <a:lnTo>
                    <a:pt x="69" y="240"/>
                  </a:lnTo>
                  <a:lnTo>
                    <a:pt x="52" y="257"/>
                  </a:lnTo>
                  <a:lnTo>
                    <a:pt x="69" y="257"/>
                  </a:lnTo>
                  <a:lnTo>
                    <a:pt x="69" y="273"/>
                  </a:lnTo>
                  <a:lnTo>
                    <a:pt x="34" y="288"/>
                  </a:lnTo>
                  <a:lnTo>
                    <a:pt x="52" y="305"/>
                  </a:lnTo>
                  <a:lnTo>
                    <a:pt x="69" y="305"/>
                  </a:lnTo>
                  <a:lnTo>
                    <a:pt x="86" y="321"/>
                  </a:lnTo>
                  <a:lnTo>
                    <a:pt x="103" y="305"/>
                  </a:lnTo>
                  <a:lnTo>
                    <a:pt x="103" y="321"/>
                  </a:lnTo>
                  <a:lnTo>
                    <a:pt x="69" y="321"/>
                  </a:lnTo>
                  <a:lnTo>
                    <a:pt x="34" y="369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5" name="Freeform 245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747195" y="4930015"/>
              <a:ext cx="52470" cy="56903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4202 w 34"/>
                <a:gd name="T5" fmla="*/ 6158 h 33"/>
                <a:gd name="T6" fmla="*/ 8404 w 34"/>
                <a:gd name="T7" fmla="*/ 3079 h 33"/>
                <a:gd name="T8" fmla="*/ 4202 w 34"/>
                <a:gd name="T9" fmla="*/ 0 h 33"/>
                <a:gd name="T10" fmla="*/ 0 w 34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7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6" name="Freeform 247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470268" y="4218741"/>
              <a:ext cx="504300" cy="572577"/>
            </a:xfrm>
            <a:custGeom>
              <a:avLst/>
              <a:gdLst>
                <a:gd name="T0" fmla="*/ 41395 w 345"/>
                <a:gd name="T1" fmla="*/ 0 h 320"/>
                <a:gd name="T2" fmla="*/ 41395 w 345"/>
                <a:gd name="T3" fmla="*/ 0 h 320"/>
                <a:gd name="T4" fmla="*/ 34230 w 345"/>
                <a:gd name="T5" fmla="*/ 3195 h 320"/>
                <a:gd name="T6" fmla="*/ 34230 w 345"/>
                <a:gd name="T7" fmla="*/ 9585 h 320"/>
                <a:gd name="T8" fmla="*/ 27862 w 345"/>
                <a:gd name="T9" fmla="*/ 12779 h 320"/>
                <a:gd name="T10" fmla="*/ 23882 w 345"/>
                <a:gd name="T11" fmla="*/ 15974 h 320"/>
                <a:gd name="T12" fmla="*/ 20697 w 345"/>
                <a:gd name="T13" fmla="*/ 15974 h 320"/>
                <a:gd name="T14" fmla="*/ 17513 w 345"/>
                <a:gd name="T15" fmla="*/ 12779 h 320"/>
                <a:gd name="T16" fmla="*/ 14329 w 345"/>
                <a:gd name="T17" fmla="*/ 12779 h 320"/>
                <a:gd name="T18" fmla="*/ 17513 w 345"/>
                <a:gd name="T19" fmla="*/ 19169 h 320"/>
                <a:gd name="T20" fmla="*/ 10349 w 345"/>
                <a:gd name="T21" fmla="*/ 22364 h 320"/>
                <a:gd name="T22" fmla="*/ 10349 w 345"/>
                <a:gd name="T23" fmla="*/ 19169 h 320"/>
                <a:gd name="T24" fmla="*/ 0 w 345"/>
                <a:gd name="T25" fmla="*/ 22364 h 320"/>
                <a:gd name="T26" fmla="*/ 0 w 345"/>
                <a:gd name="T27" fmla="*/ 25559 h 320"/>
                <a:gd name="T28" fmla="*/ 14329 w 345"/>
                <a:gd name="T29" fmla="*/ 28754 h 320"/>
                <a:gd name="T30" fmla="*/ 20697 w 345"/>
                <a:gd name="T31" fmla="*/ 39137 h 320"/>
                <a:gd name="T32" fmla="*/ 20697 w 345"/>
                <a:gd name="T33" fmla="*/ 41533 h 320"/>
                <a:gd name="T34" fmla="*/ 17513 w 345"/>
                <a:gd name="T35" fmla="*/ 58306 h 320"/>
                <a:gd name="T36" fmla="*/ 23882 w 345"/>
                <a:gd name="T37" fmla="*/ 60702 h 320"/>
                <a:gd name="T38" fmla="*/ 41395 w 345"/>
                <a:gd name="T39" fmla="*/ 64696 h 320"/>
                <a:gd name="T40" fmla="*/ 41395 w 345"/>
                <a:gd name="T41" fmla="*/ 60702 h 320"/>
                <a:gd name="T42" fmla="*/ 48559 w 345"/>
                <a:gd name="T43" fmla="*/ 58306 h 320"/>
                <a:gd name="T44" fmla="*/ 58908 w 345"/>
                <a:gd name="T45" fmla="*/ 60702 h 320"/>
                <a:gd name="T46" fmla="*/ 62092 w 345"/>
                <a:gd name="T47" fmla="*/ 60702 h 320"/>
                <a:gd name="T48" fmla="*/ 65276 w 345"/>
                <a:gd name="T49" fmla="*/ 55111 h 320"/>
                <a:gd name="T50" fmla="*/ 62092 w 345"/>
                <a:gd name="T51" fmla="*/ 48721 h 320"/>
                <a:gd name="T52" fmla="*/ 62092 w 345"/>
                <a:gd name="T53" fmla="*/ 41533 h 320"/>
                <a:gd name="T54" fmla="*/ 62092 w 345"/>
                <a:gd name="T55" fmla="*/ 35942 h 320"/>
                <a:gd name="T56" fmla="*/ 58908 w 345"/>
                <a:gd name="T57" fmla="*/ 39137 h 320"/>
                <a:gd name="T58" fmla="*/ 58908 w 345"/>
                <a:gd name="T59" fmla="*/ 35942 h 320"/>
                <a:gd name="T60" fmla="*/ 62092 w 345"/>
                <a:gd name="T61" fmla="*/ 28754 h 320"/>
                <a:gd name="T62" fmla="*/ 65276 w 345"/>
                <a:gd name="T63" fmla="*/ 28754 h 320"/>
                <a:gd name="T64" fmla="*/ 69257 w 345"/>
                <a:gd name="T65" fmla="*/ 19169 h 320"/>
                <a:gd name="T66" fmla="*/ 58908 w 345"/>
                <a:gd name="T67" fmla="*/ 12779 h 320"/>
                <a:gd name="T68" fmla="*/ 54928 w 345"/>
                <a:gd name="T69" fmla="*/ 12779 h 320"/>
                <a:gd name="T70" fmla="*/ 51743 w 345"/>
                <a:gd name="T71" fmla="*/ 12779 h 320"/>
                <a:gd name="T72" fmla="*/ 51743 w 345"/>
                <a:gd name="T73" fmla="*/ 9585 h 320"/>
                <a:gd name="T74" fmla="*/ 48559 w 345"/>
                <a:gd name="T75" fmla="*/ 9585 h 320"/>
                <a:gd name="T76" fmla="*/ 48559 w 345"/>
                <a:gd name="T77" fmla="*/ 6390 h 320"/>
                <a:gd name="T78" fmla="*/ 41395 w 345"/>
                <a:gd name="T79" fmla="*/ 3195 h 320"/>
                <a:gd name="T80" fmla="*/ 41395 w 345"/>
                <a:gd name="T81" fmla="*/ 0 h 3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5"/>
                <a:gd name="T124" fmla="*/ 0 h 320"/>
                <a:gd name="T125" fmla="*/ 345 w 345"/>
                <a:gd name="T126" fmla="*/ 320 h 3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5" h="320">
                  <a:moveTo>
                    <a:pt x="207" y="0"/>
                  </a:moveTo>
                  <a:lnTo>
                    <a:pt x="207" y="0"/>
                  </a:lnTo>
                  <a:lnTo>
                    <a:pt x="172" y="15"/>
                  </a:lnTo>
                  <a:lnTo>
                    <a:pt x="172" y="48"/>
                  </a:lnTo>
                  <a:lnTo>
                    <a:pt x="138" y="63"/>
                  </a:lnTo>
                  <a:lnTo>
                    <a:pt x="120" y="80"/>
                  </a:lnTo>
                  <a:lnTo>
                    <a:pt x="103" y="80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86" y="96"/>
                  </a:lnTo>
                  <a:lnTo>
                    <a:pt x="51" y="111"/>
                  </a:lnTo>
                  <a:lnTo>
                    <a:pt x="51" y="96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69" y="144"/>
                  </a:lnTo>
                  <a:lnTo>
                    <a:pt x="103" y="192"/>
                  </a:lnTo>
                  <a:lnTo>
                    <a:pt x="103" y="207"/>
                  </a:lnTo>
                  <a:lnTo>
                    <a:pt x="86" y="288"/>
                  </a:lnTo>
                  <a:lnTo>
                    <a:pt x="120" y="303"/>
                  </a:lnTo>
                  <a:lnTo>
                    <a:pt x="207" y="320"/>
                  </a:lnTo>
                  <a:lnTo>
                    <a:pt x="207" y="303"/>
                  </a:lnTo>
                  <a:lnTo>
                    <a:pt x="241" y="288"/>
                  </a:lnTo>
                  <a:lnTo>
                    <a:pt x="293" y="303"/>
                  </a:lnTo>
                  <a:lnTo>
                    <a:pt x="311" y="303"/>
                  </a:lnTo>
                  <a:lnTo>
                    <a:pt x="328" y="272"/>
                  </a:lnTo>
                  <a:lnTo>
                    <a:pt x="311" y="240"/>
                  </a:lnTo>
                  <a:lnTo>
                    <a:pt x="311" y="207"/>
                  </a:lnTo>
                  <a:lnTo>
                    <a:pt x="311" y="176"/>
                  </a:lnTo>
                  <a:lnTo>
                    <a:pt x="293" y="192"/>
                  </a:lnTo>
                  <a:lnTo>
                    <a:pt x="293" y="176"/>
                  </a:lnTo>
                  <a:lnTo>
                    <a:pt x="311" y="144"/>
                  </a:lnTo>
                  <a:lnTo>
                    <a:pt x="328" y="144"/>
                  </a:lnTo>
                  <a:lnTo>
                    <a:pt x="345" y="96"/>
                  </a:lnTo>
                  <a:lnTo>
                    <a:pt x="293" y="63"/>
                  </a:lnTo>
                  <a:lnTo>
                    <a:pt x="276" y="63"/>
                  </a:lnTo>
                  <a:lnTo>
                    <a:pt x="259" y="63"/>
                  </a:lnTo>
                  <a:lnTo>
                    <a:pt x="259" y="48"/>
                  </a:lnTo>
                  <a:lnTo>
                    <a:pt x="241" y="48"/>
                  </a:lnTo>
                  <a:lnTo>
                    <a:pt x="241" y="32"/>
                  </a:lnTo>
                  <a:lnTo>
                    <a:pt x="207" y="15"/>
                  </a:lnTo>
                  <a:lnTo>
                    <a:pt x="207" y="0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7" name="Freeform 249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974567" y="3735076"/>
              <a:ext cx="128261" cy="202714"/>
            </a:xfrm>
            <a:custGeom>
              <a:avLst/>
              <a:gdLst>
                <a:gd name="T0" fmla="*/ 3969 w 88"/>
                <a:gd name="T1" fmla="*/ 23019 h 114"/>
                <a:gd name="T2" fmla="*/ 3969 w 88"/>
                <a:gd name="T3" fmla="*/ 23019 h 114"/>
                <a:gd name="T4" fmla="*/ 7938 w 88"/>
                <a:gd name="T5" fmla="*/ 23019 h 114"/>
                <a:gd name="T6" fmla="*/ 10319 w 88"/>
                <a:gd name="T7" fmla="*/ 23019 h 114"/>
                <a:gd name="T8" fmla="*/ 14288 w 88"/>
                <a:gd name="T9" fmla="*/ 13494 h 114"/>
                <a:gd name="T10" fmla="*/ 17463 w 88"/>
                <a:gd name="T11" fmla="*/ 13494 h 114"/>
                <a:gd name="T12" fmla="*/ 17463 w 88"/>
                <a:gd name="T13" fmla="*/ 9525 h 114"/>
                <a:gd name="T14" fmla="*/ 14288 w 88"/>
                <a:gd name="T15" fmla="*/ 9525 h 114"/>
                <a:gd name="T16" fmla="*/ 14288 w 88"/>
                <a:gd name="T17" fmla="*/ 0 h 114"/>
                <a:gd name="T18" fmla="*/ 3969 w 88"/>
                <a:gd name="T19" fmla="*/ 3969 h 114"/>
                <a:gd name="T20" fmla="*/ 0 w 88"/>
                <a:gd name="T21" fmla="*/ 9525 h 114"/>
                <a:gd name="T22" fmla="*/ 0 w 88"/>
                <a:gd name="T23" fmla="*/ 16669 h 114"/>
                <a:gd name="T24" fmla="*/ 3969 w 88"/>
                <a:gd name="T25" fmla="*/ 19050 h 114"/>
                <a:gd name="T26" fmla="*/ 3969 w 88"/>
                <a:gd name="T27" fmla="*/ 23019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114"/>
                <a:gd name="T44" fmla="*/ 88 w 88"/>
                <a:gd name="T45" fmla="*/ 114 h 1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114">
                  <a:moveTo>
                    <a:pt x="19" y="114"/>
                  </a:moveTo>
                  <a:lnTo>
                    <a:pt x="19" y="114"/>
                  </a:lnTo>
                  <a:lnTo>
                    <a:pt x="37" y="114"/>
                  </a:lnTo>
                  <a:lnTo>
                    <a:pt x="54" y="114"/>
                  </a:lnTo>
                  <a:lnTo>
                    <a:pt x="71" y="66"/>
                  </a:lnTo>
                  <a:lnTo>
                    <a:pt x="88" y="66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0"/>
                  </a:lnTo>
                  <a:lnTo>
                    <a:pt x="19" y="1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9" y="96"/>
                  </a:lnTo>
                  <a:lnTo>
                    <a:pt x="19" y="114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8" name="Freeform 250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99666" y="4048035"/>
              <a:ext cx="148667" cy="199157"/>
            </a:xfrm>
            <a:custGeom>
              <a:avLst/>
              <a:gdLst>
                <a:gd name="T0" fmla="*/ 13234 w 104"/>
                <a:gd name="T1" fmla="*/ 22425 h 111"/>
                <a:gd name="T2" fmla="*/ 13234 w 104"/>
                <a:gd name="T3" fmla="*/ 22425 h 111"/>
                <a:gd name="T4" fmla="*/ 13234 w 104"/>
                <a:gd name="T5" fmla="*/ 12814 h 111"/>
                <a:gd name="T6" fmla="*/ 16348 w 104"/>
                <a:gd name="T7" fmla="*/ 9611 h 111"/>
                <a:gd name="T8" fmla="*/ 19462 w 104"/>
                <a:gd name="T9" fmla="*/ 0 h 111"/>
                <a:gd name="T10" fmla="*/ 10120 w 104"/>
                <a:gd name="T11" fmla="*/ 3204 h 111"/>
                <a:gd name="T12" fmla="*/ 13234 w 104"/>
                <a:gd name="T13" fmla="*/ 9611 h 111"/>
                <a:gd name="T14" fmla="*/ 10120 w 104"/>
                <a:gd name="T15" fmla="*/ 9611 h 111"/>
                <a:gd name="T16" fmla="*/ 10120 w 104"/>
                <a:gd name="T17" fmla="*/ 6407 h 111"/>
                <a:gd name="T18" fmla="*/ 6228 w 104"/>
                <a:gd name="T19" fmla="*/ 6407 h 111"/>
                <a:gd name="T20" fmla="*/ 0 w 104"/>
                <a:gd name="T21" fmla="*/ 19222 h 111"/>
                <a:gd name="T22" fmla="*/ 10120 w 104"/>
                <a:gd name="T23" fmla="*/ 19222 h 111"/>
                <a:gd name="T24" fmla="*/ 13234 w 104"/>
                <a:gd name="T25" fmla="*/ 22425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69" y="111"/>
                  </a:moveTo>
                  <a:lnTo>
                    <a:pt x="69" y="111"/>
                  </a:lnTo>
                  <a:lnTo>
                    <a:pt x="69" y="63"/>
                  </a:lnTo>
                  <a:lnTo>
                    <a:pt x="87" y="48"/>
                  </a:lnTo>
                  <a:lnTo>
                    <a:pt x="104" y="0"/>
                  </a:lnTo>
                  <a:lnTo>
                    <a:pt x="52" y="15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52" y="32"/>
                  </a:lnTo>
                  <a:lnTo>
                    <a:pt x="35" y="32"/>
                  </a:lnTo>
                  <a:lnTo>
                    <a:pt x="0" y="96"/>
                  </a:lnTo>
                  <a:lnTo>
                    <a:pt x="52" y="96"/>
                  </a:lnTo>
                  <a:lnTo>
                    <a:pt x="69" y="111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79" name="Freeform 251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770515" y="4218741"/>
              <a:ext cx="128261" cy="113804"/>
            </a:xfrm>
            <a:custGeom>
              <a:avLst/>
              <a:gdLst>
                <a:gd name="T0" fmla="*/ 14288 w 88"/>
                <a:gd name="T1" fmla="*/ 12902 h 63"/>
                <a:gd name="T2" fmla="*/ 14288 w 88"/>
                <a:gd name="T3" fmla="*/ 12902 h 63"/>
                <a:gd name="T4" fmla="*/ 10319 w 88"/>
                <a:gd name="T5" fmla="*/ 12902 h 63"/>
                <a:gd name="T6" fmla="*/ 10319 w 88"/>
                <a:gd name="T7" fmla="*/ 9676 h 63"/>
                <a:gd name="T8" fmla="*/ 7144 w 88"/>
                <a:gd name="T9" fmla="*/ 9676 h 63"/>
                <a:gd name="T10" fmla="*/ 7144 w 88"/>
                <a:gd name="T11" fmla="*/ 6451 h 63"/>
                <a:gd name="T12" fmla="*/ 0 w 88"/>
                <a:gd name="T13" fmla="*/ 3225 h 63"/>
                <a:gd name="T14" fmla="*/ 0 w 88"/>
                <a:gd name="T15" fmla="*/ 0 h 63"/>
                <a:gd name="T16" fmla="*/ 3969 w 88"/>
                <a:gd name="T17" fmla="*/ 0 h 63"/>
                <a:gd name="T18" fmla="*/ 14288 w 88"/>
                <a:gd name="T19" fmla="*/ 0 h 63"/>
                <a:gd name="T20" fmla="*/ 17463 w 88"/>
                <a:gd name="T21" fmla="*/ 3225 h 63"/>
                <a:gd name="T22" fmla="*/ 17463 w 88"/>
                <a:gd name="T23" fmla="*/ 9676 h 63"/>
                <a:gd name="T24" fmla="*/ 14288 w 88"/>
                <a:gd name="T25" fmla="*/ 9676 h 63"/>
                <a:gd name="T26" fmla="*/ 14288 w 88"/>
                <a:gd name="T27" fmla="*/ 12902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63"/>
                <a:gd name="T44" fmla="*/ 88 w 88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63">
                  <a:moveTo>
                    <a:pt x="71" y="63"/>
                  </a:moveTo>
                  <a:lnTo>
                    <a:pt x="71" y="63"/>
                  </a:lnTo>
                  <a:lnTo>
                    <a:pt x="54" y="63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36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71" y="0"/>
                  </a:lnTo>
                  <a:lnTo>
                    <a:pt x="88" y="15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6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0" name="Freeform 252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024123" y="4364553"/>
              <a:ext cx="306078" cy="170706"/>
            </a:xfrm>
            <a:custGeom>
              <a:avLst/>
              <a:gdLst>
                <a:gd name="T0" fmla="*/ 0 w 209"/>
                <a:gd name="T1" fmla="*/ 12700 h 96"/>
                <a:gd name="T2" fmla="*/ 0 w 209"/>
                <a:gd name="T3" fmla="*/ 12700 h 96"/>
                <a:gd name="T4" fmla="*/ 7178 w 209"/>
                <a:gd name="T5" fmla="*/ 12700 h 96"/>
                <a:gd name="T6" fmla="*/ 21534 w 209"/>
                <a:gd name="T7" fmla="*/ 9525 h 96"/>
                <a:gd name="T8" fmla="*/ 21534 w 209"/>
                <a:gd name="T9" fmla="*/ 5556 h 96"/>
                <a:gd name="T10" fmla="*/ 24724 w 209"/>
                <a:gd name="T11" fmla="*/ 3175 h 96"/>
                <a:gd name="T12" fmla="*/ 31902 w 209"/>
                <a:gd name="T13" fmla="*/ 3175 h 96"/>
                <a:gd name="T14" fmla="*/ 31902 w 209"/>
                <a:gd name="T15" fmla="*/ 0 h 96"/>
                <a:gd name="T16" fmla="*/ 42270 w 209"/>
                <a:gd name="T17" fmla="*/ 3175 h 96"/>
                <a:gd name="T18" fmla="*/ 42270 w 209"/>
                <a:gd name="T19" fmla="*/ 9525 h 96"/>
                <a:gd name="T20" fmla="*/ 38282 w 209"/>
                <a:gd name="T21" fmla="*/ 15875 h 96"/>
                <a:gd name="T22" fmla="*/ 24724 w 209"/>
                <a:gd name="T23" fmla="*/ 19050 h 96"/>
                <a:gd name="T24" fmla="*/ 17546 w 209"/>
                <a:gd name="T25" fmla="*/ 15875 h 96"/>
                <a:gd name="T26" fmla="*/ 7178 w 209"/>
                <a:gd name="T27" fmla="*/ 15875 h 96"/>
                <a:gd name="T28" fmla="*/ 3988 w 209"/>
                <a:gd name="T29" fmla="*/ 15875 h 96"/>
                <a:gd name="T30" fmla="*/ 0 w 209"/>
                <a:gd name="T31" fmla="*/ 12700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0" y="64"/>
                  </a:moveTo>
                  <a:lnTo>
                    <a:pt x="0" y="64"/>
                  </a:lnTo>
                  <a:lnTo>
                    <a:pt x="34" y="64"/>
                  </a:lnTo>
                  <a:lnTo>
                    <a:pt x="105" y="48"/>
                  </a:lnTo>
                  <a:lnTo>
                    <a:pt x="105" y="31"/>
                  </a:lnTo>
                  <a:lnTo>
                    <a:pt x="123" y="16"/>
                  </a:lnTo>
                  <a:lnTo>
                    <a:pt x="157" y="16"/>
                  </a:lnTo>
                  <a:lnTo>
                    <a:pt x="157" y="0"/>
                  </a:lnTo>
                  <a:lnTo>
                    <a:pt x="209" y="16"/>
                  </a:lnTo>
                  <a:lnTo>
                    <a:pt x="209" y="48"/>
                  </a:lnTo>
                  <a:lnTo>
                    <a:pt x="192" y="79"/>
                  </a:lnTo>
                  <a:lnTo>
                    <a:pt x="123" y="96"/>
                  </a:lnTo>
                  <a:lnTo>
                    <a:pt x="88" y="79"/>
                  </a:lnTo>
                  <a:lnTo>
                    <a:pt x="34" y="79"/>
                  </a:lnTo>
                  <a:lnTo>
                    <a:pt x="17" y="79"/>
                  </a:lnTo>
                  <a:lnTo>
                    <a:pt x="0" y="64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1" name="Freeform 253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898777" y="4474800"/>
              <a:ext cx="180731" cy="113804"/>
            </a:xfrm>
            <a:custGeom>
              <a:avLst/>
              <a:gdLst>
                <a:gd name="T0" fmla="*/ 7202 w 123"/>
                <a:gd name="T1" fmla="*/ 12902 h 63"/>
                <a:gd name="T2" fmla="*/ 7202 w 123"/>
                <a:gd name="T3" fmla="*/ 12902 h 63"/>
                <a:gd name="T4" fmla="*/ 14404 w 123"/>
                <a:gd name="T5" fmla="*/ 9676 h 63"/>
                <a:gd name="T6" fmla="*/ 18405 w 123"/>
                <a:gd name="T7" fmla="*/ 9676 h 63"/>
                <a:gd name="T8" fmla="*/ 18405 w 123"/>
                <a:gd name="T9" fmla="*/ 6451 h 63"/>
                <a:gd name="T10" fmla="*/ 21605 w 123"/>
                <a:gd name="T11" fmla="*/ 9676 h 63"/>
                <a:gd name="T12" fmla="*/ 24806 w 123"/>
                <a:gd name="T13" fmla="*/ 3225 h 63"/>
                <a:gd name="T14" fmla="*/ 21605 w 123"/>
                <a:gd name="T15" fmla="*/ 3225 h 63"/>
                <a:gd name="T16" fmla="*/ 18405 w 123"/>
                <a:gd name="T17" fmla="*/ 0 h 63"/>
                <a:gd name="T18" fmla="*/ 7202 w 123"/>
                <a:gd name="T19" fmla="*/ 0 h 63"/>
                <a:gd name="T20" fmla="*/ 4001 w 123"/>
                <a:gd name="T21" fmla="*/ 0 h 63"/>
                <a:gd name="T22" fmla="*/ 0 w 123"/>
                <a:gd name="T23" fmla="*/ 6451 h 63"/>
                <a:gd name="T24" fmla="*/ 0 w 123"/>
                <a:gd name="T25" fmla="*/ 9676 h 63"/>
                <a:gd name="T26" fmla="*/ 4001 w 123"/>
                <a:gd name="T27" fmla="*/ 6451 h 63"/>
                <a:gd name="T28" fmla="*/ 4001 w 123"/>
                <a:gd name="T29" fmla="*/ 12902 h 63"/>
                <a:gd name="T30" fmla="*/ 7202 w 123"/>
                <a:gd name="T31" fmla="*/ 12902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63"/>
                <a:gd name="T50" fmla="*/ 123 w 123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63">
                  <a:moveTo>
                    <a:pt x="35" y="63"/>
                  </a:moveTo>
                  <a:lnTo>
                    <a:pt x="35" y="63"/>
                  </a:lnTo>
                  <a:lnTo>
                    <a:pt x="71" y="48"/>
                  </a:lnTo>
                  <a:lnTo>
                    <a:pt x="89" y="48"/>
                  </a:lnTo>
                  <a:lnTo>
                    <a:pt x="89" y="32"/>
                  </a:lnTo>
                  <a:lnTo>
                    <a:pt x="106" y="48"/>
                  </a:lnTo>
                  <a:lnTo>
                    <a:pt x="123" y="15"/>
                  </a:lnTo>
                  <a:lnTo>
                    <a:pt x="106" y="15"/>
                  </a:lnTo>
                  <a:lnTo>
                    <a:pt x="89" y="0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18" y="32"/>
                  </a:lnTo>
                  <a:lnTo>
                    <a:pt x="18" y="63"/>
                  </a:lnTo>
                  <a:lnTo>
                    <a:pt x="35" y="6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2" name="Freeform 254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71158" y="3649722"/>
              <a:ext cx="46641" cy="85353"/>
            </a:xfrm>
            <a:custGeom>
              <a:avLst/>
              <a:gdLst>
                <a:gd name="T0" fmla="*/ 0 w 33"/>
                <a:gd name="T1" fmla="*/ 9525 h 48"/>
                <a:gd name="T2" fmla="*/ 3079 w 33"/>
                <a:gd name="T3" fmla="*/ 3969 h 48"/>
                <a:gd name="T4" fmla="*/ 6158 w 33"/>
                <a:gd name="T5" fmla="*/ 0 h 48"/>
                <a:gd name="T6" fmla="*/ 0 w 33"/>
                <a:gd name="T7" fmla="*/ 3969 h 48"/>
                <a:gd name="T8" fmla="*/ 0 w 33"/>
                <a:gd name="T9" fmla="*/ 9525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48"/>
                <a:gd name="T17" fmla="*/ 33 w 33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48">
                  <a:moveTo>
                    <a:pt x="0" y="48"/>
                  </a:moveTo>
                  <a:lnTo>
                    <a:pt x="18" y="18"/>
                  </a:lnTo>
                  <a:lnTo>
                    <a:pt x="33" y="0"/>
                  </a:lnTo>
                  <a:lnTo>
                    <a:pt x="0" y="18"/>
                  </a:lnTo>
                  <a:lnTo>
                    <a:pt x="0" y="48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3" name="Freeform 255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595613" y="3479017"/>
              <a:ext cx="26236" cy="32008"/>
            </a:xfrm>
            <a:custGeom>
              <a:avLst/>
              <a:gdLst>
                <a:gd name="T0" fmla="*/ 0 w 17"/>
                <a:gd name="T1" fmla="*/ 3969 h 18"/>
                <a:gd name="T2" fmla="*/ 0 w 17"/>
                <a:gd name="T3" fmla="*/ 3969 h 18"/>
                <a:gd name="T4" fmla="*/ 4202 w 17"/>
                <a:gd name="T5" fmla="*/ 0 h 18"/>
                <a:gd name="T6" fmla="*/ 4202 w 17"/>
                <a:gd name="T7" fmla="*/ 3969 h 18"/>
                <a:gd name="T8" fmla="*/ 0 w 17"/>
                <a:gd name="T9" fmla="*/ 396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8"/>
                  </a:moveTo>
                  <a:lnTo>
                    <a:pt x="0" y="18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4" name="Line 256"/>
            <p:cNvSpPr>
              <a:spLocks noChangeShapeType="1"/>
            </p:cNvSpPr>
            <p:nvPr>
              <p:custDataLst>
                <p:tags r:id="rId137"/>
              </p:custDataLst>
            </p:nvPr>
          </p:nvSpPr>
          <p:spPr bwMode="auto">
            <a:xfrm>
              <a:off x="531483" y="3635498"/>
              <a:ext cx="26236" cy="28451"/>
            </a:xfrm>
            <a:prstGeom prst="line">
              <a:avLst/>
            </a:pr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5" name="Freeform 257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898777" y="3937790"/>
              <a:ext cx="355633" cy="537013"/>
            </a:xfrm>
            <a:custGeom>
              <a:avLst/>
              <a:gdLst>
                <a:gd name="T0" fmla="*/ 27781 w 244"/>
                <a:gd name="T1" fmla="*/ 8702 h 303"/>
                <a:gd name="T2" fmla="*/ 27781 w 244"/>
                <a:gd name="T3" fmla="*/ 8702 h 303"/>
                <a:gd name="T4" fmla="*/ 42069 w 244"/>
                <a:gd name="T5" fmla="*/ 2373 h 303"/>
                <a:gd name="T6" fmla="*/ 42069 w 244"/>
                <a:gd name="T7" fmla="*/ 5538 h 303"/>
                <a:gd name="T8" fmla="*/ 38100 w 244"/>
                <a:gd name="T9" fmla="*/ 5538 h 303"/>
                <a:gd name="T10" fmla="*/ 45244 w 244"/>
                <a:gd name="T11" fmla="*/ 8702 h 303"/>
                <a:gd name="T12" fmla="*/ 48419 w 244"/>
                <a:gd name="T13" fmla="*/ 34019 h 303"/>
                <a:gd name="T14" fmla="*/ 45244 w 244"/>
                <a:gd name="T15" fmla="*/ 30854 h 303"/>
                <a:gd name="T16" fmla="*/ 38100 w 244"/>
                <a:gd name="T17" fmla="*/ 34019 h 303"/>
                <a:gd name="T18" fmla="*/ 31750 w 244"/>
                <a:gd name="T19" fmla="*/ 37183 h 303"/>
                <a:gd name="T20" fmla="*/ 34925 w 244"/>
                <a:gd name="T21" fmla="*/ 43512 h 303"/>
                <a:gd name="T22" fmla="*/ 42069 w 244"/>
                <a:gd name="T23" fmla="*/ 49841 h 303"/>
                <a:gd name="T24" fmla="*/ 38100 w 244"/>
                <a:gd name="T25" fmla="*/ 53006 h 303"/>
                <a:gd name="T26" fmla="*/ 38100 w 244"/>
                <a:gd name="T27" fmla="*/ 56170 h 303"/>
                <a:gd name="T28" fmla="*/ 24606 w 244"/>
                <a:gd name="T29" fmla="*/ 59335 h 303"/>
                <a:gd name="T30" fmla="*/ 18256 w 244"/>
                <a:gd name="T31" fmla="*/ 59335 h 303"/>
                <a:gd name="T32" fmla="*/ 7144 w 244"/>
                <a:gd name="T33" fmla="*/ 59335 h 303"/>
                <a:gd name="T34" fmla="*/ 11113 w 244"/>
                <a:gd name="T35" fmla="*/ 49841 h 303"/>
                <a:gd name="T36" fmla="*/ 0 w 244"/>
                <a:gd name="T37" fmla="*/ 43512 h 303"/>
                <a:gd name="T38" fmla="*/ 0 w 244"/>
                <a:gd name="T39" fmla="*/ 40348 h 303"/>
                <a:gd name="T40" fmla="*/ 0 w 244"/>
                <a:gd name="T41" fmla="*/ 34019 h 303"/>
                <a:gd name="T42" fmla="*/ 0 w 244"/>
                <a:gd name="T43" fmla="*/ 24525 h 303"/>
                <a:gd name="T44" fmla="*/ 3969 w 244"/>
                <a:gd name="T45" fmla="*/ 21361 h 303"/>
                <a:gd name="T46" fmla="*/ 7144 w 244"/>
                <a:gd name="T47" fmla="*/ 11867 h 303"/>
                <a:gd name="T48" fmla="*/ 14288 w 244"/>
                <a:gd name="T49" fmla="*/ 11867 h 303"/>
                <a:gd name="T50" fmla="*/ 18256 w 244"/>
                <a:gd name="T51" fmla="*/ 5538 h 303"/>
                <a:gd name="T52" fmla="*/ 14288 w 244"/>
                <a:gd name="T53" fmla="*/ 5538 h 303"/>
                <a:gd name="T54" fmla="*/ 18256 w 244"/>
                <a:gd name="T55" fmla="*/ 2373 h 303"/>
                <a:gd name="T56" fmla="*/ 14288 w 244"/>
                <a:gd name="T57" fmla="*/ 0 h 303"/>
                <a:gd name="T58" fmla="*/ 18256 w 244"/>
                <a:gd name="T59" fmla="*/ 0 h 303"/>
                <a:gd name="T60" fmla="*/ 21431 w 244"/>
                <a:gd name="T61" fmla="*/ 0 h 303"/>
                <a:gd name="T62" fmla="*/ 21431 w 244"/>
                <a:gd name="T63" fmla="*/ 2373 h 303"/>
                <a:gd name="T64" fmla="*/ 27781 w 244"/>
                <a:gd name="T65" fmla="*/ 5538 h 303"/>
                <a:gd name="T66" fmla="*/ 24606 w 244"/>
                <a:gd name="T67" fmla="*/ 8702 h 303"/>
                <a:gd name="T68" fmla="*/ 27781 w 244"/>
                <a:gd name="T69" fmla="*/ 8702 h 30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303"/>
                <a:gd name="T107" fmla="*/ 244 w 244"/>
                <a:gd name="T108" fmla="*/ 303 h 30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303">
                  <a:moveTo>
                    <a:pt x="140" y="47"/>
                  </a:moveTo>
                  <a:lnTo>
                    <a:pt x="140" y="47"/>
                  </a:lnTo>
                  <a:lnTo>
                    <a:pt x="210" y="15"/>
                  </a:lnTo>
                  <a:lnTo>
                    <a:pt x="210" y="30"/>
                  </a:lnTo>
                  <a:lnTo>
                    <a:pt x="192" y="30"/>
                  </a:lnTo>
                  <a:lnTo>
                    <a:pt x="227" y="47"/>
                  </a:lnTo>
                  <a:lnTo>
                    <a:pt x="244" y="174"/>
                  </a:lnTo>
                  <a:lnTo>
                    <a:pt x="227" y="159"/>
                  </a:lnTo>
                  <a:lnTo>
                    <a:pt x="192" y="174"/>
                  </a:lnTo>
                  <a:lnTo>
                    <a:pt x="158" y="191"/>
                  </a:lnTo>
                  <a:lnTo>
                    <a:pt x="175" y="222"/>
                  </a:lnTo>
                  <a:lnTo>
                    <a:pt x="210" y="255"/>
                  </a:lnTo>
                  <a:lnTo>
                    <a:pt x="192" y="270"/>
                  </a:lnTo>
                  <a:lnTo>
                    <a:pt x="192" y="287"/>
                  </a:lnTo>
                  <a:lnTo>
                    <a:pt x="123" y="303"/>
                  </a:lnTo>
                  <a:lnTo>
                    <a:pt x="89" y="303"/>
                  </a:lnTo>
                  <a:lnTo>
                    <a:pt x="35" y="303"/>
                  </a:lnTo>
                  <a:lnTo>
                    <a:pt x="54" y="255"/>
                  </a:lnTo>
                  <a:lnTo>
                    <a:pt x="0" y="222"/>
                  </a:lnTo>
                  <a:lnTo>
                    <a:pt x="0" y="207"/>
                  </a:lnTo>
                  <a:lnTo>
                    <a:pt x="0" y="174"/>
                  </a:lnTo>
                  <a:lnTo>
                    <a:pt x="0" y="126"/>
                  </a:lnTo>
                  <a:lnTo>
                    <a:pt x="18" y="111"/>
                  </a:lnTo>
                  <a:lnTo>
                    <a:pt x="35" y="63"/>
                  </a:lnTo>
                  <a:lnTo>
                    <a:pt x="71" y="63"/>
                  </a:lnTo>
                  <a:lnTo>
                    <a:pt x="89" y="30"/>
                  </a:lnTo>
                  <a:lnTo>
                    <a:pt x="71" y="30"/>
                  </a:lnTo>
                  <a:lnTo>
                    <a:pt x="89" y="15"/>
                  </a:lnTo>
                  <a:lnTo>
                    <a:pt x="71" y="0"/>
                  </a:lnTo>
                  <a:lnTo>
                    <a:pt x="89" y="0"/>
                  </a:lnTo>
                  <a:lnTo>
                    <a:pt x="106" y="0"/>
                  </a:lnTo>
                  <a:lnTo>
                    <a:pt x="106" y="15"/>
                  </a:lnTo>
                  <a:lnTo>
                    <a:pt x="140" y="30"/>
                  </a:lnTo>
                  <a:lnTo>
                    <a:pt x="123" y="47"/>
                  </a:lnTo>
                  <a:lnTo>
                    <a:pt x="140" y="47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6" name="Freeform 258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925012" y="4503251"/>
              <a:ext cx="480980" cy="544125"/>
            </a:xfrm>
            <a:custGeom>
              <a:avLst/>
              <a:gdLst>
                <a:gd name="T0" fmla="*/ 3969 w 330"/>
                <a:gd name="T1" fmla="*/ 23094 h 305"/>
                <a:gd name="T2" fmla="*/ 3969 w 330"/>
                <a:gd name="T3" fmla="*/ 23094 h 305"/>
                <a:gd name="T4" fmla="*/ 9525 w 330"/>
                <a:gd name="T5" fmla="*/ 19112 h 305"/>
                <a:gd name="T6" fmla="*/ 16669 w 330"/>
                <a:gd name="T7" fmla="*/ 23094 h 305"/>
                <a:gd name="T8" fmla="*/ 23813 w 330"/>
                <a:gd name="T9" fmla="*/ 32651 h 305"/>
                <a:gd name="T10" fmla="*/ 27781 w 330"/>
                <a:gd name="T11" fmla="*/ 32651 h 305"/>
                <a:gd name="T12" fmla="*/ 30956 w 330"/>
                <a:gd name="T13" fmla="*/ 38225 h 305"/>
                <a:gd name="T14" fmla="*/ 38100 w 330"/>
                <a:gd name="T15" fmla="*/ 42207 h 305"/>
                <a:gd name="T16" fmla="*/ 44450 w 330"/>
                <a:gd name="T17" fmla="*/ 47781 h 305"/>
                <a:gd name="T18" fmla="*/ 47625 w 330"/>
                <a:gd name="T19" fmla="*/ 47781 h 305"/>
                <a:gd name="T20" fmla="*/ 52388 w 330"/>
                <a:gd name="T21" fmla="*/ 57337 h 305"/>
                <a:gd name="T22" fmla="*/ 47625 w 330"/>
                <a:gd name="T23" fmla="*/ 61319 h 305"/>
                <a:gd name="T24" fmla="*/ 52388 w 330"/>
                <a:gd name="T25" fmla="*/ 61319 h 305"/>
                <a:gd name="T26" fmla="*/ 55563 w 330"/>
                <a:gd name="T27" fmla="*/ 57337 h 305"/>
                <a:gd name="T28" fmla="*/ 55563 w 330"/>
                <a:gd name="T29" fmla="*/ 54948 h 305"/>
                <a:gd name="T30" fmla="*/ 55563 w 330"/>
                <a:gd name="T31" fmla="*/ 51763 h 305"/>
                <a:gd name="T32" fmla="*/ 55563 w 330"/>
                <a:gd name="T33" fmla="*/ 45392 h 305"/>
                <a:gd name="T34" fmla="*/ 61913 w 330"/>
                <a:gd name="T35" fmla="*/ 51763 h 305"/>
                <a:gd name="T36" fmla="*/ 65881 w 330"/>
                <a:gd name="T37" fmla="*/ 47781 h 305"/>
                <a:gd name="T38" fmla="*/ 47625 w 330"/>
                <a:gd name="T39" fmla="*/ 38225 h 305"/>
                <a:gd name="T40" fmla="*/ 52388 w 330"/>
                <a:gd name="T41" fmla="*/ 35836 h 305"/>
                <a:gd name="T42" fmla="*/ 47625 w 330"/>
                <a:gd name="T43" fmla="*/ 35836 h 305"/>
                <a:gd name="T44" fmla="*/ 41275 w 330"/>
                <a:gd name="T45" fmla="*/ 32651 h 305"/>
                <a:gd name="T46" fmla="*/ 38100 w 330"/>
                <a:gd name="T47" fmla="*/ 26280 h 305"/>
                <a:gd name="T48" fmla="*/ 30956 w 330"/>
                <a:gd name="T49" fmla="*/ 19112 h 305"/>
                <a:gd name="T50" fmla="*/ 30956 w 330"/>
                <a:gd name="T51" fmla="*/ 9556 h 305"/>
                <a:gd name="T52" fmla="*/ 34131 w 330"/>
                <a:gd name="T53" fmla="*/ 9556 h 305"/>
                <a:gd name="T54" fmla="*/ 38100 w 330"/>
                <a:gd name="T55" fmla="*/ 9556 h 305"/>
                <a:gd name="T56" fmla="*/ 38100 w 330"/>
                <a:gd name="T57" fmla="*/ 7167 h 305"/>
                <a:gd name="T58" fmla="*/ 38100 w 330"/>
                <a:gd name="T59" fmla="*/ 3982 h 305"/>
                <a:gd name="T60" fmla="*/ 30956 w 330"/>
                <a:gd name="T61" fmla="*/ 0 h 305"/>
                <a:gd name="T62" fmla="*/ 19844 w 330"/>
                <a:gd name="T63" fmla="*/ 0 h 305"/>
                <a:gd name="T64" fmla="*/ 16669 w 330"/>
                <a:gd name="T65" fmla="*/ 7167 h 305"/>
                <a:gd name="T66" fmla="*/ 14288 w 330"/>
                <a:gd name="T67" fmla="*/ 3982 h 305"/>
                <a:gd name="T68" fmla="*/ 14288 w 330"/>
                <a:gd name="T69" fmla="*/ 7167 h 305"/>
                <a:gd name="T70" fmla="*/ 9525 w 330"/>
                <a:gd name="T71" fmla="*/ 7167 h 305"/>
                <a:gd name="T72" fmla="*/ 3969 w 330"/>
                <a:gd name="T73" fmla="*/ 9556 h 305"/>
                <a:gd name="T74" fmla="*/ 0 w 330"/>
                <a:gd name="T75" fmla="*/ 9556 h 305"/>
                <a:gd name="T76" fmla="*/ 0 w 330"/>
                <a:gd name="T77" fmla="*/ 16723 h 305"/>
                <a:gd name="T78" fmla="*/ 3969 w 330"/>
                <a:gd name="T79" fmla="*/ 23094 h 30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0"/>
                <a:gd name="T121" fmla="*/ 0 h 305"/>
                <a:gd name="T122" fmla="*/ 330 w 330"/>
                <a:gd name="T123" fmla="*/ 305 h 30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0" h="305">
                  <a:moveTo>
                    <a:pt x="17" y="113"/>
                  </a:moveTo>
                  <a:lnTo>
                    <a:pt x="17" y="113"/>
                  </a:lnTo>
                  <a:lnTo>
                    <a:pt x="51" y="96"/>
                  </a:lnTo>
                  <a:lnTo>
                    <a:pt x="86" y="113"/>
                  </a:lnTo>
                  <a:lnTo>
                    <a:pt x="120" y="161"/>
                  </a:lnTo>
                  <a:lnTo>
                    <a:pt x="138" y="161"/>
                  </a:lnTo>
                  <a:lnTo>
                    <a:pt x="155" y="192"/>
                  </a:lnTo>
                  <a:lnTo>
                    <a:pt x="192" y="209"/>
                  </a:lnTo>
                  <a:lnTo>
                    <a:pt x="226" y="240"/>
                  </a:lnTo>
                  <a:lnTo>
                    <a:pt x="243" y="240"/>
                  </a:lnTo>
                  <a:lnTo>
                    <a:pt x="261" y="288"/>
                  </a:lnTo>
                  <a:lnTo>
                    <a:pt x="243" y="305"/>
                  </a:lnTo>
                  <a:lnTo>
                    <a:pt x="261" y="305"/>
                  </a:lnTo>
                  <a:lnTo>
                    <a:pt x="278" y="288"/>
                  </a:lnTo>
                  <a:lnTo>
                    <a:pt x="278" y="273"/>
                  </a:lnTo>
                  <a:lnTo>
                    <a:pt x="278" y="257"/>
                  </a:lnTo>
                  <a:lnTo>
                    <a:pt x="278" y="225"/>
                  </a:lnTo>
                  <a:lnTo>
                    <a:pt x="312" y="257"/>
                  </a:lnTo>
                  <a:lnTo>
                    <a:pt x="330" y="240"/>
                  </a:lnTo>
                  <a:lnTo>
                    <a:pt x="243" y="192"/>
                  </a:lnTo>
                  <a:lnTo>
                    <a:pt x="261" y="177"/>
                  </a:lnTo>
                  <a:lnTo>
                    <a:pt x="243" y="177"/>
                  </a:lnTo>
                  <a:lnTo>
                    <a:pt x="209" y="161"/>
                  </a:lnTo>
                  <a:lnTo>
                    <a:pt x="192" y="129"/>
                  </a:lnTo>
                  <a:lnTo>
                    <a:pt x="155" y="96"/>
                  </a:lnTo>
                  <a:lnTo>
                    <a:pt x="155" y="48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192" y="33"/>
                  </a:lnTo>
                  <a:lnTo>
                    <a:pt x="192" y="17"/>
                  </a:lnTo>
                  <a:lnTo>
                    <a:pt x="155" y="0"/>
                  </a:lnTo>
                  <a:lnTo>
                    <a:pt x="103" y="0"/>
                  </a:lnTo>
                  <a:lnTo>
                    <a:pt x="86" y="33"/>
                  </a:lnTo>
                  <a:lnTo>
                    <a:pt x="69" y="17"/>
                  </a:lnTo>
                  <a:lnTo>
                    <a:pt x="69" y="33"/>
                  </a:lnTo>
                  <a:lnTo>
                    <a:pt x="51" y="33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7" y="113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7" name="Freeform 260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207766" y="4503251"/>
              <a:ext cx="99111" cy="85353"/>
            </a:xfrm>
            <a:custGeom>
              <a:avLst/>
              <a:gdLst>
                <a:gd name="T0" fmla="*/ 13108 w 70"/>
                <a:gd name="T1" fmla="*/ 3969 h 48"/>
                <a:gd name="T2" fmla="*/ 13108 w 70"/>
                <a:gd name="T3" fmla="*/ 3969 h 48"/>
                <a:gd name="T4" fmla="*/ 9253 w 70"/>
                <a:gd name="T5" fmla="*/ 3969 h 48"/>
                <a:gd name="T6" fmla="*/ 6169 w 70"/>
                <a:gd name="T7" fmla="*/ 9525 h 48"/>
                <a:gd name="T8" fmla="*/ 3084 w 70"/>
                <a:gd name="T9" fmla="*/ 9525 h 48"/>
                <a:gd name="T10" fmla="*/ 0 w 70"/>
                <a:gd name="T11" fmla="*/ 9525 h 48"/>
                <a:gd name="T12" fmla="*/ 0 w 70"/>
                <a:gd name="T13" fmla="*/ 7144 h 48"/>
                <a:gd name="T14" fmla="*/ 0 w 70"/>
                <a:gd name="T15" fmla="*/ 3969 h 48"/>
                <a:gd name="T16" fmla="*/ 13108 w 70"/>
                <a:gd name="T17" fmla="*/ 0 h 48"/>
                <a:gd name="T18" fmla="*/ 13108 w 70"/>
                <a:gd name="T19" fmla="*/ 3969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8"/>
                <a:gd name="T32" fmla="*/ 70 w 70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8">
                  <a:moveTo>
                    <a:pt x="70" y="17"/>
                  </a:moveTo>
                  <a:lnTo>
                    <a:pt x="70" y="17"/>
                  </a:lnTo>
                  <a:lnTo>
                    <a:pt x="52" y="17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70" y="0"/>
                  </a:lnTo>
                  <a:lnTo>
                    <a:pt x="70" y="17"/>
                  </a:lnTo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8" name="Freeform 261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484694" y="2429888"/>
              <a:ext cx="428509" cy="1081137"/>
            </a:xfrm>
            <a:custGeom>
              <a:avLst/>
              <a:gdLst>
                <a:gd name="T0" fmla="*/ 44450 w 294"/>
                <a:gd name="T1" fmla="*/ 15849 h 609"/>
                <a:gd name="T2" fmla="*/ 44450 w 294"/>
                <a:gd name="T3" fmla="*/ 15849 h 609"/>
                <a:gd name="T4" fmla="*/ 44450 w 294"/>
                <a:gd name="T5" fmla="*/ 25358 h 609"/>
                <a:gd name="T6" fmla="*/ 51594 w 294"/>
                <a:gd name="T7" fmla="*/ 31698 h 609"/>
                <a:gd name="T8" fmla="*/ 47625 w 294"/>
                <a:gd name="T9" fmla="*/ 41207 h 609"/>
                <a:gd name="T10" fmla="*/ 51594 w 294"/>
                <a:gd name="T11" fmla="*/ 57056 h 609"/>
                <a:gd name="T12" fmla="*/ 47625 w 294"/>
                <a:gd name="T13" fmla="*/ 66566 h 609"/>
                <a:gd name="T14" fmla="*/ 55563 w 294"/>
                <a:gd name="T15" fmla="*/ 76075 h 609"/>
                <a:gd name="T16" fmla="*/ 51594 w 294"/>
                <a:gd name="T17" fmla="*/ 82414 h 609"/>
                <a:gd name="T18" fmla="*/ 58738 w 294"/>
                <a:gd name="T19" fmla="*/ 87962 h 609"/>
                <a:gd name="T20" fmla="*/ 58738 w 294"/>
                <a:gd name="T21" fmla="*/ 91924 h 609"/>
                <a:gd name="T22" fmla="*/ 47625 w 294"/>
                <a:gd name="T23" fmla="*/ 106980 h 609"/>
                <a:gd name="T24" fmla="*/ 37306 w 294"/>
                <a:gd name="T25" fmla="*/ 114112 h 609"/>
                <a:gd name="T26" fmla="*/ 34131 w 294"/>
                <a:gd name="T27" fmla="*/ 114112 h 609"/>
                <a:gd name="T28" fmla="*/ 16669 w 294"/>
                <a:gd name="T29" fmla="*/ 120452 h 609"/>
                <a:gd name="T30" fmla="*/ 3969 w 294"/>
                <a:gd name="T31" fmla="*/ 114112 h 609"/>
                <a:gd name="T32" fmla="*/ 7144 w 294"/>
                <a:gd name="T33" fmla="*/ 104603 h 609"/>
                <a:gd name="T34" fmla="*/ 3969 w 294"/>
                <a:gd name="T35" fmla="*/ 95094 h 609"/>
                <a:gd name="T36" fmla="*/ 7144 w 294"/>
                <a:gd name="T37" fmla="*/ 87962 h 609"/>
                <a:gd name="T38" fmla="*/ 20638 w 294"/>
                <a:gd name="T39" fmla="*/ 69735 h 609"/>
                <a:gd name="T40" fmla="*/ 23813 w 294"/>
                <a:gd name="T41" fmla="*/ 66566 h 609"/>
                <a:gd name="T42" fmla="*/ 23813 w 294"/>
                <a:gd name="T43" fmla="*/ 60226 h 609"/>
                <a:gd name="T44" fmla="*/ 20638 w 294"/>
                <a:gd name="T45" fmla="*/ 57056 h 609"/>
                <a:gd name="T46" fmla="*/ 16669 w 294"/>
                <a:gd name="T47" fmla="*/ 57056 h 609"/>
                <a:gd name="T48" fmla="*/ 14288 w 294"/>
                <a:gd name="T49" fmla="*/ 28528 h 609"/>
                <a:gd name="T50" fmla="*/ 0 w 294"/>
                <a:gd name="T51" fmla="*/ 15849 h 609"/>
                <a:gd name="T52" fmla="*/ 3969 w 294"/>
                <a:gd name="T53" fmla="*/ 12679 h 609"/>
                <a:gd name="T54" fmla="*/ 10319 w 294"/>
                <a:gd name="T55" fmla="*/ 19019 h 609"/>
                <a:gd name="T56" fmla="*/ 14288 w 294"/>
                <a:gd name="T57" fmla="*/ 19019 h 609"/>
                <a:gd name="T58" fmla="*/ 16669 w 294"/>
                <a:gd name="T59" fmla="*/ 19019 h 609"/>
                <a:gd name="T60" fmla="*/ 23813 w 294"/>
                <a:gd name="T61" fmla="*/ 19019 h 609"/>
                <a:gd name="T62" fmla="*/ 27781 w 294"/>
                <a:gd name="T63" fmla="*/ 15849 h 609"/>
                <a:gd name="T64" fmla="*/ 30956 w 294"/>
                <a:gd name="T65" fmla="*/ 3170 h 609"/>
                <a:gd name="T66" fmla="*/ 37306 w 294"/>
                <a:gd name="T67" fmla="*/ 0 h 609"/>
                <a:gd name="T68" fmla="*/ 47625 w 294"/>
                <a:gd name="T69" fmla="*/ 6340 h 609"/>
                <a:gd name="T70" fmla="*/ 44450 w 294"/>
                <a:gd name="T71" fmla="*/ 15849 h 6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609"/>
                <a:gd name="T110" fmla="*/ 294 w 294"/>
                <a:gd name="T111" fmla="*/ 609 h 6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609">
                  <a:moveTo>
                    <a:pt x="225" y="81"/>
                  </a:moveTo>
                  <a:lnTo>
                    <a:pt x="225" y="81"/>
                  </a:lnTo>
                  <a:lnTo>
                    <a:pt x="225" y="129"/>
                  </a:lnTo>
                  <a:lnTo>
                    <a:pt x="260" y="160"/>
                  </a:lnTo>
                  <a:lnTo>
                    <a:pt x="242" y="208"/>
                  </a:lnTo>
                  <a:lnTo>
                    <a:pt x="260" y="288"/>
                  </a:lnTo>
                  <a:lnTo>
                    <a:pt x="242" y="336"/>
                  </a:lnTo>
                  <a:lnTo>
                    <a:pt x="277" y="384"/>
                  </a:lnTo>
                  <a:lnTo>
                    <a:pt x="260" y="417"/>
                  </a:lnTo>
                  <a:lnTo>
                    <a:pt x="294" y="447"/>
                  </a:lnTo>
                  <a:lnTo>
                    <a:pt x="294" y="465"/>
                  </a:lnTo>
                  <a:lnTo>
                    <a:pt x="242" y="543"/>
                  </a:lnTo>
                  <a:lnTo>
                    <a:pt x="191" y="576"/>
                  </a:lnTo>
                  <a:lnTo>
                    <a:pt x="173" y="576"/>
                  </a:lnTo>
                  <a:lnTo>
                    <a:pt x="87" y="609"/>
                  </a:lnTo>
                  <a:lnTo>
                    <a:pt x="18" y="576"/>
                  </a:lnTo>
                  <a:lnTo>
                    <a:pt x="35" y="528"/>
                  </a:lnTo>
                  <a:lnTo>
                    <a:pt x="18" y="480"/>
                  </a:lnTo>
                  <a:lnTo>
                    <a:pt x="35" y="447"/>
                  </a:lnTo>
                  <a:lnTo>
                    <a:pt x="104" y="352"/>
                  </a:lnTo>
                  <a:lnTo>
                    <a:pt x="121" y="336"/>
                  </a:lnTo>
                  <a:lnTo>
                    <a:pt x="121" y="304"/>
                  </a:lnTo>
                  <a:lnTo>
                    <a:pt x="104" y="288"/>
                  </a:lnTo>
                  <a:lnTo>
                    <a:pt x="87" y="288"/>
                  </a:lnTo>
                  <a:lnTo>
                    <a:pt x="70" y="144"/>
                  </a:lnTo>
                  <a:lnTo>
                    <a:pt x="0" y="81"/>
                  </a:lnTo>
                  <a:lnTo>
                    <a:pt x="18" y="64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87" y="96"/>
                  </a:lnTo>
                  <a:lnTo>
                    <a:pt x="121" y="96"/>
                  </a:lnTo>
                  <a:lnTo>
                    <a:pt x="139" y="81"/>
                  </a:lnTo>
                  <a:lnTo>
                    <a:pt x="156" y="16"/>
                  </a:lnTo>
                  <a:lnTo>
                    <a:pt x="191" y="0"/>
                  </a:lnTo>
                  <a:lnTo>
                    <a:pt x="242" y="33"/>
                  </a:lnTo>
                  <a:lnTo>
                    <a:pt x="225" y="81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89" name="Freeform 262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849221" y="2284077"/>
              <a:ext cx="1063983" cy="1397655"/>
            </a:xfrm>
            <a:custGeom>
              <a:avLst/>
              <a:gdLst>
                <a:gd name="T0" fmla="*/ 34178 w 729"/>
                <a:gd name="T1" fmla="*/ 149415 h 785"/>
                <a:gd name="T2" fmla="*/ 30999 w 729"/>
                <a:gd name="T3" fmla="*/ 143057 h 785"/>
                <a:gd name="T4" fmla="*/ 27819 w 729"/>
                <a:gd name="T5" fmla="*/ 147031 h 785"/>
                <a:gd name="T6" fmla="*/ 10333 w 729"/>
                <a:gd name="T7" fmla="*/ 156568 h 785"/>
                <a:gd name="T8" fmla="*/ 7154 w 729"/>
                <a:gd name="T9" fmla="*/ 143057 h 785"/>
                <a:gd name="T10" fmla="*/ 3974 w 729"/>
                <a:gd name="T11" fmla="*/ 143057 h 785"/>
                <a:gd name="T12" fmla="*/ 3974 w 729"/>
                <a:gd name="T13" fmla="*/ 133520 h 785"/>
                <a:gd name="T14" fmla="*/ 3974 w 729"/>
                <a:gd name="T15" fmla="*/ 120804 h 785"/>
                <a:gd name="T16" fmla="*/ 14307 w 729"/>
                <a:gd name="T17" fmla="*/ 108882 h 785"/>
                <a:gd name="T18" fmla="*/ 24640 w 729"/>
                <a:gd name="T19" fmla="*/ 99345 h 785"/>
                <a:gd name="T20" fmla="*/ 34178 w 729"/>
                <a:gd name="T21" fmla="*/ 85834 h 785"/>
                <a:gd name="T22" fmla="*/ 48485 w 729"/>
                <a:gd name="T23" fmla="*/ 63581 h 785"/>
                <a:gd name="T24" fmla="*/ 61997 w 729"/>
                <a:gd name="T25" fmla="*/ 42122 h 785"/>
                <a:gd name="T26" fmla="*/ 44511 w 729"/>
                <a:gd name="T27" fmla="*/ 47686 h 785"/>
                <a:gd name="T28" fmla="*/ 54844 w 729"/>
                <a:gd name="T29" fmla="*/ 42122 h 785"/>
                <a:gd name="T30" fmla="*/ 61997 w 729"/>
                <a:gd name="T31" fmla="*/ 28611 h 785"/>
                <a:gd name="T32" fmla="*/ 65177 w 729"/>
                <a:gd name="T33" fmla="*/ 32585 h 785"/>
                <a:gd name="T34" fmla="*/ 69151 w 729"/>
                <a:gd name="T35" fmla="*/ 32585 h 785"/>
                <a:gd name="T36" fmla="*/ 65177 w 729"/>
                <a:gd name="T37" fmla="*/ 25432 h 785"/>
                <a:gd name="T38" fmla="*/ 76305 w 729"/>
                <a:gd name="T39" fmla="*/ 15895 h 785"/>
                <a:gd name="T40" fmla="*/ 89817 w 729"/>
                <a:gd name="T41" fmla="*/ 13511 h 785"/>
                <a:gd name="T42" fmla="*/ 107303 w 729"/>
                <a:gd name="T43" fmla="*/ 6358 h 785"/>
                <a:gd name="T44" fmla="*/ 113662 w 729"/>
                <a:gd name="T45" fmla="*/ 0 h 785"/>
                <a:gd name="T46" fmla="*/ 117636 w 729"/>
                <a:gd name="T47" fmla="*/ 3974 h 785"/>
                <a:gd name="T48" fmla="*/ 123995 w 729"/>
                <a:gd name="T49" fmla="*/ 0 h 785"/>
                <a:gd name="T50" fmla="*/ 145456 w 729"/>
                <a:gd name="T51" fmla="*/ 13511 h 785"/>
                <a:gd name="T52" fmla="*/ 131149 w 729"/>
                <a:gd name="T53" fmla="*/ 15895 h 785"/>
                <a:gd name="T54" fmla="*/ 141481 w 729"/>
                <a:gd name="T55" fmla="*/ 23048 h 785"/>
                <a:gd name="T56" fmla="*/ 138302 w 729"/>
                <a:gd name="T57" fmla="*/ 25432 h 785"/>
                <a:gd name="T58" fmla="*/ 135123 w 729"/>
                <a:gd name="T59" fmla="*/ 23048 h 785"/>
                <a:gd name="T60" fmla="*/ 117636 w 729"/>
                <a:gd name="T61" fmla="*/ 19074 h 785"/>
                <a:gd name="T62" fmla="*/ 110483 w 729"/>
                <a:gd name="T63" fmla="*/ 34970 h 785"/>
                <a:gd name="T64" fmla="*/ 100150 w 729"/>
                <a:gd name="T65" fmla="*/ 34970 h 785"/>
                <a:gd name="T66" fmla="*/ 89817 w 729"/>
                <a:gd name="T67" fmla="*/ 28611 h 785"/>
                <a:gd name="T68" fmla="*/ 82663 w 729"/>
                <a:gd name="T69" fmla="*/ 32585 h 785"/>
                <a:gd name="T70" fmla="*/ 76305 w 729"/>
                <a:gd name="T71" fmla="*/ 38149 h 785"/>
                <a:gd name="T72" fmla="*/ 72330 w 729"/>
                <a:gd name="T73" fmla="*/ 44507 h 785"/>
                <a:gd name="T74" fmla="*/ 65177 w 729"/>
                <a:gd name="T75" fmla="*/ 47686 h 785"/>
                <a:gd name="T76" fmla="*/ 61997 w 729"/>
                <a:gd name="T77" fmla="*/ 57223 h 785"/>
                <a:gd name="T78" fmla="*/ 54844 w 729"/>
                <a:gd name="T79" fmla="*/ 70734 h 785"/>
                <a:gd name="T80" fmla="*/ 48485 w 729"/>
                <a:gd name="T81" fmla="*/ 85834 h 785"/>
                <a:gd name="T82" fmla="*/ 44511 w 729"/>
                <a:gd name="T83" fmla="*/ 95371 h 785"/>
                <a:gd name="T84" fmla="*/ 38152 w 729"/>
                <a:gd name="T85" fmla="*/ 111267 h 785"/>
                <a:gd name="T86" fmla="*/ 41332 w 729"/>
                <a:gd name="T87" fmla="*/ 127957 h 785"/>
                <a:gd name="T88" fmla="*/ 38152 w 729"/>
                <a:gd name="T89" fmla="*/ 139878 h 785"/>
                <a:gd name="T90" fmla="*/ 34178 w 729"/>
                <a:gd name="T91" fmla="*/ 149415 h 7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29"/>
                <a:gd name="T139" fmla="*/ 0 h 785"/>
                <a:gd name="T140" fmla="*/ 729 w 729"/>
                <a:gd name="T141" fmla="*/ 785 h 78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29" h="785">
                  <a:moveTo>
                    <a:pt x="172" y="752"/>
                  </a:moveTo>
                  <a:lnTo>
                    <a:pt x="172" y="752"/>
                  </a:lnTo>
                  <a:lnTo>
                    <a:pt x="172" y="737"/>
                  </a:lnTo>
                  <a:lnTo>
                    <a:pt x="155" y="719"/>
                  </a:lnTo>
                  <a:lnTo>
                    <a:pt x="155" y="737"/>
                  </a:lnTo>
                  <a:lnTo>
                    <a:pt x="138" y="737"/>
                  </a:lnTo>
                  <a:lnTo>
                    <a:pt x="86" y="785"/>
                  </a:lnTo>
                  <a:lnTo>
                    <a:pt x="52" y="785"/>
                  </a:lnTo>
                  <a:lnTo>
                    <a:pt x="17" y="767"/>
                  </a:lnTo>
                  <a:lnTo>
                    <a:pt x="34" y="719"/>
                  </a:lnTo>
                  <a:lnTo>
                    <a:pt x="17" y="737"/>
                  </a:lnTo>
                  <a:lnTo>
                    <a:pt x="17" y="719"/>
                  </a:lnTo>
                  <a:lnTo>
                    <a:pt x="17" y="704"/>
                  </a:lnTo>
                  <a:lnTo>
                    <a:pt x="17" y="671"/>
                  </a:lnTo>
                  <a:lnTo>
                    <a:pt x="0" y="641"/>
                  </a:lnTo>
                  <a:lnTo>
                    <a:pt x="17" y="608"/>
                  </a:lnTo>
                  <a:lnTo>
                    <a:pt x="0" y="593"/>
                  </a:lnTo>
                  <a:lnTo>
                    <a:pt x="69" y="545"/>
                  </a:lnTo>
                  <a:lnTo>
                    <a:pt x="86" y="527"/>
                  </a:lnTo>
                  <a:lnTo>
                    <a:pt x="121" y="497"/>
                  </a:lnTo>
                  <a:lnTo>
                    <a:pt x="121" y="512"/>
                  </a:lnTo>
                  <a:lnTo>
                    <a:pt x="172" y="432"/>
                  </a:lnTo>
                  <a:lnTo>
                    <a:pt x="207" y="401"/>
                  </a:lnTo>
                  <a:lnTo>
                    <a:pt x="242" y="320"/>
                  </a:lnTo>
                  <a:lnTo>
                    <a:pt x="276" y="240"/>
                  </a:lnTo>
                  <a:lnTo>
                    <a:pt x="311" y="209"/>
                  </a:lnTo>
                  <a:lnTo>
                    <a:pt x="259" y="224"/>
                  </a:lnTo>
                  <a:lnTo>
                    <a:pt x="224" y="240"/>
                  </a:lnTo>
                  <a:lnTo>
                    <a:pt x="242" y="209"/>
                  </a:lnTo>
                  <a:lnTo>
                    <a:pt x="276" y="209"/>
                  </a:lnTo>
                  <a:lnTo>
                    <a:pt x="259" y="176"/>
                  </a:lnTo>
                  <a:lnTo>
                    <a:pt x="311" y="144"/>
                  </a:lnTo>
                  <a:lnTo>
                    <a:pt x="311" y="176"/>
                  </a:lnTo>
                  <a:lnTo>
                    <a:pt x="328" y="161"/>
                  </a:lnTo>
                  <a:lnTo>
                    <a:pt x="328" y="176"/>
                  </a:lnTo>
                  <a:lnTo>
                    <a:pt x="347" y="161"/>
                  </a:lnTo>
                  <a:lnTo>
                    <a:pt x="328" y="161"/>
                  </a:lnTo>
                  <a:lnTo>
                    <a:pt x="328" y="128"/>
                  </a:lnTo>
                  <a:lnTo>
                    <a:pt x="364" y="113"/>
                  </a:lnTo>
                  <a:lnTo>
                    <a:pt x="382" y="80"/>
                  </a:lnTo>
                  <a:lnTo>
                    <a:pt x="416" y="80"/>
                  </a:lnTo>
                  <a:lnTo>
                    <a:pt x="451" y="65"/>
                  </a:lnTo>
                  <a:lnTo>
                    <a:pt x="503" y="17"/>
                  </a:lnTo>
                  <a:lnTo>
                    <a:pt x="537" y="32"/>
                  </a:lnTo>
                  <a:lnTo>
                    <a:pt x="555" y="17"/>
                  </a:lnTo>
                  <a:lnTo>
                    <a:pt x="572" y="0"/>
                  </a:lnTo>
                  <a:lnTo>
                    <a:pt x="572" y="48"/>
                  </a:lnTo>
                  <a:lnTo>
                    <a:pt x="589" y="17"/>
                  </a:lnTo>
                  <a:lnTo>
                    <a:pt x="606" y="48"/>
                  </a:lnTo>
                  <a:lnTo>
                    <a:pt x="624" y="0"/>
                  </a:lnTo>
                  <a:lnTo>
                    <a:pt x="658" y="17"/>
                  </a:lnTo>
                  <a:lnTo>
                    <a:pt x="729" y="65"/>
                  </a:lnTo>
                  <a:lnTo>
                    <a:pt x="695" y="80"/>
                  </a:lnTo>
                  <a:lnTo>
                    <a:pt x="658" y="80"/>
                  </a:lnTo>
                  <a:lnTo>
                    <a:pt x="695" y="96"/>
                  </a:lnTo>
                  <a:lnTo>
                    <a:pt x="712" y="113"/>
                  </a:lnTo>
                  <a:lnTo>
                    <a:pt x="712" y="128"/>
                  </a:lnTo>
                  <a:lnTo>
                    <a:pt x="695" y="128"/>
                  </a:lnTo>
                  <a:lnTo>
                    <a:pt x="658" y="161"/>
                  </a:lnTo>
                  <a:lnTo>
                    <a:pt x="677" y="113"/>
                  </a:lnTo>
                  <a:lnTo>
                    <a:pt x="624" y="80"/>
                  </a:lnTo>
                  <a:lnTo>
                    <a:pt x="589" y="96"/>
                  </a:lnTo>
                  <a:lnTo>
                    <a:pt x="572" y="161"/>
                  </a:lnTo>
                  <a:lnTo>
                    <a:pt x="555" y="176"/>
                  </a:lnTo>
                  <a:lnTo>
                    <a:pt x="520" y="176"/>
                  </a:lnTo>
                  <a:lnTo>
                    <a:pt x="503" y="176"/>
                  </a:lnTo>
                  <a:lnTo>
                    <a:pt x="485" y="176"/>
                  </a:lnTo>
                  <a:lnTo>
                    <a:pt x="451" y="144"/>
                  </a:lnTo>
                  <a:lnTo>
                    <a:pt x="434" y="161"/>
                  </a:lnTo>
                  <a:lnTo>
                    <a:pt x="416" y="161"/>
                  </a:lnTo>
                  <a:lnTo>
                    <a:pt x="416" y="192"/>
                  </a:lnTo>
                  <a:lnTo>
                    <a:pt x="382" y="192"/>
                  </a:lnTo>
                  <a:lnTo>
                    <a:pt x="364" y="192"/>
                  </a:lnTo>
                  <a:lnTo>
                    <a:pt x="364" y="224"/>
                  </a:lnTo>
                  <a:lnTo>
                    <a:pt x="347" y="224"/>
                  </a:lnTo>
                  <a:lnTo>
                    <a:pt x="328" y="240"/>
                  </a:lnTo>
                  <a:lnTo>
                    <a:pt x="311" y="272"/>
                  </a:lnTo>
                  <a:lnTo>
                    <a:pt x="311" y="288"/>
                  </a:lnTo>
                  <a:lnTo>
                    <a:pt x="311" y="305"/>
                  </a:lnTo>
                  <a:lnTo>
                    <a:pt x="276" y="353"/>
                  </a:lnTo>
                  <a:lnTo>
                    <a:pt x="259" y="401"/>
                  </a:lnTo>
                  <a:lnTo>
                    <a:pt x="242" y="432"/>
                  </a:lnTo>
                  <a:lnTo>
                    <a:pt x="259" y="464"/>
                  </a:lnTo>
                  <a:lnTo>
                    <a:pt x="224" y="479"/>
                  </a:lnTo>
                  <a:lnTo>
                    <a:pt x="207" y="497"/>
                  </a:lnTo>
                  <a:lnTo>
                    <a:pt x="190" y="560"/>
                  </a:lnTo>
                  <a:lnTo>
                    <a:pt x="207" y="623"/>
                  </a:lnTo>
                  <a:lnTo>
                    <a:pt x="207" y="641"/>
                  </a:lnTo>
                  <a:lnTo>
                    <a:pt x="207" y="689"/>
                  </a:lnTo>
                  <a:lnTo>
                    <a:pt x="190" y="704"/>
                  </a:lnTo>
                  <a:lnTo>
                    <a:pt x="190" y="752"/>
                  </a:lnTo>
                  <a:lnTo>
                    <a:pt x="172" y="752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90" name="Freeform 263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102825" y="2572144"/>
              <a:ext cx="504300" cy="1333639"/>
            </a:xfrm>
            <a:custGeom>
              <a:avLst/>
              <a:gdLst>
                <a:gd name="T0" fmla="*/ 0 w 346"/>
                <a:gd name="T1" fmla="*/ 117475 h 750"/>
                <a:gd name="T2" fmla="*/ 0 w 346"/>
                <a:gd name="T3" fmla="*/ 117475 h 750"/>
                <a:gd name="T4" fmla="*/ 3969 w 346"/>
                <a:gd name="T5" fmla="*/ 117475 h 750"/>
                <a:gd name="T6" fmla="*/ 3969 w 346"/>
                <a:gd name="T7" fmla="*/ 107950 h 750"/>
                <a:gd name="T8" fmla="*/ 7144 w 346"/>
                <a:gd name="T9" fmla="*/ 104775 h 750"/>
                <a:gd name="T10" fmla="*/ 7144 w 346"/>
                <a:gd name="T11" fmla="*/ 95250 h 750"/>
                <a:gd name="T12" fmla="*/ 7144 w 346"/>
                <a:gd name="T13" fmla="*/ 91281 h 750"/>
                <a:gd name="T14" fmla="*/ 3969 w 346"/>
                <a:gd name="T15" fmla="*/ 78581 h 750"/>
                <a:gd name="T16" fmla="*/ 7144 w 346"/>
                <a:gd name="T17" fmla="*/ 66675 h 750"/>
                <a:gd name="T18" fmla="*/ 10319 w 346"/>
                <a:gd name="T19" fmla="*/ 63500 h 750"/>
                <a:gd name="T20" fmla="*/ 17463 w 346"/>
                <a:gd name="T21" fmla="*/ 60325 h 750"/>
                <a:gd name="T22" fmla="*/ 14288 w 346"/>
                <a:gd name="T23" fmla="*/ 53975 h 750"/>
                <a:gd name="T24" fmla="*/ 17463 w 346"/>
                <a:gd name="T25" fmla="*/ 47625 h 750"/>
                <a:gd name="T26" fmla="*/ 20638 w 346"/>
                <a:gd name="T27" fmla="*/ 38100 h 750"/>
                <a:gd name="T28" fmla="*/ 27781 w 346"/>
                <a:gd name="T29" fmla="*/ 28575 h 750"/>
                <a:gd name="T30" fmla="*/ 27781 w 346"/>
                <a:gd name="T31" fmla="*/ 24606 h 750"/>
                <a:gd name="T32" fmla="*/ 27781 w 346"/>
                <a:gd name="T33" fmla="*/ 21431 h 750"/>
                <a:gd name="T34" fmla="*/ 30956 w 346"/>
                <a:gd name="T35" fmla="*/ 15875 h 750"/>
                <a:gd name="T36" fmla="*/ 34131 w 346"/>
                <a:gd name="T37" fmla="*/ 11906 h 750"/>
                <a:gd name="T38" fmla="*/ 37306 w 346"/>
                <a:gd name="T39" fmla="*/ 11906 h 750"/>
                <a:gd name="T40" fmla="*/ 37306 w 346"/>
                <a:gd name="T41" fmla="*/ 5556 h 750"/>
                <a:gd name="T42" fmla="*/ 41275 w 346"/>
                <a:gd name="T43" fmla="*/ 5556 h 750"/>
                <a:gd name="T44" fmla="*/ 47625 w 346"/>
                <a:gd name="T45" fmla="*/ 5556 h 750"/>
                <a:gd name="T46" fmla="*/ 47625 w 346"/>
                <a:gd name="T47" fmla="*/ 0 h 750"/>
                <a:gd name="T48" fmla="*/ 51594 w 346"/>
                <a:gd name="T49" fmla="*/ 0 h 750"/>
                <a:gd name="T50" fmla="*/ 65881 w 346"/>
                <a:gd name="T51" fmla="*/ 11906 h 750"/>
                <a:gd name="T52" fmla="*/ 69056 w 346"/>
                <a:gd name="T53" fmla="*/ 40481 h 750"/>
                <a:gd name="T54" fmla="*/ 61913 w 346"/>
                <a:gd name="T55" fmla="*/ 40481 h 750"/>
                <a:gd name="T56" fmla="*/ 55563 w 346"/>
                <a:gd name="T57" fmla="*/ 47625 h 750"/>
                <a:gd name="T58" fmla="*/ 55563 w 346"/>
                <a:gd name="T59" fmla="*/ 50006 h 750"/>
                <a:gd name="T60" fmla="*/ 55563 w 346"/>
                <a:gd name="T61" fmla="*/ 53975 h 750"/>
                <a:gd name="T62" fmla="*/ 58738 w 346"/>
                <a:gd name="T63" fmla="*/ 57150 h 750"/>
                <a:gd name="T64" fmla="*/ 51594 w 346"/>
                <a:gd name="T65" fmla="*/ 63500 h 750"/>
                <a:gd name="T66" fmla="*/ 41275 w 346"/>
                <a:gd name="T67" fmla="*/ 73025 h 750"/>
                <a:gd name="T68" fmla="*/ 34131 w 346"/>
                <a:gd name="T69" fmla="*/ 81756 h 750"/>
                <a:gd name="T70" fmla="*/ 34131 w 346"/>
                <a:gd name="T71" fmla="*/ 97631 h 750"/>
                <a:gd name="T72" fmla="*/ 41275 w 346"/>
                <a:gd name="T73" fmla="*/ 107950 h 750"/>
                <a:gd name="T74" fmla="*/ 37306 w 346"/>
                <a:gd name="T75" fmla="*/ 111125 h 750"/>
                <a:gd name="T76" fmla="*/ 37306 w 346"/>
                <a:gd name="T77" fmla="*/ 114300 h 750"/>
                <a:gd name="T78" fmla="*/ 30956 w 346"/>
                <a:gd name="T79" fmla="*/ 120650 h 750"/>
                <a:gd name="T80" fmla="*/ 27781 w 346"/>
                <a:gd name="T81" fmla="*/ 142875 h 750"/>
                <a:gd name="T82" fmla="*/ 20638 w 346"/>
                <a:gd name="T83" fmla="*/ 142875 h 750"/>
                <a:gd name="T84" fmla="*/ 17463 w 346"/>
                <a:gd name="T85" fmla="*/ 146050 h 750"/>
                <a:gd name="T86" fmla="*/ 17463 w 346"/>
                <a:gd name="T87" fmla="*/ 149225 h 750"/>
                <a:gd name="T88" fmla="*/ 10319 w 346"/>
                <a:gd name="T89" fmla="*/ 149225 h 750"/>
                <a:gd name="T90" fmla="*/ 7144 w 346"/>
                <a:gd name="T91" fmla="*/ 142875 h 750"/>
                <a:gd name="T92" fmla="*/ 10319 w 346"/>
                <a:gd name="T93" fmla="*/ 139700 h 750"/>
                <a:gd name="T94" fmla="*/ 7144 w 346"/>
                <a:gd name="T95" fmla="*/ 136525 h 750"/>
                <a:gd name="T96" fmla="*/ 0 w 346"/>
                <a:gd name="T97" fmla="*/ 117475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91" name="Freeform 29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948332" y="5104277"/>
              <a:ext cx="154497" cy="373420"/>
            </a:xfrm>
            <a:custGeom>
              <a:avLst/>
              <a:gdLst>
                <a:gd name="T0" fmla="*/ 21635 w 105"/>
                <a:gd name="T1" fmla="*/ 25522 h 209"/>
                <a:gd name="T2" fmla="*/ 21635 w 105"/>
                <a:gd name="T3" fmla="*/ 25522 h 209"/>
                <a:gd name="T4" fmla="*/ 21635 w 105"/>
                <a:gd name="T5" fmla="*/ 28712 h 209"/>
                <a:gd name="T6" fmla="*/ 14424 w 105"/>
                <a:gd name="T7" fmla="*/ 35092 h 209"/>
                <a:gd name="T8" fmla="*/ 14424 w 105"/>
                <a:gd name="T9" fmla="*/ 38282 h 209"/>
                <a:gd name="T10" fmla="*/ 11218 w 105"/>
                <a:gd name="T11" fmla="*/ 42270 h 209"/>
                <a:gd name="T12" fmla="*/ 11218 w 105"/>
                <a:gd name="T13" fmla="*/ 32700 h 209"/>
                <a:gd name="T14" fmla="*/ 4007 w 105"/>
                <a:gd name="T15" fmla="*/ 28712 h 209"/>
                <a:gd name="T16" fmla="*/ 0 w 105"/>
                <a:gd name="T17" fmla="*/ 23129 h 209"/>
                <a:gd name="T18" fmla="*/ 7212 w 105"/>
                <a:gd name="T19" fmla="*/ 15951 h 209"/>
                <a:gd name="T20" fmla="*/ 4007 w 105"/>
                <a:gd name="T21" fmla="*/ 3988 h 209"/>
                <a:gd name="T22" fmla="*/ 7212 w 105"/>
                <a:gd name="T23" fmla="*/ 0 h 209"/>
                <a:gd name="T24" fmla="*/ 14424 w 105"/>
                <a:gd name="T25" fmla="*/ 0 h 209"/>
                <a:gd name="T26" fmla="*/ 17629 w 105"/>
                <a:gd name="T27" fmla="*/ 3988 h 209"/>
                <a:gd name="T28" fmla="*/ 21635 w 105"/>
                <a:gd name="T29" fmla="*/ 0 h 209"/>
                <a:gd name="T30" fmla="*/ 17629 w 105"/>
                <a:gd name="T31" fmla="*/ 6380 h 209"/>
                <a:gd name="T32" fmla="*/ 21635 w 105"/>
                <a:gd name="T33" fmla="*/ 13558 h 209"/>
                <a:gd name="T34" fmla="*/ 14424 w 105"/>
                <a:gd name="T35" fmla="*/ 19141 h 209"/>
                <a:gd name="T36" fmla="*/ 14424 w 105"/>
                <a:gd name="T37" fmla="*/ 23129 h 209"/>
                <a:gd name="T38" fmla="*/ 21635 w 105"/>
                <a:gd name="T39" fmla="*/ 23129 h 209"/>
                <a:gd name="T40" fmla="*/ 21635 w 105"/>
                <a:gd name="T41" fmla="*/ 25522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solidFill>
              <a:srgbClr val="D8CEB8"/>
            </a:solidFill>
            <a:ln w="9525">
              <a:solidFill>
                <a:srgbClr val="D8CEB8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53" name="Freeform 221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589635" y="3820429"/>
              <a:ext cx="378952" cy="373420"/>
            </a:xfrm>
            <a:custGeom>
              <a:avLst/>
              <a:gdLst>
                <a:gd name="T0" fmla="*/ 48606 w 259"/>
                <a:gd name="T1" fmla="*/ 35890 h 209"/>
                <a:gd name="T2" fmla="*/ 48606 w 259"/>
                <a:gd name="T3" fmla="*/ 35890 h 209"/>
                <a:gd name="T4" fmla="*/ 44622 w 259"/>
                <a:gd name="T5" fmla="*/ 28712 h 209"/>
                <a:gd name="T6" fmla="*/ 44622 w 259"/>
                <a:gd name="T7" fmla="*/ 26319 h 209"/>
                <a:gd name="T8" fmla="*/ 48606 w 259"/>
                <a:gd name="T9" fmla="*/ 28712 h 209"/>
                <a:gd name="T10" fmla="*/ 51793 w 259"/>
                <a:gd name="T11" fmla="*/ 23129 h 209"/>
                <a:gd name="T12" fmla="*/ 48606 w 259"/>
                <a:gd name="T13" fmla="*/ 23129 h 209"/>
                <a:gd name="T14" fmla="*/ 41434 w 259"/>
                <a:gd name="T15" fmla="*/ 13558 h 209"/>
                <a:gd name="T16" fmla="*/ 41434 w 259"/>
                <a:gd name="T17" fmla="*/ 7178 h 209"/>
                <a:gd name="T18" fmla="*/ 38247 w 259"/>
                <a:gd name="T19" fmla="*/ 3988 h 209"/>
                <a:gd name="T20" fmla="*/ 27889 w 259"/>
                <a:gd name="T21" fmla="*/ 0 h 209"/>
                <a:gd name="T22" fmla="*/ 20717 w 259"/>
                <a:gd name="T23" fmla="*/ 7178 h 209"/>
                <a:gd name="T24" fmla="*/ 20717 w 259"/>
                <a:gd name="T25" fmla="*/ 9571 h 209"/>
                <a:gd name="T26" fmla="*/ 14343 w 259"/>
                <a:gd name="T27" fmla="*/ 13558 h 209"/>
                <a:gd name="T28" fmla="*/ 14343 w 259"/>
                <a:gd name="T29" fmla="*/ 19141 h 209"/>
                <a:gd name="T30" fmla="*/ 10359 w 259"/>
                <a:gd name="T31" fmla="*/ 19141 h 209"/>
                <a:gd name="T32" fmla="*/ 3984 w 259"/>
                <a:gd name="T33" fmla="*/ 23129 h 209"/>
                <a:gd name="T34" fmla="*/ 0 w 259"/>
                <a:gd name="T35" fmla="*/ 23129 h 209"/>
                <a:gd name="T36" fmla="*/ 3984 w 259"/>
                <a:gd name="T37" fmla="*/ 28712 h 209"/>
                <a:gd name="T38" fmla="*/ 0 w 259"/>
                <a:gd name="T39" fmla="*/ 35890 h 209"/>
                <a:gd name="T40" fmla="*/ 0 w 259"/>
                <a:gd name="T41" fmla="*/ 42270 h 209"/>
                <a:gd name="T42" fmla="*/ 7171 w 259"/>
                <a:gd name="T43" fmla="*/ 38282 h 209"/>
                <a:gd name="T44" fmla="*/ 14343 w 259"/>
                <a:gd name="T45" fmla="*/ 38282 h 209"/>
                <a:gd name="T46" fmla="*/ 24701 w 259"/>
                <a:gd name="T47" fmla="*/ 42270 h 209"/>
                <a:gd name="T48" fmla="*/ 27889 w 259"/>
                <a:gd name="T49" fmla="*/ 42270 h 209"/>
                <a:gd name="T50" fmla="*/ 31076 w 259"/>
                <a:gd name="T51" fmla="*/ 42270 h 209"/>
                <a:gd name="T52" fmla="*/ 34263 w 259"/>
                <a:gd name="T53" fmla="*/ 42270 h 209"/>
                <a:gd name="T54" fmla="*/ 41434 w 259"/>
                <a:gd name="T55" fmla="*/ 42270 h 209"/>
                <a:gd name="T56" fmla="*/ 44622 w 259"/>
                <a:gd name="T57" fmla="*/ 35890 h 209"/>
                <a:gd name="T58" fmla="*/ 48606 w 259"/>
                <a:gd name="T59" fmla="*/ 35890 h 2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9"/>
                <a:gd name="T91" fmla="*/ 0 h 209"/>
                <a:gd name="T92" fmla="*/ 259 w 259"/>
                <a:gd name="T93" fmla="*/ 209 h 2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9" h="209">
                  <a:moveTo>
                    <a:pt x="241" y="177"/>
                  </a:moveTo>
                  <a:lnTo>
                    <a:pt x="241" y="177"/>
                  </a:lnTo>
                  <a:lnTo>
                    <a:pt x="224" y="144"/>
                  </a:lnTo>
                  <a:lnTo>
                    <a:pt x="224" y="129"/>
                  </a:lnTo>
                  <a:lnTo>
                    <a:pt x="241" y="144"/>
                  </a:lnTo>
                  <a:lnTo>
                    <a:pt x="259" y="113"/>
                  </a:lnTo>
                  <a:lnTo>
                    <a:pt x="241" y="113"/>
                  </a:lnTo>
                  <a:lnTo>
                    <a:pt x="207" y="66"/>
                  </a:lnTo>
                  <a:lnTo>
                    <a:pt x="207" y="33"/>
                  </a:lnTo>
                  <a:lnTo>
                    <a:pt x="190" y="18"/>
                  </a:lnTo>
                  <a:lnTo>
                    <a:pt x="138" y="0"/>
                  </a:lnTo>
                  <a:lnTo>
                    <a:pt x="103" y="33"/>
                  </a:lnTo>
                  <a:lnTo>
                    <a:pt x="103" y="48"/>
                  </a:lnTo>
                  <a:lnTo>
                    <a:pt x="69" y="66"/>
                  </a:lnTo>
                  <a:lnTo>
                    <a:pt x="69" y="96"/>
                  </a:lnTo>
                  <a:lnTo>
                    <a:pt x="51" y="96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17" y="144"/>
                  </a:lnTo>
                  <a:lnTo>
                    <a:pt x="0" y="177"/>
                  </a:lnTo>
                  <a:lnTo>
                    <a:pt x="0" y="209"/>
                  </a:lnTo>
                  <a:lnTo>
                    <a:pt x="34" y="192"/>
                  </a:lnTo>
                  <a:lnTo>
                    <a:pt x="69" y="192"/>
                  </a:lnTo>
                  <a:lnTo>
                    <a:pt x="121" y="209"/>
                  </a:lnTo>
                  <a:lnTo>
                    <a:pt x="138" y="209"/>
                  </a:lnTo>
                  <a:lnTo>
                    <a:pt x="155" y="209"/>
                  </a:lnTo>
                  <a:lnTo>
                    <a:pt x="172" y="209"/>
                  </a:lnTo>
                  <a:lnTo>
                    <a:pt x="207" y="209"/>
                  </a:lnTo>
                  <a:lnTo>
                    <a:pt x="224" y="177"/>
                  </a:lnTo>
                  <a:lnTo>
                    <a:pt x="241" y="1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393" name="TextBox 392"/>
            <p:cNvSpPr txBox="1"/>
            <p:nvPr>
              <p:custDataLst>
                <p:tags r:id="rId146"/>
              </p:custDataLst>
            </p:nvPr>
          </p:nvSpPr>
          <p:spPr>
            <a:xfrm>
              <a:off x="1481819" y="3868750"/>
              <a:ext cx="613044" cy="243141"/>
            </a:xfrm>
            <a:prstGeom prst="rect">
              <a:avLst/>
            </a:prstGeom>
            <a:noFill/>
            <a:ln/>
          </p:spPr>
          <p:txBody>
            <a:bodyPr wrap="square" tIns="89971" bIns="89971" rtlCol="0" anchor="t">
              <a:spAutoFit/>
            </a:bodyPr>
            <a:lstStyle/>
            <a:p>
              <a:pPr algn="ctr"/>
              <a:r>
                <a:rPr lang="ru-RU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</p:grpSp>
      <p:sp>
        <p:nvSpPr>
          <p:cNvPr id="156" name="Freeform 155"/>
          <p:cNvSpPr/>
          <p:nvPr>
            <p:custDataLst>
              <p:tags r:id="rId6"/>
            </p:custDataLst>
          </p:nvPr>
        </p:nvSpPr>
        <p:spPr>
          <a:xfrm rot="541101">
            <a:off x="2290696" y="2850859"/>
            <a:ext cx="2956039" cy="497484"/>
          </a:xfrm>
          <a:custGeom>
            <a:avLst/>
            <a:gdLst>
              <a:gd name="connsiteX0" fmla="*/ 0 w 2496621"/>
              <a:gd name="connsiteY0" fmla="*/ 465761 h 660970"/>
              <a:gd name="connsiteX1" fmla="*/ 267128 w 2496621"/>
              <a:gd name="connsiteY1" fmla="*/ 239730 h 660970"/>
              <a:gd name="connsiteX2" fmla="*/ 893852 w 2496621"/>
              <a:gd name="connsiteY2" fmla="*/ 54795 h 660970"/>
              <a:gd name="connsiteX3" fmla="*/ 1335641 w 2496621"/>
              <a:gd name="connsiteY3" fmla="*/ 34247 h 660970"/>
              <a:gd name="connsiteX4" fmla="*/ 1962364 w 2496621"/>
              <a:gd name="connsiteY4" fmla="*/ 260278 h 660970"/>
              <a:gd name="connsiteX5" fmla="*/ 2496621 w 2496621"/>
              <a:gd name="connsiteY5" fmla="*/ 660970 h 660970"/>
              <a:gd name="connsiteX6" fmla="*/ 2496621 w 2496621"/>
              <a:gd name="connsiteY6" fmla="*/ 660970 h 66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6621" h="660970">
                <a:moveTo>
                  <a:pt x="0" y="465761"/>
                </a:moveTo>
                <a:cubicBezTo>
                  <a:pt x="59076" y="386992"/>
                  <a:pt x="118153" y="308224"/>
                  <a:pt x="267128" y="239730"/>
                </a:cubicBezTo>
                <a:cubicBezTo>
                  <a:pt x="416103" y="171236"/>
                  <a:pt x="715767" y="89042"/>
                  <a:pt x="893852" y="54795"/>
                </a:cubicBezTo>
                <a:cubicBezTo>
                  <a:pt x="1071938" y="20548"/>
                  <a:pt x="1157556" y="0"/>
                  <a:pt x="1335641" y="34247"/>
                </a:cubicBezTo>
                <a:cubicBezTo>
                  <a:pt x="1513726" y="68494"/>
                  <a:pt x="1768867" y="155824"/>
                  <a:pt x="1962364" y="260278"/>
                </a:cubicBezTo>
                <a:cubicBezTo>
                  <a:pt x="2155861" y="364732"/>
                  <a:pt x="2496621" y="660970"/>
                  <a:pt x="2496621" y="660970"/>
                </a:cubicBezTo>
                <a:lnTo>
                  <a:pt x="2496621" y="660970"/>
                </a:lnTo>
              </a:path>
            </a:pathLst>
          </a:custGeom>
          <a:ln w="41275">
            <a:solidFill>
              <a:srgbClr val="908052"/>
            </a:solidFill>
            <a:headEnd type="stealth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60" name="Right Arrow 159"/>
          <p:cNvSpPr/>
          <p:nvPr>
            <p:custDataLst>
              <p:tags r:id="rId7"/>
            </p:custDataLst>
          </p:nvPr>
        </p:nvSpPr>
        <p:spPr>
          <a:xfrm rot="10800000">
            <a:off x="509617" y="5265203"/>
            <a:ext cx="477794" cy="122828"/>
          </a:xfrm>
          <a:prstGeom prst="rightArrow">
            <a:avLst>
              <a:gd name="adj1" fmla="val 29970"/>
              <a:gd name="adj2" fmla="val 77826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TextBox 161"/>
          <p:cNvSpPr txBox="1"/>
          <p:nvPr>
            <p:custDataLst>
              <p:tags r:id="rId8"/>
            </p:custDataLst>
          </p:nvPr>
        </p:nvSpPr>
        <p:spPr>
          <a:xfrm rot="1081637">
            <a:off x="3455882" y="2849258"/>
            <a:ext cx="1234317" cy="551031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10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включая транзит из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ЮВА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63" name="TextBox 162"/>
          <p:cNvSpPr txBox="1"/>
          <p:nvPr>
            <p:custDataLst>
              <p:tags r:id="rId9"/>
            </p:custDataLst>
          </p:nvPr>
        </p:nvSpPr>
        <p:spPr>
          <a:xfrm rot="1157091">
            <a:off x="3746941" y="2412250"/>
            <a:ext cx="1234317" cy="551031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95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включая транзит из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ЮВА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65" name="TextBox 164"/>
          <p:cNvSpPr txBox="1"/>
          <p:nvPr>
            <p:custDataLst>
              <p:tags r:id="rId10"/>
            </p:custDataLst>
          </p:nvPr>
        </p:nvSpPr>
        <p:spPr>
          <a:xfrm rot="20984632">
            <a:off x="1287678" y="2689314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36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9" name="Right Arrow 168"/>
          <p:cNvSpPr/>
          <p:nvPr>
            <p:custDataLst>
              <p:tags r:id="rId11"/>
            </p:custDataLst>
          </p:nvPr>
        </p:nvSpPr>
        <p:spPr>
          <a:xfrm rot="20977314" flipV="1">
            <a:off x="1656793" y="2895124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7" name="TextBox 176"/>
          <p:cNvSpPr txBox="1"/>
          <p:nvPr>
            <p:custDataLst>
              <p:tags r:id="rId12"/>
            </p:custDataLst>
          </p:nvPr>
        </p:nvSpPr>
        <p:spPr>
          <a:xfrm rot="843054">
            <a:off x="3759868" y="2686312"/>
            <a:ext cx="638316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анзит </a:t>
            </a:r>
          </a:p>
        </p:txBody>
      </p:sp>
      <p:sp>
        <p:nvSpPr>
          <p:cNvPr id="181" name="Freeform 180"/>
          <p:cNvSpPr/>
          <p:nvPr>
            <p:custDataLst>
              <p:tags r:id="rId13"/>
            </p:custDataLst>
          </p:nvPr>
        </p:nvSpPr>
        <p:spPr>
          <a:xfrm rot="541101">
            <a:off x="2282655" y="2661395"/>
            <a:ext cx="3205793" cy="501586"/>
          </a:xfrm>
          <a:custGeom>
            <a:avLst/>
            <a:gdLst>
              <a:gd name="connsiteX0" fmla="*/ 0 w 2496621"/>
              <a:gd name="connsiteY0" fmla="*/ 465761 h 660970"/>
              <a:gd name="connsiteX1" fmla="*/ 267128 w 2496621"/>
              <a:gd name="connsiteY1" fmla="*/ 239730 h 660970"/>
              <a:gd name="connsiteX2" fmla="*/ 893852 w 2496621"/>
              <a:gd name="connsiteY2" fmla="*/ 54795 h 660970"/>
              <a:gd name="connsiteX3" fmla="*/ 1335641 w 2496621"/>
              <a:gd name="connsiteY3" fmla="*/ 34247 h 660970"/>
              <a:gd name="connsiteX4" fmla="*/ 1962364 w 2496621"/>
              <a:gd name="connsiteY4" fmla="*/ 260278 h 660970"/>
              <a:gd name="connsiteX5" fmla="*/ 2496621 w 2496621"/>
              <a:gd name="connsiteY5" fmla="*/ 660970 h 660970"/>
              <a:gd name="connsiteX6" fmla="*/ 2496621 w 2496621"/>
              <a:gd name="connsiteY6" fmla="*/ 660970 h 66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6621" h="660970">
                <a:moveTo>
                  <a:pt x="0" y="465761"/>
                </a:moveTo>
                <a:cubicBezTo>
                  <a:pt x="59076" y="386992"/>
                  <a:pt x="118153" y="308224"/>
                  <a:pt x="267128" y="239730"/>
                </a:cubicBezTo>
                <a:cubicBezTo>
                  <a:pt x="416103" y="171236"/>
                  <a:pt x="715767" y="89042"/>
                  <a:pt x="893852" y="54795"/>
                </a:cubicBezTo>
                <a:cubicBezTo>
                  <a:pt x="1071938" y="20548"/>
                  <a:pt x="1157556" y="0"/>
                  <a:pt x="1335641" y="34247"/>
                </a:cubicBezTo>
                <a:cubicBezTo>
                  <a:pt x="1513726" y="68494"/>
                  <a:pt x="1768867" y="155824"/>
                  <a:pt x="1962364" y="260278"/>
                </a:cubicBezTo>
                <a:cubicBezTo>
                  <a:pt x="2155861" y="364732"/>
                  <a:pt x="2496621" y="660970"/>
                  <a:pt x="2496621" y="660970"/>
                </a:cubicBezTo>
                <a:lnTo>
                  <a:pt x="2496621" y="660970"/>
                </a:lnTo>
              </a:path>
            </a:pathLst>
          </a:custGeom>
          <a:ln w="41275">
            <a:solidFill>
              <a:srgbClr val="908052"/>
            </a:solidFill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82" name="Right Arrow 181"/>
          <p:cNvSpPr/>
          <p:nvPr>
            <p:custDataLst>
              <p:tags r:id="rId14"/>
            </p:custDataLst>
          </p:nvPr>
        </p:nvSpPr>
        <p:spPr>
          <a:xfrm rot="10186531">
            <a:off x="1695005" y="3225027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3" name="Right Arrow 182"/>
          <p:cNvSpPr/>
          <p:nvPr>
            <p:custDataLst>
              <p:tags r:id="rId15"/>
            </p:custDataLst>
          </p:nvPr>
        </p:nvSpPr>
        <p:spPr>
          <a:xfrm rot="900161" flipV="1">
            <a:off x="2002641" y="1921232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Right Arrow 183"/>
          <p:cNvSpPr/>
          <p:nvPr>
            <p:custDataLst>
              <p:tags r:id="rId16"/>
            </p:custDataLst>
          </p:nvPr>
        </p:nvSpPr>
        <p:spPr>
          <a:xfrm rot="11795838">
            <a:off x="1947745" y="2294766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Right Arrow 184"/>
          <p:cNvSpPr/>
          <p:nvPr>
            <p:custDataLst>
              <p:tags r:id="rId17"/>
            </p:custDataLst>
          </p:nvPr>
        </p:nvSpPr>
        <p:spPr>
          <a:xfrm rot="17956586" flipV="1">
            <a:off x="2426797" y="3820361"/>
            <a:ext cx="517444" cy="113416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Right Arrow 185"/>
          <p:cNvSpPr/>
          <p:nvPr>
            <p:custDataLst>
              <p:tags r:id="rId18"/>
            </p:custDataLst>
          </p:nvPr>
        </p:nvSpPr>
        <p:spPr>
          <a:xfrm rot="7252263">
            <a:off x="2760599" y="4078057"/>
            <a:ext cx="517444" cy="113416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7" name="Right Arrow 186"/>
          <p:cNvSpPr/>
          <p:nvPr>
            <p:custDataLst>
              <p:tags r:id="rId19"/>
            </p:custDataLst>
          </p:nvPr>
        </p:nvSpPr>
        <p:spPr>
          <a:xfrm rot="12503422" flipV="1">
            <a:off x="8394936" y="3768382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8" name="Right Arrow 187"/>
          <p:cNvSpPr/>
          <p:nvPr>
            <p:custDataLst>
              <p:tags r:id="rId20"/>
            </p:custDataLst>
          </p:nvPr>
        </p:nvSpPr>
        <p:spPr>
          <a:xfrm rot="1799099">
            <a:off x="8520638" y="3418751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9" name="Right Arrow 188"/>
          <p:cNvSpPr/>
          <p:nvPr>
            <p:custDataLst>
              <p:tags r:id="rId21"/>
            </p:custDataLst>
          </p:nvPr>
        </p:nvSpPr>
        <p:spPr>
          <a:xfrm rot="13951738" flipV="1">
            <a:off x="7102156" y="3425401"/>
            <a:ext cx="517444" cy="113416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0" name="Right Arrow 189"/>
          <p:cNvSpPr/>
          <p:nvPr>
            <p:custDataLst>
              <p:tags r:id="rId22"/>
            </p:custDataLst>
          </p:nvPr>
        </p:nvSpPr>
        <p:spPr>
          <a:xfrm rot="3247415">
            <a:off x="7419029" y="3234137"/>
            <a:ext cx="517444" cy="113416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1" name="Right Arrow 190"/>
          <p:cNvSpPr/>
          <p:nvPr>
            <p:custDataLst>
              <p:tags r:id="rId23"/>
            </p:custDataLst>
          </p:nvPr>
        </p:nvSpPr>
        <p:spPr>
          <a:xfrm rot="12415432" flipV="1">
            <a:off x="5479801" y="3671320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Right Arrow 191"/>
          <p:cNvSpPr/>
          <p:nvPr>
            <p:custDataLst>
              <p:tags r:id="rId24"/>
            </p:custDataLst>
          </p:nvPr>
        </p:nvSpPr>
        <p:spPr>
          <a:xfrm rot="1711109">
            <a:off x="5407591" y="3941519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TextBox 192"/>
          <p:cNvSpPr txBox="1"/>
          <p:nvPr>
            <p:custDataLst>
              <p:tags r:id="rId25"/>
            </p:custDataLst>
          </p:nvPr>
        </p:nvSpPr>
        <p:spPr>
          <a:xfrm rot="20966394">
            <a:off x="1402998" y="3241740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47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TextBox 193"/>
          <p:cNvSpPr txBox="1"/>
          <p:nvPr>
            <p:custDataLst>
              <p:tags r:id="rId26"/>
            </p:custDataLst>
          </p:nvPr>
        </p:nvSpPr>
        <p:spPr>
          <a:xfrm rot="790531">
            <a:off x="1700089" y="1661816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9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TextBox 194"/>
          <p:cNvSpPr txBox="1"/>
          <p:nvPr>
            <p:custDataLst>
              <p:tags r:id="rId27"/>
            </p:custDataLst>
          </p:nvPr>
        </p:nvSpPr>
        <p:spPr>
          <a:xfrm rot="790531">
            <a:off x="1587207" y="2328609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13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TextBox 195"/>
          <p:cNvSpPr txBox="1"/>
          <p:nvPr>
            <p:custDataLst>
              <p:tags r:id="rId28"/>
            </p:custDataLst>
          </p:nvPr>
        </p:nvSpPr>
        <p:spPr>
          <a:xfrm rot="17983678">
            <a:off x="1918349" y="3682613"/>
            <a:ext cx="1258870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5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TextBox 197"/>
          <p:cNvSpPr txBox="1"/>
          <p:nvPr>
            <p:custDataLst>
              <p:tags r:id="rId29"/>
            </p:custDataLst>
          </p:nvPr>
        </p:nvSpPr>
        <p:spPr>
          <a:xfrm rot="17983678">
            <a:off x="2504014" y="4001646"/>
            <a:ext cx="1258870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5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TextBox 199"/>
          <p:cNvSpPr txBox="1"/>
          <p:nvPr>
            <p:custDataLst>
              <p:tags r:id="rId30"/>
            </p:custDataLst>
          </p:nvPr>
        </p:nvSpPr>
        <p:spPr>
          <a:xfrm rot="1757945">
            <a:off x="8066285" y="3462616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6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TextBox 200"/>
          <p:cNvSpPr txBox="1"/>
          <p:nvPr>
            <p:custDataLst>
              <p:tags r:id="rId31"/>
            </p:custDataLst>
          </p:nvPr>
        </p:nvSpPr>
        <p:spPr>
          <a:xfrm rot="1757945">
            <a:off x="7995105" y="4191675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23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2" name="TextBox 201"/>
          <p:cNvSpPr txBox="1"/>
          <p:nvPr>
            <p:custDataLst>
              <p:tags r:id="rId32"/>
            </p:custDataLst>
          </p:nvPr>
        </p:nvSpPr>
        <p:spPr>
          <a:xfrm rot="1661472">
            <a:off x="5274931" y="3509619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22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3" name="TextBox 202"/>
          <p:cNvSpPr txBox="1"/>
          <p:nvPr>
            <p:custDataLst>
              <p:tags r:id="rId33"/>
            </p:custDataLst>
          </p:nvPr>
        </p:nvSpPr>
        <p:spPr>
          <a:xfrm rot="3240052">
            <a:off x="7188612" y="3074243"/>
            <a:ext cx="1258870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4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TextBox 203"/>
          <p:cNvSpPr txBox="1"/>
          <p:nvPr>
            <p:custDataLst>
              <p:tags r:id="rId34"/>
            </p:custDataLst>
          </p:nvPr>
        </p:nvSpPr>
        <p:spPr>
          <a:xfrm rot="3240052">
            <a:off x="6670444" y="3530790"/>
            <a:ext cx="1258870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67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Right Arrow 204"/>
          <p:cNvSpPr/>
          <p:nvPr>
            <p:custDataLst>
              <p:tags r:id="rId35"/>
            </p:custDataLst>
          </p:nvPr>
        </p:nvSpPr>
        <p:spPr>
          <a:xfrm flipV="1">
            <a:off x="519912" y="5096968"/>
            <a:ext cx="477794" cy="122828"/>
          </a:xfrm>
          <a:prstGeom prst="rightArrow">
            <a:avLst>
              <a:gd name="adj1" fmla="val 38356"/>
              <a:gd name="adj2" fmla="val 66417"/>
            </a:avLst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Right Arrow 205"/>
          <p:cNvSpPr/>
          <p:nvPr>
            <p:custDataLst>
              <p:tags r:id="rId36"/>
            </p:custDataLst>
          </p:nvPr>
        </p:nvSpPr>
        <p:spPr>
          <a:xfrm rot="10800000">
            <a:off x="519912" y="5433438"/>
            <a:ext cx="477794" cy="122828"/>
          </a:xfrm>
          <a:prstGeom prst="rightArrow">
            <a:avLst>
              <a:gd name="adj1" fmla="val 29970"/>
              <a:gd name="adj2" fmla="val 77826"/>
            </a:avLst>
          </a:prstGeom>
          <a:solidFill>
            <a:srgbClr val="908052"/>
          </a:solidFill>
          <a:ln w="9525">
            <a:solidFill>
              <a:srgbClr val="90805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TextBox 214"/>
          <p:cNvSpPr txBox="1"/>
          <p:nvPr>
            <p:custDataLst>
              <p:tags r:id="rId37"/>
            </p:custDataLst>
          </p:nvPr>
        </p:nvSpPr>
        <p:spPr>
          <a:xfrm>
            <a:off x="978391" y="4996479"/>
            <a:ext cx="675542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орт</a:t>
            </a:r>
          </a:p>
        </p:txBody>
      </p:sp>
      <p:sp>
        <p:nvSpPr>
          <p:cNvPr id="216" name="TextBox 215"/>
          <p:cNvSpPr txBox="1"/>
          <p:nvPr>
            <p:custDataLst>
              <p:tags r:id="rId38"/>
            </p:custDataLst>
          </p:nvPr>
        </p:nvSpPr>
        <p:spPr>
          <a:xfrm>
            <a:off x="978391" y="5156322"/>
            <a:ext cx="675542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орт</a:t>
            </a:r>
          </a:p>
        </p:txBody>
      </p:sp>
      <p:sp>
        <p:nvSpPr>
          <p:cNvPr id="217" name="TextBox 216"/>
          <p:cNvSpPr txBox="1"/>
          <p:nvPr>
            <p:custDataLst>
              <p:tags r:id="rId39"/>
            </p:custDataLst>
          </p:nvPr>
        </p:nvSpPr>
        <p:spPr>
          <a:xfrm>
            <a:off x="978391" y="5328454"/>
            <a:ext cx="675542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анзит</a:t>
            </a:r>
          </a:p>
        </p:txBody>
      </p:sp>
      <p:sp>
        <p:nvSpPr>
          <p:cNvPr id="219" name="TextBox 218"/>
          <p:cNvSpPr txBox="1"/>
          <p:nvPr>
            <p:custDataLst>
              <p:tags r:id="rId40"/>
            </p:custDataLst>
          </p:nvPr>
        </p:nvSpPr>
        <p:spPr>
          <a:xfrm rot="21048169">
            <a:off x="1367965" y="2916483"/>
            <a:ext cx="963518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 algn="ctr"/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через Брест</a:t>
            </a:r>
          </a:p>
        </p:txBody>
      </p:sp>
      <p:sp>
        <p:nvSpPr>
          <p:cNvPr id="221" name="Oval 220"/>
          <p:cNvSpPr/>
          <p:nvPr>
            <p:custDataLst>
              <p:tags r:id="rId41"/>
            </p:custDataLst>
          </p:nvPr>
        </p:nvSpPr>
        <p:spPr>
          <a:xfrm>
            <a:off x="2103569" y="3006020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6" name="Oval 225"/>
          <p:cNvSpPr/>
          <p:nvPr>
            <p:custDataLst>
              <p:tags r:id="rId42"/>
            </p:custDataLst>
          </p:nvPr>
        </p:nvSpPr>
        <p:spPr>
          <a:xfrm>
            <a:off x="2445437" y="2209541"/>
            <a:ext cx="83077" cy="89971"/>
          </a:xfrm>
          <a:prstGeom prst="ellipse">
            <a:avLst/>
          </a:prstGeom>
          <a:solidFill>
            <a:srgbClr val="79A2B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7" name="Oval 226"/>
          <p:cNvSpPr/>
          <p:nvPr>
            <p:custDataLst>
              <p:tags r:id="rId43"/>
            </p:custDataLst>
          </p:nvPr>
        </p:nvSpPr>
        <p:spPr>
          <a:xfrm>
            <a:off x="5268831" y="3839095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8" name="Oval 227"/>
          <p:cNvSpPr/>
          <p:nvPr>
            <p:custDataLst>
              <p:tags r:id="rId44"/>
            </p:custDataLst>
          </p:nvPr>
        </p:nvSpPr>
        <p:spPr>
          <a:xfrm>
            <a:off x="5489055" y="3767657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0" name="TextBox 229"/>
          <p:cNvSpPr txBox="1"/>
          <p:nvPr>
            <p:custDataLst>
              <p:tags r:id="rId45"/>
            </p:custDataLst>
          </p:nvPr>
        </p:nvSpPr>
        <p:spPr>
          <a:xfrm rot="846181">
            <a:off x="1662175" y="1849647"/>
            <a:ext cx="879033" cy="551031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через порты СПБ</a:t>
            </a:r>
          </a:p>
        </p:txBody>
      </p:sp>
      <p:sp>
        <p:nvSpPr>
          <p:cNvPr id="232" name="TextBox 231"/>
          <p:cNvSpPr txBox="1"/>
          <p:nvPr>
            <p:custDataLst>
              <p:tags r:id="rId46"/>
            </p:custDataLst>
          </p:nvPr>
        </p:nvSpPr>
        <p:spPr>
          <a:xfrm rot="18017852">
            <a:off x="2291189" y="3851447"/>
            <a:ext cx="951981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через 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оворос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порт</a:t>
            </a:r>
          </a:p>
        </p:txBody>
      </p:sp>
      <p:sp>
        <p:nvSpPr>
          <p:cNvPr id="234" name="Oval 233"/>
          <p:cNvSpPr/>
          <p:nvPr>
            <p:custDataLst>
              <p:tags r:id="rId47"/>
            </p:custDataLst>
          </p:nvPr>
        </p:nvSpPr>
        <p:spPr>
          <a:xfrm>
            <a:off x="2944908" y="3507795"/>
            <a:ext cx="83077" cy="89971"/>
          </a:xfrm>
          <a:prstGeom prst="ellipse">
            <a:avLst/>
          </a:prstGeom>
          <a:solidFill>
            <a:srgbClr val="79A2B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8" name="Oval 237"/>
          <p:cNvSpPr/>
          <p:nvPr>
            <p:custDataLst>
              <p:tags r:id="rId48"/>
            </p:custDataLst>
          </p:nvPr>
        </p:nvSpPr>
        <p:spPr>
          <a:xfrm>
            <a:off x="7447216" y="3157499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9" name="TextBox 238"/>
          <p:cNvSpPr txBox="1"/>
          <p:nvPr>
            <p:custDataLst>
              <p:tags r:id="rId49"/>
            </p:custDataLst>
          </p:nvPr>
        </p:nvSpPr>
        <p:spPr>
          <a:xfrm rot="3241035">
            <a:off x="7213964" y="3427585"/>
            <a:ext cx="951981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через Забайкальск</a:t>
            </a:r>
          </a:p>
        </p:txBody>
      </p:sp>
      <p:sp>
        <p:nvSpPr>
          <p:cNvPr id="241" name="Oval 240"/>
          <p:cNvSpPr/>
          <p:nvPr>
            <p:custDataLst>
              <p:tags r:id="rId50"/>
            </p:custDataLst>
          </p:nvPr>
        </p:nvSpPr>
        <p:spPr>
          <a:xfrm>
            <a:off x="8441197" y="3546507"/>
            <a:ext cx="83077" cy="89971"/>
          </a:xfrm>
          <a:prstGeom prst="ellipse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4" name="Arc 243"/>
          <p:cNvSpPr/>
          <p:nvPr>
            <p:custDataLst>
              <p:tags r:id="rId51"/>
            </p:custDataLst>
          </p:nvPr>
        </p:nvSpPr>
        <p:spPr>
          <a:xfrm>
            <a:off x="4923409" y="1774825"/>
            <a:ext cx="810579" cy="687233"/>
          </a:xfrm>
          <a:prstGeom prst="arc">
            <a:avLst>
              <a:gd name="adj1" fmla="val 8963613"/>
              <a:gd name="adj2" fmla="val 4588819"/>
            </a:avLst>
          </a:prstGeom>
          <a:noFill/>
          <a:ln w="47625"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248" name="TextBox 247"/>
          <p:cNvSpPr txBox="1"/>
          <p:nvPr>
            <p:custDataLst>
              <p:tags r:id="rId52"/>
            </p:custDataLst>
          </p:nvPr>
        </p:nvSpPr>
        <p:spPr>
          <a:xfrm>
            <a:off x="4710672" y="1875395"/>
            <a:ext cx="1234317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нутр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рынок</a:t>
            </a:r>
          </a:p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,2 млн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9" name="Freeform 248"/>
          <p:cNvSpPr/>
          <p:nvPr>
            <p:custDataLst>
              <p:tags r:id="rId53"/>
            </p:custDataLst>
          </p:nvPr>
        </p:nvSpPr>
        <p:spPr>
          <a:xfrm rot="20650622">
            <a:off x="4367449" y="3903116"/>
            <a:ext cx="913495" cy="117959"/>
          </a:xfrm>
          <a:custGeom>
            <a:avLst/>
            <a:gdLst>
              <a:gd name="connsiteX0" fmla="*/ 0 w 2496621"/>
              <a:gd name="connsiteY0" fmla="*/ 465761 h 660970"/>
              <a:gd name="connsiteX1" fmla="*/ 267128 w 2496621"/>
              <a:gd name="connsiteY1" fmla="*/ 239730 h 660970"/>
              <a:gd name="connsiteX2" fmla="*/ 893852 w 2496621"/>
              <a:gd name="connsiteY2" fmla="*/ 54795 h 660970"/>
              <a:gd name="connsiteX3" fmla="*/ 1335641 w 2496621"/>
              <a:gd name="connsiteY3" fmla="*/ 34247 h 660970"/>
              <a:gd name="connsiteX4" fmla="*/ 1962364 w 2496621"/>
              <a:gd name="connsiteY4" fmla="*/ 260278 h 660970"/>
              <a:gd name="connsiteX5" fmla="*/ 2496621 w 2496621"/>
              <a:gd name="connsiteY5" fmla="*/ 660970 h 660970"/>
              <a:gd name="connsiteX6" fmla="*/ 2496621 w 2496621"/>
              <a:gd name="connsiteY6" fmla="*/ 660970 h 66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6621" h="660970">
                <a:moveTo>
                  <a:pt x="0" y="465761"/>
                </a:moveTo>
                <a:cubicBezTo>
                  <a:pt x="59076" y="386992"/>
                  <a:pt x="118153" y="308224"/>
                  <a:pt x="267128" y="239730"/>
                </a:cubicBezTo>
                <a:cubicBezTo>
                  <a:pt x="416103" y="171236"/>
                  <a:pt x="715767" y="89042"/>
                  <a:pt x="893852" y="54795"/>
                </a:cubicBezTo>
                <a:cubicBezTo>
                  <a:pt x="1071938" y="20548"/>
                  <a:pt x="1157556" y="0"/>
                  <a:pt x="1335641" y="34247"/>
                </a:cubicBezTo>
                <a:cubicBezTo>
                  <a:pt x="1513726" y="68494"/>
                  <a:pt x="1768867" y="155824"/>
                  <a:pt x="1962364" y="260278"/>
                </a:cubicBezTo>
                <a:cubicBezTo>
                  <a:pt x="2155861" y="364732"/>
                  <a:pt x="2496621" y="660970"/>
                  <a:pt x="2496621" y="660970"/>
                </a:cubicBezTo>
                <a:lnTo>
                  <a:pt x="2496621" y="660970"/>
                </a:lnTo>
              </a:path>
            </a:pathLst>
          </a:custGeom>
          <a:ln w="41275">
            <a:solidFill>
              <a:srgbClr val="908052"/>
            </a:solidFill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250" name="TextBox 249"/>
          <p:cNvSpPr txBox="1"/>
          <p:nvPr>
            <p:custDataLst>
              <p:tags r:id="rId54"/>
            </p:custDataLst>
          </p:nvPr>
        </p:nvSpPr>
        <p:spPr>
          <a:xfrm rot="20638066">
            <a:off x="4042243" y="3434254"/>
            <a:ext cx="1210588" cy="42792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анзит через </a:t>
            </a:r>
          </a:p>
          <a:p>
            <a:pPr algn="ctr"/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Хоргос 232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1" name="TextBox 250"/>
          <p:cNvSpPr txBox="1"/>
          <p:nvPr>
            <p:custDataLst>
              <p:tags r:id="rId55"/>
            </p:custDataLst>
          </p:nvPr>
        </p:nvSpPr>
        <p:spPr>
          <a:xfrm rot="1484022">
            <a:off x="4989304" y="3944207"/>
            <a:ext cx="1162406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2 тыс. </a:t>
            </a:r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2" name="TextBox 251"/>
          <p:cNvSpPr txBox="1"/>
          <p:nvPr>
            <p:custDataLst>
              <p:tags r:id="rId56"/>
            </p:custDataLst>
          </p:nvPr>
        </p:nvSpPr>
        <p:spPr>
          <a:xfrm rot="1677977">
            <a:off x="5266919" y="3666863"/>
            <a:ext cx="879033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через 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стык</a:t>
            </a:r>
            <a:endParaRPr lang="ru-RU" sz="800" i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3" name="Oval 252"/>
          <p:cNvSpPr/>
          <p:nvPr>
            <p:custDataLst>
              <p:tags r:id="rId57"/>
            </p:custDataLst>
          </p:nvPr>
        </p:nvSpPr>
        <p:spPr>
          <a:xfrm>
            <a:off x="3117922" y="2345674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6" name="TextBox 255"/>
          <p:cNvSpPr txBox="1"/>
          <p:nvPr>
            <p:custDataLst>
              <p:tags r:id="rId58"/>
            </p:custDataLst>
          </p:nvPr>
        </p:nvSpPr>
        <p:spPr>
          <a:xfrm>
            <a:off x="3093162" y="2124675"/>
            <a:ext cx="535724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осква</a:t>
            </a:r>
          </a:p>
        </p:txBody>
      </p:sp>
      <p:sp>
        <p:nvSpPr>
          <p:cNvPr id="257" name="Oval 256"/>
          <p:cNvSpPr/>
          <p:nvPr>
            <p:custDataLst>
              <p:tags r:id="rId59"/>
            </p:custDataLst>
          </p:nvPr>
        </p:nvSpPr>
        <p:spPr>
          <a:xfrm>
            <a:off x="5701887" y="2993858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8" name="TextBox 257"/>
          <p:cNvSpPr txBox="1"/>
          <p:nvPr>
            <p:custDataLst>
              <p:tags r:id="rId60"/>
            </p:custDataLst>
          </p:nvPr>
        </p:nvSpPr>
        <p:spPr>
          <a:xfrm>
            <a:off x="5698951" y="2772859"/>
            <a:ext cx="808235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овосибирск</a:t>
            </a:r>
          </a:p>
        </p:txBody>
      </p:sp>
      <p:sp>
        <p:nvSpPr>
          <p:cNvPr id="259" name="Oval 258"/>
          <p:cNvSpPr/>
          <p:nvPr>
            <p:custDataLst>
              <p:tags r:id="rId61"/>
            </p:custDataLst>
          </p:nvPr>
        </p:nvSpPr>
        <p:spPr>
          <a:xfrm>
            <a:off x="4560995" y="2572649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0" name="TextBox 259"/>
          <p:cNvSpPr txBox="1"/>
          <p:nvPr>
            <p:custDataLst>
              <p:tags r:id="rId62"/>
            </p:custDataLst>
          </p:nvPr>
        </p:nvSpPr>
        <p:spPr>
          <a:xfrm>
            <a:off x="4543637" y="2351650"/>
            <a:ext cx="837089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катеринбург</a:t>
            </a:r>
          </a:p>
        </p:txBody>
      </p:sp>
      <p:sp>
        <p:nvSpPr>
          <p:cNvPr id="261" name="Oval 260"/>
          <p:cNvSpPr/>
          <p:nvPr>
            <p:custDataLst>
              <p:tags r:id="rId63"/>
            </p:custDataLst>
          </p:nvPr>
        </p:nvSpPr>
        <p:spPr>
          <a:xfrm>
            <a:off x="4692486" y="3267591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2" name="TextBox 261"/>
          <p:cNvSpPr txBox="1"/>
          <p:nvPr>
            <p:custDataLst>
              <p:tags r:id="rId64"/>
            </p:custDataLst>
          </p:nvPr>
        </p:nvSpPr>
        <p:spPr>
          <a:xfrm>
            <a:off x="4690350" y="2841468"/>
            <a:ext cx="522900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стана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3" name="Oval 262"/>
          <p:cNvSpPr/>
          <p:nvPr>
            <p:custDataLst>
              <p:tags r:id="rId65"/>
            </p:custDataLst>
          </p:nvPr>
        </p:nvSpPr>
        <p:spPr>
          <a:xfrm>
            <a:off x="3783791" y="2332965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4" name="TextBox 263"/>
          <p:cNvSpPr txBox="1"/>
          <p:nvPr>
            <p:custDataLst>
              <p:tags r:id="rId66"/>
            </p:custDataLst>
          </p:nvPr>
        </p:nvSpPr>
        <p:spPr>
          <a:xfrm>
            <a:off x="3773321" y="2111966"/>
            <a:ext cx="771365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. Новгород</a:t>
            </a:r>
          </a:p>
        </p:txBody>
      </p:sp>
      <p:sp>
        <p:nvSpPr>
          <p:cNvPr id="265" name="Arc 264"/>
          <p:cNvSpPr/>
          <p:nvPr>
            <p:custDataLst>
              <p:tags r:id="rId67"/>
            </p:custDataLst>
          </p:nvPr>
        </p:nvSpPr>
        <p:spPr>
          <a:xfrm>
            <a:off x="542620" y="4937999"/>
            <a:ext cx="492863" cy="201187"/>
          </a:xfrm>
          <a:prstGeom prst="arc">
            <a:avLst>
              <a:gd name="adj1" fmla="val 10745495"/>
              <a:gd name="adj2" fmla="val 21411867"/>
            </a:avLst>
          </a:prstGeom>
          <a:noFill/>
          <a:ln w="47625">
            <a:solidFill>
              <a:schemeClr val="tx2"/>
            </a:solidFill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266" name="TextBox 265"/>
          <p:cNvSpPr txBox="1"/>
          <p:nvPr>
            <p:custDataLst>
              <p:tags r:id="rId68"/>
            </p:custDataLst>
          </p:nvPr>
        </p:nvSpPr>
        <p:spPr>
          <a:xfrm>
            <a:off x="786976" y="4799354"/>
            <a:ext cx="1356043" cy="30481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нутр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рынок</a:t>
            </a:r>
          </a:p>
        </p:txBody>
      </p:sp>
      <p:grpSp>
        <p:nvGrpSpPr>
          <p:cNvPr id="4" name="Group 145"/>
          <p:cNvGrpSpPr/>
          <p:nvPr>
            <p:custDataLst>
              <p:tags r:id="rId69"/>
            </p:custDataLst>
          </p:nvPr>
        </p:nvGrpSpPr>
        <p:grpSpPr>
          <a:xfrm>
            <a:off x="2064665" y="5362722"/>
            <a:ext cx="1583812" cy="304810"/>
            <a:chOff x="2236721" y="6070972"/>
            <a:chExt cx="1715796" cy="304908"/>
          </a:xfrm>
        </p:grpSpPr>
        <p:sp>
          <p:nvSpPr>
            <p:cNvPr id="268" name="Oval 267"/>
            <p:cNvSpPr/>
            <p:nvPr/>
          </p:nvSpPr>
          <p:spPr>
            <a:xfrm>
              <a:off x="2236721" y="6173917"/>
              <a:ext cx="90000" cy="90000"/>
            </a:xfrm>
            <a:prstGeom prst="ellipse">
              <a:avLst/>
            </a:prstGeom>
            <a:solidFill>
              <a:srgbClr val="79A2B3"/>
            </a:solidFill>
            <a:ln w="9525">
              <a:solidFill>
                <a:srgbClr val="79A2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71" bIns="89971" rtlCol="0" anchor="ctr" anchorCtr="0"/>
            <a:lstStyle/>
            <a:p>
              <a:pPr algn="ctr"/>
              <a:endPara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2256845" y="6070972"/>
              <a:ext cx="1695672" cy="304908"/>
            </a:xfrm>
            <a:prstGeom prst="rect">
              <a:avLst/>
            </a:prstGeom>
            <a:noFill/>
          </p:spPr>
          <p:txBody>
            <a:bodyPr wrap="square" tIns="89971" bIns="89971" rtlCol="0" anchor="t">
              <a:spAutoFit/>
            </a:bodyPr>
            <a:lstStyle/>
            <a:p>
              <a:r>
                <a:rPr lang="ru-RU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Морские порты</a:t>
              </a:r>
            </a:p>
          </p:txBody>
        </p:sp>
      </p:grpSp>
      <p:sp>
        <p:nvSpPr>
          <p:cNvPr id="270" name="Oval 269"/>
          <p:cNvSpPr/>
          <p:nvPr>
            <p:custDataLst>
              <p:tags r:id="rId70"/>
            </p:custDataLst>
          </p:nvPr>
        </p:nvSpPr>
        <p:spPr>
          <a:xfrm>
            <a:off x="2064668" y="4823641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1" name="TextBox 270"/>
          <p:cNvSpPr txBox="1"/>
          <p:nvPr>
            <p:custDataLst>
              <p:tags r:id="rId71"/>
            </p:custDataLst>
          </p:nvPr>
        </p:nvSpPr>
        <p:spPr>
          <a:xfrm>
            <a:off x="2094346" y="4684983"/>
            <a:ext cx="1233984" cy="427920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Ж/д 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рминалы на точках входа в ЕЭП</a:t>
            </a:r>
          </a:p>
        </p:txBody>
      </p:sp>
      <p:grpSp>
        <p:nvGrpSpPr>
          <p:cNvPr id="5" name="Group 146"/>
          <p:cNvGrpSpPr/>
          <p:nvPr>
            <p:custDataLst>
              <p:tags r:id="rId72"/>
            </p:custDataLst>
          </p:nvPr>
        </p:nvGrpSpPr>
        <p:grpSpPr>
          <a:xfrm>
            <a:off x="2066442" y="5006500"/>
            <a:ext cx="1583812" cy="427920"/>
            <a:chOff x="2236721" y="6013098"/>
            <a:chExt cx="1715796" cy="428057"/>
          </a:xfrm>
        </p:grpSpPr>
        <p:sp>
          <p:nvSpPr>
            <p:cNvPr id="148" name="Oval 147"/>
            <p:cNvSpPr/>
            <p:nvPr/>
          </p:nvSpPr>
          <p:spPr>
            <a:xfrm>
              <a:off x="2236721" y="6173917"/>
              <a:ext cx="90000" cy="9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71" bIns="89971" rtlCol="0" anchor="ctr" anchorCtr="0"/>
            <a:lstStyle/>
            <a:p>
              <a:pPr algn="ctr"/>
              <a:endPara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2256845" y="6013098"/>
              <a:ext cx="1695672" cy="428057"/>
            </a:xfrm>
            <a:prstGeom prst="rect">
              <a:avLst/>
            </a:prstGeom>
            <a:noFill/>
          </p:spPr>
          <p:txBody>
            <a:bodyPr wrap="square" tIns="89971" bIns="89971" rtlCol="0" anchor="t">
              <a:spAutoFit/>
            </a:bodyPr>
            <a:lstStyle/>
            <a:p>
              <a:r>
                <a:rPr lang="ru-RU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Ключевые </a:t>
              </a:r>
              <a:r>
                <a:rPr lang="ru-RU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сухие порты (терминалы) внутри ЕЭП</a:t>
              </a:r>
            </a:p>
          </p:txBody>
        </p:sp>
      </p:grpSp>
      <p:sp>
        <p:nvSpPr>
          <p:cNvPr id="243" name="TextBox 242"/>
          <p:cNvSpPr txBox="1"/>
          <p:nvPr>
            <p:custDataLst>
              <p:tags r:id="rId73"/>
            </p:custDataLst>
          </p:nvPr>
        </p:nvSpPr>
        <p:spPr>
          <a:xfrm rot="1754734">
            <a:off x="8265331" y="3698395"/>
            <a:ext cx="879033" cy="674142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через Порты Владивостока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2113554" y="2901208"/>
            <a:ext cx="465192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рест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5080780" y="3315529"/>
            <a:ext cx="527710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стык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988718" y="3658319"/>
            <a:ext cx="514886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Хоргос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6813275" y="2928578"/>
            <a:ext cx="790602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байкальск</a:t>
            </a:r>
          </a:p>
        </p:txBody>
      </p:sp>
      <p:sp>
        <p:nvSpPr>
          <p:cNvPr id="168" name="Callout"/>
          <p:cNvSpPr>
            <a:spLocks noChangeArrowheads="1"/>
          </p:cNvSpPr>
          <p:nvPr/>
        </p:nvSpPr>
        <p:spPr bwMode="gray">
          <a:xfrm>
            <a:off x="363184" y="764704"/>
            <a:ext cx="2156046" cy="864096"/>
          </a:xfrm>
          <a:prstGeom prst="rect">
            <a:avLst/>
          </a:prstGeom>
          <a:solidFill>
            <a:schemeClr val="bg1">
              <a:alpha val="56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ru-RU" sz="9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мпорт из ЕС </a:t>
            </a:r>
            <a:r>
              <a:rPr lang="ru-RU" sz="9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кл</a:t>
            </a:r>
            <a:r>
              <a:rPr lang="ru-RU" sz="9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:</a:t>
            </a:r>
          </a:p>
          <a:p>
            <a:pPr marL="288838" lvl="1" indent="-174573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148 тыс. </a:t>
            </a:r>
            <a:r>
              <a:rPr lang="ru-RU" sz="9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ДФЭ</a:t>
            </a: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 переключение с авто</a:t>
            </a:r>
          </a:p>
          <a:p>
            <a:pPr marL="288838" lvl="1" indent="-174573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259 тыс. </a:t>
            </a:r>
            <a:r>
              <a:rPr lang="ru-RU" sz="9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ДФЭ</a:t>
            </a: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 импорта в Калугу</a:t>
            </a:r>
          </a:p>
          <a:p>
            <a:pPr marL="288838" lvl="1" indent="-174573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24 тыс. </a:t>
            </a:r>
            <a:r>
              <a:rPr lang="ru-RU" sz="9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ДФЭ</a:t>
            </a: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 в другие области</a:t>
            </a:r>
          </a:p>
          <a:p>
            <a:pPr marL="288838" lvl="1" indent="-174573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4,7 тыс. </a:t>
            </a:r>
            <a:r>
              <a:rPr lang="ru-RU" sz="9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ДФЭ</a:t>
            </a:r>
            <a:r>
              <a:rPr lang="ru-RU" sz="900" dirty="0">
                <a:solidFill>
                  <a:srgbClr val="000000"/>
                </a:solidFill>
                <a:latin typeface="Arial"/>
                <a:cs typeface="Arial" pitchFamily="34" charset="0"/>
              </a:rPr>
              <a:t> транзита через РФ</a:t>
            </a:r>
          </a:p>
        </p:txBody>
      </p:sp>
      <p:cxnSp>
        <p:nvCxnSpPr>
          <p:cNvPr id="170" name="AutoShape 3"/>
          <p:cNvCxnSpPr>
            <a:cxnSpLocks noChangeShapeType="1"/>
            <a:stCxn id="168" idx="2"/>
          </p:cNvCxnSpPr>
          <p:nvPr/>
        </p:nvCxnSpPr>
        <p:spPr bwMode="gray">
          <a:xfrm>
            <a:off x="1441207" y="1628800"/>
            <a:ext cx="247526" cy="933560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157" name="Rectangle 156"/>
          <p:cNvSpPr/>
          <p:nvPr/>
        </p:nvSpPr>
        <p:spPr>
          <a:xfrm>
            <a:off x="7005713" y="1093266"/>
            <a:ext cx="1518561" cy="914107"/>
          </a:xfrm>
          <a:prstGeom prst="rect">
            <a:avLst/>
          </a:prstGeom>
          <a:solidFill>
            <a:srgbClr val="DC6E00"/>
          </a:solidFill>
          <a:ln w="9525">
            <a:solidFill>
              <a:srgbClr val="DC6E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>
              <a:spcBef>
                <a:spcPts val="1799"/>
              </a:spcBef>
            </a:pP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вокупные потоки </a:t>
            </a:r>
            <a:r>
              <a:rPr lang="ru-RU" sz="16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ТЛК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∑4.2 млн. </a:t>
            </a:r>
            <a:r>
              <a:rPr lang="ru-RU" sz="16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Callout"/>
          <p:cNvSpPr>
            <a:spLocks noChangeArrowheads="1"/>
          </p:cNvSpPr>
          <p:nvPr/>
        </p:nvSpPr>
        <p:spPr bwMode="gray">
          <a:xfrm>
            <a:off x="804396" y="3749439"/>
            <a:ext cx="1276759" cy="692077"/>
          </a:xfrm>
          <a:prstGeom prst="rect">
            <a:avLst/>
          </a:prstGeom>
          <a:solidFill>
            <a:schemeClr val="bg1">
              <a:alpha val="56000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орт в ЕС </a:t>
            </a:r>
            <a:r>
              <a:rPr lang="ru-RU" sz="8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кл</a:t>
            </a: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:</a:t>
            </a:r>
          </a:p>
          <a:p>
            <a:pPr marL="288838" lvl="1" indent="-174573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136 тыс. </a:t>
            </a:r>
            <a:r>
              <a:rPr lang="ru-RU" sz="80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ДФЭ</a:t>
            </a:r>
            <a:r>
              <a:rPr lang="ru-RU" sz="800" dirty="0">
                <a:solidFill>
                  <a:srgbClr val="000000"/>
                </a:solidFill>
                <a:latin typeface="Arial"/>
                <a:cs typeface="Arial" pitchFamily="34" charset="0"/>
              </a:rPr>
              <a:t> экспорт из Калуги</a:t>
            </a:r>
          </a:p>
        </p:txBody>
      </p:sp>
      <p:cxnSp>
        <p:nvCxnSpPr>
          <p:cNvPr id="174" name="AutoShape 3"/>
          <p:cNvCxnSpPr>
            <a:cxnSpLocks noChangeShapeType="1"/>
            <a:endCxn id="173" idx="0"/>
          </p:cNvCxnSpPr>
          <p:nvPr/>
        </p:nvCxnSpPr>
        <p:spPr bwMode="gray">
          <a:xfrm flipH="1">
            <a:off x="1442777" y="3507792"/>
            <a:ext cx="284001" cy="241647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158" name="Oval 157"/>
          <p:cNvSpPr/>
          <p:nvPr/>
        </p:nvSpPr>
        <p:spPr>
          <a:xfrm>
            <a:off x="7456169" y="4315878"/>
            <a:ext cx="83077" cy="89971"/>
          </a:xfrm>
          <a:prstGeom prst="ellipse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7378106" y="4069512"/>
            <a:ext cx="753732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Ляньюньган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5" name="Freeform 174"/>
          <p:cNvSpPr/>
          <p:nvPr/>
        </p:nvSpPr>
        <p:spPr>
          <a:xfrm>
            <a:off x="2505811" y="2278769"/>
            <a:ext cx="1019907" cy="533229"/>
          </a:xfrm>
          <a:custGeom>
            <a:avLst/>
            <a:gdLst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476250">
                <a:moveTo>
                  <a:pt x="685800" y="476250"/>
                </a:moveTo>
                <a:lnTo>
                  <a:pt x="685800" y="476250"/>
                </a:lnTo>
                <a:cubicBezTo>
                  <a:pt x="615950" y="444500"/>
                  <a:pt x="374650" y="357981"/>
                  <a:pt x="266700" y="285750"/>
                </a:cubicBezTo>
                <a:cubicBezTo>
                  <a:pt x="158750" y="213519"/>
                  <a:pt x="82550" y="90487"/>
                  <a:pt x="38100" y="42862"/>
                </a:cubicBezTo>
                <a:lnTo>
                  <a:pt x="0" y="0"/>
                </a:lnTo>
              </a:path>
            </a:pathLst>
          </a:custGeom>
          <a:ln w="41275">
            <a:solidFill>
              <a:srgbClr val="908052"/>
            </a:solidFill>
            <a:prstDash val="dash"/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176" name="Freeform 175"/>
          <p:cNvSpPr/>
          <p:nvPr/>
        </p:nvSpPr>
        <p:spPr>
          <a:xfrm flipV="1">
            <a:off x="2969606" y="2804848"/>
            <a:ext cx="571500" cy="730812"/>
          </a:xfrm>
          <a:custGeom>
            <a:avLst/>
            <a:gdLst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  <a:gd name="connsiteX0" fmla="*/ 685800 w 685800"/>
              <a:gd name="connsiteY0" fmla="*/ 476250 h 476250"/>
              <a:gd name="connsiteX1" fmla="*/ 685800 w 685800"/>
              <a:gd name="connsiteY1" fmla="*/ 476250 h 476250"/>
              <a:gd name="connsiteX2" fmla="*/ 266700 w 685800"/>
              <a:gd name="connsiteY2" fmla="*/ 285750 h 476250"/>
              <a:gd name="connsiteX3" fmla="*/ 38100 w 685800"/>
              <a:gd name="connsiteY3" fmla="*/ 42862 h 476250"/>
              <a:gd name="connsiteX4" fmla="*/ 0 w 685800"/>
              <a:gd name="connsiteY4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476250">
                <a:moveTo>
                  <a:pt x="685800" y="476250"/>
                </a:moveTo>
                <a:lnTo>
                  <a:pt x="685800" y="476250"/>
                </a:lnTo>
                <a:cubicBezTo>
                  <a:pt x="615950" y="444500"/>
                  <a:pt x="374650" y="357981"/>
                  <a:pt x="266700" y="285750"/>
                </a:cubicBezTo>
                <a:cubicBezTo>
                  <a:pt x="158750" y="213519"/>
                  <a:pt x="82550" y="90487"/>
                  <a:pt x="38100" y="42862"/>
                </a:cubicBezTo>
                <a:lnTo>
                  <a:pt x="0" y="0"/>
                </a:lnTo>
              </a:path>
            </a:pathLst>
          </a:custGeom>
          <a:ln w="41275">
            <a:solidFill>
              <a:srgbClr val="908052"/>
            </a:solidFill>
            <a:prstDash val="dash"/>
            <a:headEnd type="none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grpSp>
        <p:nvGrpSpPr>
          <p:cNvPr id="6" name="Group 177"/>
          <p:cNvGrpSpPr/>
          <p:nvPr/>
        </p:nvGrpSpPr>
        <p:grpSpPr>
          <a:xfrm>
            <a:off x="7058772" y="4482461"/>
            <a:ext cx="1872286" cy="1349433"/>
            <a:chOff x="7647001" y="5271448"/>
            <a:chExt cx="2028310" cy="1349866"/>
          </a:xfrm>
        </p:grpSpPr>
        <p:sp>
          <p:nvSpPr>
            <p:cNvPr id="179" name="Up Arrow 178"/>
            <p:cNvSpPr/>
            <p:nvPr/>
          </p:nvSpPr>
          <p:spPr>
            <a:xfrm rot="18535863">
              <a:off x="8047453" y="5278256"/>
              <a:ext cx="572921" cy="559306"/>
            </a:xfrm>
            <a:prstGeom prst="upArrow">
              <a:avLst/>
            </a:prstGeom>
            <a:noFill/>
            <a:ln w="41275">
              <a:solidFill>
                <a:schemeClr val="bg2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71" bIns="89971" rtlCol="0" anchor="ctr" anchorCtr="0"/>
            <a:lstStyle/>
            <a:p>
              <a:pPr algn="ctr"/>
              <a:endPara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80" name="flag_japan" descr="Datei:Flag of Japan.svg">
              <a:hlinkClick r:id="rId152"/>
            </p:cNvPr>
            <p:cNvPicPr>
              <a:picLocks noChangeAspect="1" noChangeArrowheads="1"/>
            </p:cNvPicPr>
            <p:nvPr>
              <p:custDataLst>
                <p:tags r:id="rId79"/>
              </p:custDataLst>
            </p:nvPr>
          </p:nvPicPr>
          <p:blipFill>
            <a:blip r:embed="rId153" cstate="print"/>
            <a:srcRect t="2885" b="1898"/>
            <a:stretch>
              <a:fillRect/>
            </a:stretch>
          </p:blipFill>
          <p:spPr bwMode="auto">
            <a:xfrm>
              <a:off x="8709843" y="5442139"/>
              <a:ext cx="389253" cy="24693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</p:pic>
        <p:pic>
          <p:nvPicPr>
            <p:cNvPr id="208" name="flag_southkorea" descr="Datei:Flag of South Korea.svg">
              <a:hlinkClick r:id="rId154"/>
            </p:cNvPr>
            <p:cNvPicPr>
              <a:picLocks noChangeAspect="1" noChangeArrowheads="1"/>
            </p:cNvPicPr>
            <p:nvPr/>
          </p:nvPicPr>
          <p:blipFill>
            <a:blip r:embed="rId155" cstate="screen"/>
            <a:srcRect/>
            <a:stretch>
              <a:fillRect/>
            </a:stretch>
          </p:blipFill>
          <p:spPr bwMode="gray">
            <a:xfrm>
              <a:off x="7652579" y="6046477"/>
              <a:ext cx="389253" cy="24668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</p:pic>
        <p:pic>
          <p:nvPicPr>
            <p:cNvPr id="209" name="flag_taiwan" descr="Datei:Flag of the Republic of China.svg">
              <a:hlinkClick r:id="rId156"/>
            </p:cNvPr>
            <p:cNvPicPr>
              <a:picLocks noChangeAspect="1" noChangeArrowheads="1"/>
            </p:cNvPicPr>
            <p:nvPr/>
          </p:nvPicPr>
          <p:blipFill>
            <a:blip r:embed="rId157" cstate="screen"/>
            <a:srcRect/>
            <a:stretch>
              <a:fillRect/>
            </a:stretch>
          </p:blipFill>
          <p:spPr bwMode="gray">
            <a:xfrm>
              <a:off x="8721259" y="5778673"/>
              <a:ext cx="389253" cy="246688"/>
            </a:xfrm>
            <a:prstGeom prst="rect">
              <a:avLst/>
            </a:prstGeom>
            <a:noFill/>
          </p:spPr>
        </p:pic>
        <p:sp>
          <p:nvSpPr>
            <p:cNvPr id="211" name="flag_label"/>
            <p:cNvSpPr>
              <a:spLocks noChangeArrowheads="1"/>
            </p:cNvSpPr>
            <p:nvPr/>
          </p:nvSpPr>
          <p:spPr bwMode="gray">
            <a:xfrm>
              <a:off x="9157808" y="6167646"/>
              <a:ext cx="517503" cy="12315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800" dirty="0">
                  <a:latin typeface="Arial" pitchFamily="34" charset="0"/>
                  <a:cs typeface="Arial" pitchFamily="34" charset="0"/>
                </a:rPr>
                <a:t>Малайзия</a:t>
              </a:r>
            </a:p>
          </p:txBody>
        </p:sp>
        <p:pic>
          <p:nvPicPr>
            <p:cNvPr id="224" name="flag_malaysia" descr="Datei:Flag of Malaysia.svg">
              <a:hlinkClick r:id="rId158"/>
            </p:cNvPr>
            <p:cNvPicPr>
              <a:picLocks noChangeAspect="1" noChangeArrowheads="1"/>
            </p:cNvPicPr>
            <p:nvPr/>
          </p:nvPicPr>
          <p:blipFill>
            <a:blip r:embed="rId159" cstate="screen"/>
            <a:srcRect/>
            <a:stretch>
              <a:fillRect/>
            </a:stretch>
          </p:blipFill>
          <p:spPr bwMode="gray">
            <a:xfrm>
              <a:off x="8731109" y="6119971"/>
              <a:ext cx="389253" cy="246688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</p:pic>
        <p:sp>
          <p:nvSpPr>
            <p:cNvPr id="225" name="flag_label"/>
            <p:cNvSpPr>
              <a:spLocks noChangeArrowheads="1"/>
            </p:cNvSpPr>
            <p:nvPr/>
          </p:nvSpPr>
          <p:spPr bwMode="gray">
            <a:xfrm>
              <a:off x="9161081" y="5822420"/>
              <a:ext cx="432410" cy="12315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800" dirty="0">
                  <a:latin typeface="Arial" pitchFamily="34" charset="0"/>
                  <a:cs typeface="Arial" pitchFamily="34" charset="0"/>
                </a:rPr>
                <a:t>Тайвань</a:t>
              </a:r>
            </a:p>
          </p:txBody>
        </p:sp>
        <p:sp>
          <p:nvSpPr>
            <p:cNvPr id="229" name="flag_label"/>
            <p:cNvSpPr>
              <a:spLocks noChangeArrowheads="1"/>
            </p:cNvSpPr>
            <p:nvPr/>
          </p:nvSpPr>
          <p:spPr bwMode="gray">
            <a:xfrm>
              <a:off x="9162814" y="5513381"/>
              <a:ext cx="387259" cy="12315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800" dirty="0">
                  <a:latin typeface="Arial" pitchFamily="34" charset="0"/>
                  <a:cs typeface="Arial" pitchFamily="34" charset="0"/>
                </a:rPr>
                <a:t>Япония</a:t>
              </a:r>
            </a:p>
          </p:txBody>
        </p:sp>
        <p:sp>
          <p:nvSpPr>
            <p:cNvPr id="231" name="flag_label"/>
            <p:cNvSpPr>
              <a:spLocks noChangeArrowheads="1"/>
            </p:cNvSpPr>
            <p:nvPr/>
          </p:nvSpPr>
          <p:spPr bwMode="gray">
            <a:xfrm>
              <a:off x="8097345" y="6101284"/>
              <a:ext cx="487981" cy="12315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800" dirty="0">
                  <a:latin typeface="Arial" pitchFamily="34" charset="0"/>
                  <a:cs typeface="Arial" pitchFamily="34" charset="0"/>
                </a:rPr>
                <a:t>Ю. Корея</a:t>
              </a:r>
            </a:p>
          </p:txBody>
        </p:sp>
        <p:pic>
          <p:nvPicPr>
            <p:cNvPr id="233" name="Picture 8" descr="http://turpogoda.ru/photo/pos_img/philippines-flag.gif"/>
            <p:cNvPicPr>
              <a:picLocks noChangeAspect="1" noChangeArrowheads="1"/>
            </p:cNvPicPr>
            <p:nvPr/>
          </p:nvPicPr>
          <p:blipFill>
            <a:blip r:embed="rId160" cstate="print"/>
            <a:srcRect/>
            <a:stretch>
              <a:fillRect/>
            </a:stretch>
          </p:blipFill>
          <p:spPr bwMode="auto">
            <a:xfrm>
              <a:off x="7647001" y="6374627"/>
              <a:ext cx="363049" cy="246687"/>
            </a:xfrm>
            <a:prstGeom prst="rect">
              <a:avLst/>
            </a:prstGeom>
            <a:noFill/>
          </p:spPr>
        </p:pic>
        <p:sp>
          <p:nvSpPr>
            <p:cNvPr id="235" name="flag_label"/>
            <p:cNvSpPr>
              <a:spLocks noChangeArrowheads="1"/>
            </p:cNvSpPr>
            <p:nvPr/>
          </p:nvSpPr>
          <p:spPr bwMode="gray">
            <a:xfrm>
              <a:off x="8035853" y="6421466"/>
              <a:ext cx="599123" cy="12315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800" dirty="0">
                  <a:latin typeface="Arial" pitchFamily="34" charset="0"/>
                  <a:cs typeface="Arial" pitchFamily="34" charset="0"/>
                </a:rPr>
                <a:t>Филиппины</a:t>
              </a:r>
            </a:p>
          </p:txBody>
        </p:sp>
      </p:grpSp>
      <p:sp>
        <p:nvSpPr>
          <p:cNvPr id="236" name="TextBox 235"/>
          <p:cNvSpPr txBox="1"/>
          <p:nvPr>
            <p:custDataLst>
              <p:tags r:id="rId74"/>
            </p:custDataLst>
          </p:nvPr>
        </p:nvSpPr>
        <p:spPr>
          <a:xfrm>
            <a:off x="3861217" y="4423361"/>
            <a:ext cx="1147306" cy="920363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чёты включают в себя </a:t>
            </a:r>
            <a:r>
              <a:rPr lang="en-US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~ 52 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ыс. 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ФЭ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транзита 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ЮВА-ЕС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через </a:t>
            </a:r>
            <a:r>
              <a:rPr lang="ru-RU" sz="800" i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Ляньюнгань</a:t>
            </a:r>
            <a:r>
              <a:rPr lang="ru-RU" sz="800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 в 2020 г.</a:t>
            </a:r>
          </a:p>
        </p:txBody>
      </p:sp>
      <p:sp>
        <p:nvSpPr>
          <p:cNvPr id="178" name="Freeform 155"/>
          <p:cNvSpPr/>
          <p:nvPr>
            <p:custDataLst>
              <p:tags r:id="rId75"/>
            </p:custDataLst>
          </p:nvPr>
        </p:nvSpPr>
        <p:spPr>
          <a:xfrm rot="20801293">
            <a:off x="3474429" y="3286341"/>
            <a:ext cx="1419581" cy="409911"/>
          </a:xfrm>
          <a:custGeom>
            <a:avLst/>
            <a:gdLst>
              <a:gd name="connsiteX0" fmla="*/ 0 w 2496621"/>
              <a:gd name="connsiteY0" fmla="*/ 465761 h 660970"/>
              <a:gd name="connsiteX1" fmla="*/ 267128 w 2496621"/>
              <a:gd name="connsiteY1" fmla="*/ 239730 h 660970"/>
              <a:gd name="connsiteX2" fmla="*/ 893852 w 2496621"/>
              <a:gd name="connsiteY2" fmla="*/ 54795 h 660970"/>
              <a:gd name="connsiteX3" fmla="*/ 1335641 w 2496621"/>
              <a:gd name="connsiteY3" fmla="*/ 34247 h 660970"/>
              <a:gd name="connsiteX4" fmla="*/ 1962364 w 2496621"/>
              <a:gd name="connsiteY4" fmla="*/ 260278 h 660970"/>
              <a:gd name="connsiteX5" fmla="*/ 2496621 w 2496621"/>
              <a:gd name="connsiteY5" fmla="*/ 660970 h 660970"/>
              <a:gd name="connsiteX6" fmla="*/ 2496621 w 2496621"/>
              <a:gd name="connsiteY6" fmla="*/ 660970 h 66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6621" h="660970">
                <a:moveTo>
                  <a:pt x="0" y="465761"/>
                </a:moveTo>
                <a:cubicBezTo>
                  <a:pt x="59076" y="386992"/>
                  <a:pt x="118153" y="308224"/>
                  <a:pt x="267128" y="239730"/>
                </a:cubicBezTo>
                <a:cubicBezTo>
                  <a:pt x="416103" y="171236"/>
                  <a:pt x="715767" y="89042"/>
                  <a:pt x="893852" y="54795"/>
                </a:cubicBezTo>
                <a:cubicBezTo>
                  <a:pt x="1071938" y="20548"/>
                  <a:pt x="1157556" y="0"/>
                  <a:pt x="1335641" y="34247"/>
                </a:cubicBezTo>
                <a:cubicBezTo>
                  <a:pt x="1513726" y="68494"/>
                  <a:pt x="1768867" y="155824"/>
                  <a:pt x="1962364" y="260278"/>
                </a:cubicBezTo>
                <a:cubicBezTo>
                  <a:pt x="2155861" y="364732"/>
                  <a:pt x="2496621" y="660970"/>
                  <a:pt x="2496621" y="660970"/>
                </a:cubicBezTo>
                <a:lnTo>
                  <a:pt x="2496621" y="660970"/>
                </a:lnTo>
              </a:path>
            </a:pathLst>
          </a:custGeom>
          <a:ln w="41275">
            <a:solidFill>
              <a:srgbClr val="908052"/>
            </a:solidFill>
            <a:headEnd type="stealth"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800">
              <a:solidFill>
                <a:prstClr val="black"/>
              </a:solidFill>
            </a:endParaRPr>
          </a:p>
        </p:txBody>
      </p:sp>
      <p:sp>
        <p:nvSpPr>
          <p:cNvPr id="197" name="TextBox 196"/>
          <p:cNvSpPr txBox="1"/>
          <p:nvPr>
            <p:custDataLst>
              <p:tags r:id="rId76"/>
            </p:custDataLst>
          </p:nvPr>
        </p:nvSpPr>
        <p:spPr>
          <a:xfrm>
            <a:off x="3076751" y="3204248"/>
            <a:ext cx="864095" cy="551031"/>
          </a:xfrm>
          <a:prstGeom prst="rect">
            <a:avLst/>
          </a:prstGeom>
          <a:noFill/>
        </p:spPr>
        <p:txBody>
          <a:bodyPr wrap="squar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0 тыс. ДФЭ (транзит из ЮВА)</a:t>
            </a:r>
          </a:p>
        </p:txBody>
      </p:sp>
      <p:sp>
        <p:nvSpPr>
          <p:cNvPr id="469" name="TextBox 468"/>
          <p:cNvSpPr txBox="1"/>
          <p:nvPr>
            <p:custDataLst>
              <p:tags r:id="rId77"/>
            </p:custDataLst>
          </p:nvPr>
        </p:nvSpPr>
        <p:spPr>
          <a:xfrm>
            <a:off x="3526622" y="3114853"/>
            <a:ext cx="453970" cy="304810"/>
          </a:xfrm>
          <a:prstGeom prst="rect">
            <a:avLst/>
          </a:prstGeom>
          <a:noFill/>
        </p:spPr>
        <p:txBody>
          <a:bodyPr wrap="none" tIns="89971" bIns="89971" rtlCol="0" anchor="t">
            <a:spAutoFit/>
          </a:bodyPr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ктау</a:t>
            </a:r>
          </a:p>
        </p:txBody>
      </p:sp>
      <p:sp>
        <p:nvSpPr>
          <p:cNvPr id="470" name="Oval 469"/>
          <p:cNvSpPr/>
          <p:nvPr/>
        </p:nvSpPr>
        <p:spPr>
          <a:xfrm>
            <a:off x="3802989" y="3506211"/>
            <a:ext cx="83077" cy="89971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/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9" name="Picture 3"/>
          <p:cNvPicPr>
            <a:picLocks noChangeAspect="1" noChangeArrowheads="1"/>
          </p:cNvPicPr>
          <p:nvPr/>
        </p:nvPicPr>
        <p:blipFill>
          <a:blip r:embed="rId161" cstate="print"/>
          <a:srcRect/>
          <a:stretch>
            <a:fillRect/>
          </a:stretch>
        </p:blipFill>
        <p:spPr bwMode="auto">
          <a:xfrm>
            <a:off x="6741775" y="4066105"/>
            <a:ext cx="2153716" cy="19397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07" name="Callout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7872562" y="4572226"/>
            <a:ext cx="768941" cy="361570"/>
          </a:xfrm>
          <a:prstGeom prst="rect">
            <a:avLst/>
          </a:prstGeom>
          <a:solidFill>
            <a:srgbClr val="F9EFBD"/>
          </a:solidFill>
          <a:ln w="9525" algn="ctr">
            <a:solidFill>
              <a:srgbClr val="F9EFBD"/>
            </a:solidFill>
            <a:miter lim="800000"/>
            <a:headEnd/>
            <a:tailEnd/>
          </a:ln>
        </p:spPr>
        <p:txBody>
          <a:bodyPr tIns="91411" bIns="91411" anchor="ctr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ратная загрузка</a:t>
            </a:r>
          </a:p>
        </p:txBody>
      </p:sp>
      <p:pic>
        <p:nvPicPr>
          <p:cNvPr id="210" name="Рисунок 184" descr="Рисунок3.png"/>
          <p:cNvPicPr>
            <a:picLocks noChangeAspect="1"/>
          </p:cNvPicPr>
          <p:nvPr/>
        </p:nvPicPr>
        <p:blipFill>
          <a:blip r:embed="rId162" cstate="print"/>
          <a:stretch>
            <a:fillRect/>
          </a:stretch>
        </p:blipFill>
        <p:spPr>
          <a:xfrm>
            <a:off x="6655803" y="1028978"/>
            <a:ext cx="2153716" cy="20417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</p:pic>
      <p:sp>
        <p:nvSpPr>
          <p:cNvPr id="212" name="Rectangle 211"/>
          <p:cNvSpPr/>
          <p:nvPr/>
        </p:nvSpPr>
        <p:spPr>
          <a:xfrm>
            <a:off x="6647991" y="760229"/>
            <a:ext cx="2182317" cy="297529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1" bIns="89971" rtlCol="0" anchor="ctr" anchorCtr="0"/>
          <a:lstStyle/>
          <a:p>
            <a:pPr algn="ctr">
              <a:spcBef>
                <a:spcPts val="1799"/>
              </a:spcBef>
            </a:pPr>
            <a:r>
              <a:rPr lang="ru-RU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еревозки ОТЛК: 4.2 млн. </a:t>
            </a:r>
            <a:r>
              <a:rPr lang="ru-RU" sz="11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ФЭ</a:t>
            </a:r>
            <a:endParaRPr lang="ru-RU" sz="11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takeaway_box"/>
          <p:cNvSpPr>
            <a:spLocks noChangeArrowheads="1"/>
          </p:cNvSpPr>
          <p:nvPr/>
        </p:nvSpPr>
        <p:spPr bwMode="gray">
          <a:xfrm>
            <a:off x="357158" y="5589240"/>
            <a:ext cx="5970701" cy="7920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дача ОТЛК – рост конкурентоспособности и объемов ж/</a:t>
            </a:r>
            <a:r>
              <a:rPr lang="ru-RU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</a:t>
            </a:r>
            <a:r>
              <a:rPr lang="ru-R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перевозок на пространстве 1520 </a:t>
            </a:r>
            <a:endParaRPr lang="ru-RU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8" name="Номер слайда 21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CC0D5AE-42F5-4B75-9746-C72C4F5D09AE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25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TextBox 257"/>
          <p:cNvSpPr txBox="1"/>
          <p:nvPr/>
        </p:nvSpPr>
        <p:spPr>
          <a:xfrm>
            <a:off x="179512" y="44624"/>
            <a:ext cx="8964488" cy="62068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b="1" dirty="0" smtClean="0"/>
              <a:t>Развитие транзитных контейнерных перевозок – ключевая задача ОТЛК на первом этапе</a:t>
            </a:r>
          </a:p>
        </p:txBody>
      </p:sp>
      <p:sp>
        <p:nvSpPr>
          <p:cNvPr id="57" name="Номер слайда 5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CC0D5AE-42F5-4B75-9746-C72C4F5D09AE}" type="slidenum">
              <a:rPr lang="ru-RU" smtClean="0"/>
              <a:pPr/>
              <a:t>7</a:t>
            </a:fld>
            <a:endParaRPr lang="ru-RU"/>
          </a:p>
        </p:txBody>
      </p:sp>
      <p:grpSp>
        <p:nvGrpSpPr>
          <p:cNvPr id="84" name="Группа 83"/>
          <p:cNvGrpSpPr/>
          <p:nvPr/>
        </p:nvGrpSpPr>
        <p:grpSpPr>
          <a:xfrm>
            <a:off x="467544" y="836710"/>
            <a:ext cx="4968552" cy="2376264"/>
            <a:chOff x="5292080" y="4336304"/>
            <a:chExt cx="3799481" cy="1659164"/>
          </a:xfrm>
        </p:grpSpPr>
        <p:cxnSp>
          <p:nvCxnSpPr>
            <p:cNvPr id="61" name="Прямая соединительная линия 60"/>
            <p:cNvCxnSpPr/>
            <p:nvPr/>
          </p:nvCxnSpPr>
          <p:spPr>
            <a:xfrm>
              <a:off x="5292080" y="5877272"/>
              <a:ext cx="3672408" cy="0"/>
            </a:xfrm>
            <a:prstGeom prst="line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5796136" y="5877273"/>
              <a:ext cx="432048" cy="1181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chemeClr val="bg2">
                      <a:lumMod val="50000"/>
                    </a:schemeClr>
                  </a:solidFill>
                </a:rPr>
                <a:t>2011</a:t>
              </a:r>
              <a:endParaRPr lang="ru-RU" sz="11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8316416" y="5877274"/>
              <a:ext cx="432048" cy="1181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chemeClr val="bg2">
                      <a:lumMod val="50000"/>
                    </a:schemeClr>
                  </a:solidFill>
                </a:rPr>
                <a:t>2014</a:t>
              </a:r>
              <a:endParaRPr lang="ru-RU" sz="11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65" name="Полилиния 64"/>
            <p:cNvSpPr/>
            <p:nvPr/>
          </p:nvSpPr>
          <p:spPr>
            <a:xfrm>
              <a:off x="5677535" y="4436860"/>
              <a:ext cx="3024336" cy="1005554"/>
            </a:xfrm>
            <a:custGeom>
              <a:avLst/>
              <a:gdLst>
                <a:gd name="connsiteX0" fmla="*/ 2743200 w 2743200"/>
                <a:gd name="connsiteY0" fmla="*/ 0 h 1246909"/>
                <a:gd name="connsiteX1" fmla="*/ 2587336 w 2743200"/>
                <a:gd name="connsiteY1" fmla="*/ 280554 h 1246909"/>
                <a:gd name="connsiteX2" fmla="*/ 2317172 w 2743200"/>
                <a:gd name="connsiteY2" fmla="*/ 602672 h 1246909"/>
                <a:gd name="connsiteX3" fmla="*/ 1787236 w 2743200"/>
                <a:gd name="connsiteY3" fmla="*/ 955963 h 1246909"/>
                <a:gd name="connsiteX4" fmla="*/ 1049481 w 2743200"/>
                <a:gd name="connsiteY4" fmla="*/ 1153391 h 1246909"/>
                <a:gd name="connsiteX5" fmla="*/ 0 w 2743200"/>
                <a:gd name="connsiteY5" fmla="*/ 1246909 h 1246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43200" h="1246909">
                  <a:moveTo>
                    <a:pt x="2743200" y="0"/>
                  </a:moveTo>
                  <a:cubicBezTo>
                    <a:pt x="2700770" y="90054"/>
                    <a:pt x="2658341" y="180109"/>
                    <a:pt x="2587336" y="280554"/>
                  </a:cubicBezTo>
                  <a:cubicBezTo>
                    <a:pt x="2516331" y="380999"/>
                    <a:pt x="2450522" y="490104"/>
                    <a:pt x="2317172" y="602672"/>
                  </a:cubicBezTo>
                  <a:cubicBezTo>
                    <a:pt x="2183822" y="715240"/>
                    <a:pt x="1998518" y="864177"/>
                    <a:pt x="1787236" y="955963"/>
                  </a:cubicBezTo>
                  <a:cubicBezTo>
                    <a:pt x="1575954" y="1047749"/>
                    <a:pt x="1347354" y="1104900"/>
                    <a:pt x="1049481" y="1153391"/>
                  </a:cubicBezTo>
                  <a:cubicBezTo>
                    <a:pt x="751608" y="1201882"/>
                    <a:pt x="375804" y="1224395"/>
                    <a:pt x="0" y="1246909"/>
                  </a:cubicBezTo>
                </a:path>
              </a:pathLst>
            </a:custGeom>
            <a:ln w="31750">
              <a:solidFill>
                <a:srgbClr val="C00000"/>
              </a:solidFill>
              <a:head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66" name="Пятиугольник 65"/>
            <p:cNvSpPr/>
            <p:nvPr/>
          </p:nvSpPr>
          <p:spPr>
            <a:xfrm>
              <a:off x="5652120" y="5589240"/>
              <a:ext cx="3384376" cy="216024"/>
            </a:xfrm>
            <a:prstGeom prst="homePlate">
              <a:avLst/>
            </a:prstGeom>
            <a:solidFill>
              <a:srgbClr val="FF9999"/>
            </a:solidFill>
            <a:ln>
              <a:solidFill>
                <a:srgbClr val="FF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000" b="1" dirty="0" err="1" smtClean="0">
                  <a:solidFill>
                    <a:schemeClr val="tx1"/>
                  </a:solidFill>
                </a:rPr>
                <a:t>Чунцин-Дуйсбург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7" name="Пятиугольник 66"/>
            <p:cNvSpPr/>
            <p:nvPr/>
          </p:nvSpPr>
          <p:spPr>
            <a:xfrm>
              <a:off x="6516216" y="5423496"/>
              <a:ext cx="2575345" cy="119474"/>
            </a:xfrm>
            <a:prstGeom prst="homePlate">
              <a:avLst/>
            </a:prstGeom>
            <a:solidFill>
              <a:srgbClr val="FF9999"/>
            </a:solidFill>
            <a:ln>
              <a:solidFill>
                <a:srgbClr val="FF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000" b="1" dirty="0" err="1" smtClean="0">
                  <a:solidFill>
                    <a:schemeClr val="tx1"/>
                  </a:solidFill>
                </a:rPr>
                <a:t>Ченгду-Додзь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8" name="Пятиугольник 67"/>
            <p:cNvSpPr/>
            <p:nvPr/>
          </p:nvSpPr>
          <p:spPr>
            <a:xfrm>
              <a:off x="7308304" y="5241304"/>
              <a:ext cx="1783257" cy="134387"/>
            </a:xfrm>
            <a:prstGeom prst="homePlate">
              <a:avLst/>
            </a:prstGeom>
            <a:solidFill>
              <a:srgbClr val="FF9999"/>
            </a:solidFill>
            <a:ln>
              <a:solidFill>
                <a:srgbClr val="FF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000" b="1" dirty="0" err="1" smtClean="0">
                  <a:solidFill>
                    <a:schemeClr val="tx1"/>
                  </a:solidFill>
                </a:rPr>
                <a:t>Женгжоу-Гамбург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69" name="Пятиугольник 68"/>
            <p:cNvSpPr/>
            <p:nvPr/>
          </p:nvSpPr>
          <p:spPr>
            <a:xfrm>
              <a:off x="8100392" y="5041726"/>
              <a:ext cx="991169" cy="149300"/>
            </a:xfrm>
            <a:prstGeom prst="homePlate">
              <a:avLst/>
            </a:prstGeom>
            <a:solidFill>
              <a:srgbClr val="FF9999"/>
            </a:solidFill>
            <a:ln>
              <a:solidFill>
                <a:srgbClr val="FF99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0" rtlCol="0" anchor="ctr"/>
            <a:lstStyle/>
            <a:p>
              <a:r>
                <a:rPr lang="ru-RU" sz="900" b="1" dirty="0" err="1" smtClean="0">
                  <a:solidFill>
                    <a:schemeClr val="tx1"/>
                  </a:solidFill>
                </a:rPr>
                <a:t>Вухань</a:t>
              </a:r>
              <a:r>
                <a:rPr lang="ru-RU" sz="900" b="1" dirty="0" smtClean="0">
                  <a:solidFill>
                    <a:schemeClr val="tx1"/>
                  </a:solidFill>
                </a:rPr>
                <a:t> – </a:t>
              </a:r>
              <a:r>
                <a:rPr lang="ru-RU" sz="900" b="1" dirty="0" err="1" smtClean="0">
                  <a:solidFill>
                    <a:schemeClr val="tx1"/>
                  </a:solidFill>
                </a:rPr>
                <a:t>Пардубице</a:t>
              </a:r>
              <a:endParaRPr lang="ru-RU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71" name="Прямая соединительная линия 70"/>
            <p:cNvCxnSpPr/>
            <p:nvPr/>
          </p:nvCxnSpPr>
          <p:spPr>
            <a:xfrm flipV="1">
              <a:off x="8100392" y="4869160"/>
              <a:ext cx="0" cy="1008112"/>
            </a:xfrm>
            <a:prstGeom prst="line">
              <a:avLst/>
            </a:prstGeom>
            <a:ln w="31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Прямая соединительная линия 71"/>
            <p:cNvCxnSpPr/>
            <p:nvPr/>
          </p:nvCxnSpPr>
          <p:spPr>
            <a:xfrm flipV="1">
              <a:off x="7308304" y="5157192"/>
              <a:ext cx="0" cy="720080"/>
            </a:xfrm>
            <a:prstGeom prst="line">
              <a:avLst/>
            </a:prstGeom>
            <a:ln w="31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/>
            <p:nvPr/>
          </p:nvCxnSpPr>
          <p:spPr>
            <a:xfrm flipV="1">
              <a:off x="6516216" y="5229200"/>
              <a:ext cx="0" cy="648072"/>
            </a:xfrm>
            <a:prstGeom prst="line">
              <a:avLst/>
            </a:prstGeom>
            <a:ln w="31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Прямая соединительная линия 75"/>
            <p:cNvCxnSpPr/>
            <p:nvPr/>
          </p:nvCxnSpPr>
          <p:spPr>
            <a:xfrm flipV="1">
              <a:off x="5652120" y="5229200"/>
              <a:ext cx="0" cy="648072"/>
            </a:xfrm>
            <a:prstGeom prst="line">
              <a:avLst/>
            </a:prstGeom>
            <a:ln w="31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/>
          </p:nvSpPr>
          <p:spPr>
            <a:xfrm>
              <a:off x="7524328" y="5877275"/>
              <a:ext cx="432048" cy="1181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chemeClr val="bg2">
                      <a:lumMod val="50000"/>
                    </a:schemeClr>
                  </a:solidFill>
                </a:rPr>
                <a:t>2013</a:t>
              </a:r>
              <a:endParaRPr lang="ru-RU" sz="11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6732240" y="5877275"/>
              <a:ext cx="432048" cy="1181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chemeClr val="bg2">
                      <a:lumMod val="50000"/>
                    </a:schemeClr>
                  </a:solidFill>
                </a:rPr>
                <a:t>2012</a:t>
              </a:r>
              <a:endParaRPr lang="ru-RU" sz="11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5364088" y="4653138"/>
              <a:ext cx="648072" cy="1719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/>
                <a:t>поездов</a:t>
              </a:r>
              <a:endParaRPr lang="ru-RU" sz="1000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787664" y="5191025"/>
              <a:ext cx="504056" cy="18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bg2">
                      <a:lumMod val="50000"/>
                    </a:schemeClr>
                  </a:solidFill>
                  <a:latin typeface="Arial Black" pitchFamily="34" charset="0"/>
                </a:rPr>
                <a:t>14</a:t>
              </a:r>
              <a:endParaRPr lang="ru-RU" sz="1050" dirty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endParaRPr>
            </a:p>
          </p:txBody>
        </p:sp>
        <p:cxnSp>
          <p:nvCxnSpPr>
            <p:cNvPr id="87" name="Прямая со стрелкой 86"/>
            <p:cNvCxnSpPr/>
            <p:nvPr/>
          </p:nvCxnSpPr>
          <p:spPr>
            <a:xfrm flipV="1">
              <a:off x="5364088" y="4581128"/>
              <a:ext cx="0" cy="1296144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/>
            <p:cNvSpPr txBox="1"/>
            <p:nvPr/>
          </p:nvSpPr>
          <p:spPr>
            <a:xfrm>
              <a:off x="6613639" y="5040192"/>
              <a:ext cx="504056" cy="18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dirty="0" smtClean="0">
                  <a:solidFill>
                    <a:schemeClr val="bg2">
                      <a:lumMod val="50000"/>
                    </a:schemeClr>
                  </a:solidFill>
                  <a:latin typeface="Arial Black" pitchFamily="34" charset="0"/>
                </a:rPr>
                <a:t>42</a:t>
              </a:r>
              <a:endParaRPr lang="ru-RU" sz="1100" dirty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7384548" y="4839081"/>
              <a:ext cx="504056" cy="2148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 smtClean="0">
                  <a:solidFill>
                    <a:schemeClr val="bg2">
                      <a:lumMod val="50000"/>
                    </a:schemeClr>
                  </a:solidFill>
                  <a:latin typeface="Arial Black" pitchFamily="34" charset="0"/>
                </a:rPr>
                <a:t>76</a:t>
              </a:r>
              <a:endParaRPr lang="ru-RU" sz="1400" dirty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8100392" y="4336304"/>
              <a:ext cx="504056" cy="2578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 smtClean="0">
                  <a:solidFill>
                    <a:schemeClr val="bg2">
                      <a:lumMod val="50000"/>
                    </a:schemeClr>
                  </a:solidFill>
                  <a:latin typeface="Arial Black" pitchFamily="34" charset="0"/>
                </a:rPr>
                <a:t>228</a:t>
              </a:r>
              <a:endParaRPr lang="ru-RU" dirty="0">
                <a:solidFill>
                  <a:schemeClr val="bg2">
                    <a:lumMod val="50000"/>
                  </a:schemeClr>
                </a:solidFill>
                <a:latin typeface="Arial Black" pitchFamily="34" charset="0"/>
              </a:endParaRPr>
            </a:p>
          </p:txBody>
        </p:sp>
        <p:pic>
          <p:nvPicPr>
            <p:cNvPr id="92" name="Picture 4"/>
            <p:cNvPicPr>
              <a:picLocks noChangeAspect="1" noChangeArrowheads="1"/>
            </p:cNvPicPr>
            <p:nvPr/>
          </p:nvPicPr>
          <p:blipFill>
            <a:blip r:embed="rId11" cstate="print"/>
            <a:srcRect b="20634"/>
            <a:stretch>
              <a:fillRect/>
            </a:stretch>
          </p:blipFill>
          <p:spPr bwMode="auto">
            <a:xfrm>
              <a:off x="6660232" y="5661248"/>
              <a:ext cx="904184" cy="140413"/>
            </a:xfrm>
            <a:prstGeom prst="rect">
              <a:avLst/>
            </a:prstGeom>
            <a:solidFill>
              <a:srgbClr val="FF9999"/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93" name="Picture 4"/>
            <p:cNvPicPr>
              <a:picLocks noChangeAspect="1" noChangeArrowheads="1"/>
            </p:cNvPicPr>
            <p:nvPr/>
          </p:nvPicPr>
          <p:blipFill>
            <a:blip r:embed="rId11" cstate="print"/>
            <a:srcRect b="20634"/>
            <a:stretch>
              <a:fillRect/>
            </a:stretch>
          </p:blipFill>
          <p:spPr bwMode="auto">
            <a:xfrm>
              <a:off x="7524328" y="5661248"/>
              <a:ext cx="904184" cy="140413"/>
            </a:xfrm>
            <a:prstGeom prst="rect">
              <a:avLst/>
            </a:prstGeom>
            <a:solidFill>
              <a:srgbClr val="FF9999"/>
            </a:solidFill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1986" name="Picture 2" descr="http://piquadro.030201.ru/uploads/posts/2013-04/1365827911_19.jpg"/>
          <p:cNvPicPr>
            <a:picLocks noChangeAspect="1" noChangeArrowheads="1"/>
          </p:cNvPicPr>
          <p:nvPr/>
        </p:nvPicPr>
        <p:blipFill>
          <a:blip r:embed="rId12" cstate="print"/>
          <a:srcRect l="1454" t="10080" r="2594" b="49601"/>
          <a:stretch>
            <a:fillRect/>
          </a:stretch>
        </p:blipFill>
        <p:spPr bwMode="auto">
          <a:xfrm>
            <a:off x="4572000" y="2708920"/>
            <a:ext cx="864096" cy="209478"/>
          </a:xfrm>
          <a:prstGeom prst="rect">
            <a:avLst/>
          </a:prstGeom>
          <a:noFill/>
        </p:spPr>
      </p:pic>
      <p:graphicFrame>
        <p:nvGraphicFramePr>
          <p:cNvPr id="86" name="Таблица 85"/>
          <p:cNvGraphicFramePr>
            <a:graphicFrameLocks noGrp="1"/>
          </p:cNvGraphicFramePr>
          <p:nvPr/>
        </p:nvGraphicFramePr>
        <p:xfrm>
          <a:off x="5652120" y="1412776"/>
          <a:ext cx="3240360" cy="2282880"/>
        </p:xfrm>
        <a:graphic>
          <a:graphicData uri="http://schemas.openxmlformats.org/drawingml/2006/table">
            <a:tbl>
              <a:tblPr firstRow="1" lastRow="1">
                <a:tableStyleId>{2D5ABB26-0587-4C30-8999-92F81FD0307C}</a:tableStyleId>
              </a:tblPr>
              <a:tblGrid>
                <a:gridCol w="1092534"/>
                <a:gridCol w="429294"/>
                <a:gridCol w="429633"/>
                <a:gridCol w="429633"/>
                <a:gridCol w="429633"/>
                <a:gridCol w="429633"/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Маршрут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011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012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013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Всего</a:t>
                      </a:r>
                      <a:endParaRPr lang="ru-RU" sz="1000" dirty="0">
                        <a:solidFill>
                          <a:schemeClr val="bg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Чунцин</a:t>
                      </a:r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– </a:t>
                      </a:r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Дуйсбург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4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40</a:t>
                      </a:r>
                      <a:endParaRPr lang="ru-RU" sz="10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35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92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8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Ченгду-Лодзь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</a:t>
                      </a:r>
                      <a:endParaRPr lang="ru-RU" sz="10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30</a:t>
                      </a:r>
                      <a:endParaRPr lang="ru-RU" sz="100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45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76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Женгжоу-Гамбург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7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82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Вухань</a:t>
                      </a:r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– </a:t>
                      </a:r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Пардубице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8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9</a:t>
                      </a:r>
                    </a:p>
                    <a:p>
                      <a:pPr algn="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Вухань</a:t>
                      </a:r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– </a:t>
                      </a:r>
                      <a:r>
                        <a:rPr lang="ru-RU" sz="10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Малашевиче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 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</a:t>
                      </a:r>
                    </a:p>
                  </a:txBody>
                  <a:tcPr marL="0" marR="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Times New Roman"/>
                        </a:rPr>
                        <a:t>Иву</a:t>
                      </a:r>
                      <a:r>
                        <a:rPr lang="ru-RU" sz="10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Times New Roman"/>
                        </a:rPr>
                        <a:t> - Мадрид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Times New Roman"/>
                        </a:rPr>
                        <a:t>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</a:t>
                      </a:r>
                    </a:p>
                  </a:txBody>
                  <a:tcPr marL="0" marR="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Итого</a:t>
                      </a:r>
                      <a:r>
                        <a:rPr lang="ru-RU" sz="1200" b="1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: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4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42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76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228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360</a:t>
                      </a:r>
                      <a:endParaRPr lang="ru-RU" sz="12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36000" marB="36000"/>
                </a:tc>
              </a:tr>
            </a:tbl>
          </a:graphicData>
        </a:graphic>
      </p:graphicFrame>
      <p:pic>
        <p:nvPicPr>
          <p:cNvPr id="88" name="Picture 5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51" y="4338490"/>
            <a:ext cx="1981200" cy="168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4" name="Text Box 41"/>
          <p:cNvSpPr txBox="1">
            <a:spLocks noChangeArrowheads="1"/>
          </p:cNvSpPr>
          <p:nvPr/>
        </p:nvSpPr>
        <p:spPr bwMode="auto">
          <a:xfrm>
            <a:off x="3682548" y="4314016"/>
            <a:ext cx="1578496" cy="176611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45720" rIns="45720"/>
          <a:lstStyle/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r>
              <a:rPr lang="ru-RU" sz="1000" dirty="0" smtClean="0">
                <a:solidFill>
                  <a:srgbClr val="000000"/>
                </a:solidFill>
              </a:rPr>
              <a:t>Электроника</a:t>
            </a:r>
            <a:endParaRPr lang="en-US" sz="1000" dirty="0" smtClean="0">
              <a:solidFill>
                <a:srgbClr val="000000"/>
              </a:solidFill>
            </a:endParaRPr>
          </a:p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r>
              <a:rPr lang="ru-RU" sz="1000" dirty="0" smtClean="0">
                <a:solidFill>
                  <a:srgbClr val="000000"/>
                </a:solidFill>
              </a:rPr>
              <a:t>Оборудование</a:t>
            </a:r>
            <a:endParaRPr lang="en-US" sz="1000" dirty="0" smtClean="0">
              <a:solidFill>
                <a:srgbClr val="000000"/>
              </a:solidFill>
            </a:endParaRPr>
          </a:p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r>
              <a:rPr lang="ru-RU" sz="1000" dirty="0" smtClean="0">
                <a:solidFill>
                  <a:srgbClr val="000000"/>
                </a:solidFill>
              </a:rPr>
              <a:t>Станки</a:t>
            </a:r>
            <a:endParaRPr lang="en-US" sz="1000" dirty="0" smtClean="0">
              <a:solidFill>
                <a:srgbClr val="000000"/>
              </a:solidFill>
            </a:endParaRPr>
          </a:p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r>
              <a:rPr lang="ru-RU" sz="1000" dirty="0" smtClean="0">
                <a:solidFill>
                  <a:srgbClr val="000000"/>
                </a:solidFill>
              </a:rPr>
              <a:t>Авто-компоненты</a:t>
            </a:r>
            <a:endParaRPr lang="en-US" sz="1000" dirty="0" smtClean="0">
              <a:solidFill>
                <a:srgbClr val="000000"/>
              </a:solidFill>
            </a:endParaRPr>
          </a:p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r>
              <a:rPr lang="ru-RU" sz="1000" dirty="0" smtClean="0">
                <a:solidFill>
                  <a:srgbClr val="000000"/>
                </a:solidFill>
              </a:rPr>
              <a:t>Модная одежда</a:t>
            </a:r>
            <a:endParaRPr lang="en-US" sz="1000" dirty="0" smtClean="0">
              <a:solidFill>
                <a:srgbClr val="000000"/>
              </a:solidFill>
            </a:endParaRPr>
          </a:p>
          <a:p>
            <a:pPr marL="285750" lvl="1" indent="-158750">
              <a:lnSpc>
                <a:spcPct val="150000"/>
              </a:lnSpc>
              <a:spcAft>
                <a:spcPct val="35000"/>
              </a:spcAft>
              <a:buClr>
                <a:srgbClr val="006699"/>
              </a:buClr>
              <a:buFont typeface="Arial" charset="0"/>
              <a:buChar char="–"/>
            </a:pPr>
            <a:endParaRPr lang="en-US" sz="1000" dirty="0"/>
          </a:p>
        </p:txBody>
      </p:sp>
      <p:sp>
        <p:nvSpPr>
          <p:cNvPr id="97" name="Rectangle 61"/>
          <p:cNvSpPr/>
          <p:nvPr>
            <p:custDataLst>
              <p:tags r:id="rId1"/>
            </p:custDataLst>
          </p:nvPr>
        </p:nvSpPr>
        <p:spPr>
          <a:xfrm>
            <a:off x="2236447" y="4701206"/>
            <a:ext cx="245612" cy="386269"/>
          </a:xfrm>
          <a:prstGeom prst="rect">
            <a:avLst/>
          </a:prstGeom>
          <a:ln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8" name="Picture 7" descr="http://www.tube-wire.ru/storage/oborudovanie/Herdon/ATM-560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20545" y="4614275"/>
            <a:ext cx="483381" cy="552436"/>
          </a:xfrm>
          <a:prstGeom prst="rect">
            <a:avLst/>
          </a:prstGeom>
          <a:noFill/>
        </p:spPr>
      </p:pic>
      <p:pic>
        <p:nvPicPr>
          <p:cNvPr id="99" name="Picture 11" descr="https://encrypted-tbn3.gstatic.com/images?q=tbn:ANd9GcRDmWnudasD_aRG1WFIbbUm0k8YCADf7ScHubZ_-uA7khJbkERSlA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79979" y="5372308"/>
            <a:ext cx="430126" cy="430126"/>
          </a:xfrm>
          <a:prstGeom prst="rect">
            <a:avLst/>
          </a:prstGeom>
          <a:noFill/>
        </p:spPr>
      </p:pic>
      <p:cxnSp>
        <p:nvCxnSpPr>
          <p:cNvPr id="100" name="Straight Connector 65"/>
          <p:cNvCxnSpPr>
            <a:stCxn id="97" idx="3"/>
            <a:endCxn id="99" idx="1"/>
          </p:cNvCxnSpPr>
          <p:nvPr>
            <p:custDataLst>
              <p:tags r:id="rId4"/>
            </p:custDataLst>
          </p:nvPr>
        </p:nvCxnSpPr>
        <p:spPr>
          <a:xfrm>
            <a:off x="2482059" y="4894341"/>
            <a:ext cx="397920" cy="693030"/>
          </a:xfrm>
          <a:prstGeom prst="line">
            <a:avLst/>
          </a:prstGeom>
          <a:ln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66"/>
          <p:cNvCxnSpPr>
            <a:stCxn id="97" idx="3"/>
            <a:endCxn id="98" idx="1"/>
          </p:cNvCxnSpPr>
          <p:nvPr>
            <p:custDataLst>
              <p:tags r:id="rId5"/>
            </p:custDataLst>
          </p:nvPr>
        </p:nvCxnSpPr>
        <p:spPr>
          <a:xfrm flipV="1">
            <a:off x="2482059" y="4890493"/>
            <a:ext cx="838486" cy="3848"/>
          </a:xfrm>
          <a:prstGeom prst="line">
            <a:avLst/>
          </a:prstGeom>
          <a:ln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" name="Picture 7" descr="http://t3.gstatic.com/images?q=tbn:ANd9GcSqnCmGnGx-P2N8LlGR0MrUlmNGBSFNE2Ry8bNZJ9VgGVLFaJMP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238829" y="5131918"/>
            <a:ext cx="415607" cy="402847"/>
          </a:xfrm>
          <a:prstGeom prst="rect">
            <a:avLst/>
          </a:prstGeom>
          <a:noFill/>
        </p:spPr>
      </p:pic>
      <p:cxnSp>
        <p:nvCxnSpPr>
          <p:cNvPr id="103" name="Straight Connector 72"/>
          <p:cNvCxnSpPr>
            <a:stCxn id="97" idx="3"/>
            <a:endCxn id="102" idx="1"/>
          </p:cNvCxnSpPr>
          <p:nvPr>
            <p:custDataLst>
              <p:tags r:id="rId6"/>
            </p:custDataLst>
          </p:nvPr>
        </p:nvCxnSpPr>
        <p:spPr>
          <a:xfrm>
            <a:off x="2482059" y="4894341"/>
            <a:ext cx="756770" cy="439001"/>
          </a:xfrm>
          <a:prstGeom prst="line">
            <a:avLst/>
          </a:prstGeom>
          <a:ln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13" descr="http://pc-lamer.ru/wp-content/uploads/2012/08/pc-lamer6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993034" y="4334756"/>
            <a:ext cx="452436" cy="452436"/>
          </a:xfrm>
          <a:prstGeom prst="rect">
            <a:avLst/>
          </a:prstGeom>
          <a:noFill/>
        </p:spPr>
      </p:pic>
      <p:cxnSp>
        <p:nvCxnSpPr>
          <p:cNvPr id="105" name="Straight Connector 75"/>
          <p:cNvCxnSpPr>
            <a:endCxn id="104" idx="1"/>
          </p:cNvCxnSpPr>
          <p:nvPr>
            <p:custDataLst>
              <p:tags r:id="rId8"/>
            </p:custDataLst>
          </p:nvPr>
        </p:nvCxnSpPr>
        <p:spPr>
          <a:xfrm flipV="1">
            <a:off x="2499311" y="4560974"/>
            <a:ext cx="493723" cy="324742"/>
          </a:xfrm>
          <a:prstGeom prst="line">
            <a:avLst/>
          </a:prstGeom>
          <a:ln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608416" y="4227742"/>
            <a:ext cx="46487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ru-RU" sz="800" dirty="0"/>
              <a:t>м</a:t>
            </a:r>
            <a:r>
              <a:rPr lang="ru-RU" sz="800" dirty="0" smtClean="0"/>
              <a:t>лн.</a:t>
            </a:r>
            <a:r>
              <a:rPr lang="en-US" sz="800" dirty="0" smtClean="0"/>
              <a:t> </a:t>
            </a:r>
            <a:r>
              <a:rPr lang="ru-RU" sz="800" dirty="0" smtClean="0"/>
              <a:t>ДФЭ</a:t>
            </a:r>
            <a:endParaRPr lang="en-US" sz="800" dirty="0" smtClean="0"/>
          </a:p>
        </p:txBody>
      </p:sp>
      <p:sp>
        <p:nvSpPr>
          <p:cNvPr id="120" name="Прямоугольник 119"/>
          <p:cNvSpPr/>
          <p:nvPr/>
        </p:nvSpPr>
        <p:spPr>
          <a:xfrm>
            <a:off x="539552" y="378904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Доля товаров с высокой добавленной стоимостью в грузообороте Китай-ЕС составляет 35 - 40% …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21" name="Рисунок 11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397" b="40112"/>
          <a:stretch>
            <a:fillRect/>
          </a:stretch>
        </p:blipFill>
        <p:spPr bwMode="auto">
          <a:xfrm>
            <a:off x="5436096" y="4581128"/>
            <a:ext cx="1363663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Рисунок 18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6" y="5445224"/>
            <a:ext cx="1271588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Рисунок 19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360" y="5445224"/>
            <a:ext cx="1065237" cy="324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Рисунок 2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360" y="4509120"/>
            <a:ext cx="1043424" cy="36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" name="Picture 2" descr="http://www.supplychainleaders.com/assets/images/logos/db_schenker-1209573634.gif"/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7" t="24611" r="1788" b="24871"/>
          <a:stretch/>
        </p:blipFill>
        <p:spPr bwMode="auto">
          <a:xfrm>
            <a:off x="6516216" y="4941168"/>
            <a:ext cx="1105306" cy="32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Рисунок 8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4248" y="5805264"/>
            <a:ext cx="83185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Рисунок 15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5085184"/>
            <a:ext cx="606425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Рисунок 16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344" y="5085184"/>
            <a:ext cx="1208345" cy="217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2" descr="http://upload.wikimedia.org/wikipedia/commons/thumb/4/44/BMW.svg/180px-BMW.svg.pn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6136" y="5733256"/>
            <a:ext cx="590277" cy="590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4" descr="http://nvworld.ru/files/news/acer-leader-ultrabok-market/acer_aspire_9120.gif"/>
          <p:cNvPicPr>
            <a:picLocks noChangeAspect="1" noChangeArrowheads="1"/>
          </p:cNvPicPr>
          <p:nvPr/>
        </p:nvPicPr>
        <p:blipFill rotWithShape="1">
          <a:blip r:embed="rId2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869" b="21868"/>
          <a:stretch/>
        </p:blipFill>
        <p:spPr bwMode="auto">
          <a:xfrm>
            <a:off x="6804248" y="4437112"/>
            <a:ext cx="746125" cy="420688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31" name="Picture 6" descr="http://toplogos.ru/images/logo-lg.jpg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360" y="5877272"/>
            <a:ext cx="928688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" name="Прямоугольник 132"/>
          <p:cNvSpPr/>
          <p:nvPr/>
        </p:nvSpPr>
        <p:spPr>
          <a:xfrm>
            <a:off x="5436096" y="3789040"/>
            <a:ext cx="370790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Клиенты уже оценили преимущества маршрутов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4" name="Пятиугольник 53"/>
          <p:cNvSpPr/>
          <p:nvPr/>
        </p:nvSpPr>
        <p:spPr>
          <a:xfrm>
            <a:off x="4139952" y="1486980"/>
            <a:ext cx="1296144" cy="213828"/>
          </a:xfrm>
          <a:prstGeom prst="homePlate">
            <a:avLst/>
          </a:prstGeom>
          <a:solidFill>
            <a:srgbClr val="FF9999"/>
          </a:solidFill>
          <a:ln>
            <a:solidFill>
              <a:srgbClr val="FF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r>
              <a:rPr lang="ru-RU" sz="900" b="1" dirty="0" err="1" smtClean="0">
                <a:solidFill>
                  <a:schemeClr val="tx1"/>
                </a:solidFill>
              </a:rPr>
              <a:t>Вухань</a:t>
            </a:r>
            <a:r>
              <a:rPr lang="ru-RU" sz="900" b="1" dirty="0" smtClean="0">
                <a:solidFill>
                  <a:schemeClr val="tx1"/>
                </a:solidFill>
              </a:rPr>
              <a:t> – </a:t>
            </a:r>
            <a:r>
              <a:rPr lang="ru-RU" sz="900" b="1" dirty="0" err="1" smtClean="0">
                <a:solidFill>
                  <a:schemeClr val="tx1"/>
                </a:solidFill>
              </a:rPr>
              <a:t>Малашевиче</a:t>
            </a:r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55" name="Пятиугольник 54"/>
          <p:cNvSpPr/>
          <p:nvPr/>
        </p:nvSpPr>
        <p:spPr>
          <a:xfrm>
            <a:off x="4139952" y="1198948"/>
            <a:ext cx="1296144" cy="213828"/>
          </a:xfrm>
          <a:prstGeom prst="homePlate">
            <a:avLst/>
          </a:prstGeom>
          <a:solidFill>
            <a:srgbClr val="FF9999"/>
          </a:solidFill>
          <a:ln>
            <a:solidFill>
              <a:srgbClr val="FF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r>
              <a:rPr lang="ru-RU" sz="900" b="1" dirty="0" smtClean="0">
                <a:solidFill>
                  <a:schemeClr val="tx1"/>
                </a:solidFill>
              </a:rPr>
              <a:t>Иву - Мадрид</a:t>
            </a:r>
            <a:endParaRPr lang="ru-RU" sz="9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02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ru-RU" b="1" dirty="0" smtClean="0"/>
              <a:t>ОТЛК - компания для всех </a:t>
            </a:r>
            <a:endParaRPr lang="ru-RU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411760" y="1052736"/>
            <a:ext cx="4986214" cy="432048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лобальные корпорации</a:t>
            </a:r>
            <a:endParaRPr lang="ru-RU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059832" y="2060848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рупные промышленные предприятия</a:t>
            </a:r>
            <a:endParaRPr lang="ru-RU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51920" y="3140968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ании среднего и малого бизнеса</a:t>
            </a:r>
            <a:endParaRPr lang="ru-RU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19872" y="4365104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err="1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о-логистические</a:t>
            </a:r>
            <a:r>
              <a:rPr lang="ru-RU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компании</a:t>
            </a:r>
            <a:endParaRPr lang="ru-RU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267744" y="5445224"/>
            <a:ext cx="4986214" cy="432000"/>
          </a:xfrm>
          <a:prstGeom prst="rect">
            <a:avLst/>
          </a:prstGeom>
          <a:solidFill>
            <a:schemeClr val="accent1">
              <a:alpha val="35000"/>
            </a:schemeClr>
          </a:solidFill>
          <a:ln w="38100">
            <a:solidFill>
              <a:schemeClr val="bg1">
                <a:alpha val="75000"/>
              </a:schemeClr>
            </a:solidFill>
          </a:ln>
          <a:effectLst>
            <a:outerShdw blurRad="165100" dist="63500" dir="2700000" algn="tl" rotWithShape="0">
              <a:prstClr val="black">
                <a:alpha val="7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effectLst>
                  <a:glow rad="76200">
                    <a:schemeClr val="accent4">
                      <a:satMod val="175000"/>
                      <a:alpha val="6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астные лица</a:t>
            </a:r>
            <a:endParaRPr lang="ru-RU" b="1" dirty="0">
              <a:effectLst>
                <a:glow rad="76200">
                  <a:schemeClr val="accent4">
                    <a:satMod val="175000"/>
                    <a:alpha val="6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4" name="Группа 79"/>
          <p:cNvGrpSpPr/>
          <p:nvPr/>
        </p:nvGrpSpPr>
        <p:grpSpPr>
          <a:xfrm>
            <a:off x="2123728" y="980728"/>
            <a:ext cx="432656" cy="468000"/>
            <a:chOff x="1228774" y="1561920"/>
            <a:chExt cx="664892" cy="648502"/>
          </a:xfrm>
        </p:grpSpPr>
        <p:sp>
          <p:nvSpPr>
            <p:cNvPr id="15" name="Овал 14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2400" b="1" dirty="0"/>
            </a:p>
          </p:txBody>
        </p:sp>
      </p:grpSp>
      <p:grpSp>
        <p:nvGrpSpPr>
          <p:cNvPr id="17" name="Группа 82"/>
          <p:cNvGrpSpPr/>
          <p:nvPr/>
        </p:nvGrpSpPr>
        <p:grpSpPr>
          <a:xfrm>
            <a:off x="2843808" y="2060848"/>
            <a:ext cx="432656" cy="468000"/>
            <a:chOff x="1228774" y="1561920"/>
            <a:chExt cx="664892" cy="648502"/>
          </a:xfrm>
        </p:grpSpPr>
        <p:sp>
          <p:nvSpPr>
            <p:cNvPr id="18" name="Овал 17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2400" b="1" dirty="0"/>
            </a:p>
          </p:txBody>
        </p:sp>
      </p:grpSp>
      <p:grpSp>
        <p:nvGrpSpPr>
          <p:cNvPr id="20" name="Группа 85"/>
          <p:cNvGrpSpPr/>
          <p:nvPr/>
        </p:nvGrpSpPr>
        <p:grpSpPr>
          <a:xfrm>
            <a:off x="3491880" y="3140968"/>
            <a:ext cx="432656" cy="468000"/>
            <a:chOff x="1228774" y="1561920"/>
            <a:chExt cx="664892" cy="648502"/>
          </a:xfrm>
        </p:grpSpPr>
        <p:sp>
          <p:nvSpPr>
            <p:cNvPr id="21" name="Овал 20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2400" b="1" dirty="0"/>
            </a:p>
          </p:txBody>
        </p:sp>
      </p:grpSp>
      <p:grpSp>
        <p:nvGrpSpPr>
          <p:cNvPr id="23" name="Группа 88"/>
          <p:cNvGrpSpPr/>
          <p:nvPr/>
        </p:nvGrpSpPr>
        <p:grpSpPr>
          <a:xfrm>
            <a:off x="3131840" y="4365104"/>
            <a:ext cx="432656" cy="468000"/>
            <a:chOff x="1228774" y="1561920"/>
            <a:chExt cx="664892" cy="648502"/>
          </a:xfrm>
        </p:grpSpPr>
        <p:sp>
          <p:nvSpPr>
            <p:cNvPr id="24" name="Овал 23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2400" b="1" dirty="0"/>
            </a:p>
          </p:txBody>
        </p:sp>
      </p:grpSp>
      <p:grpSp>
        <p:nvGrpSpPr>
          <p:cNvPr id="35" name="Группа 100"/>
          <p:cNvGrpSpPr/>
          <p:nvPr/>
        </p:nvGrpSpPr>
        <p:grpSpPr>
          <a:xfrm>
            <a:off x="1979712" y="5445224"/>
            <a:ext cx="432656" cy="468000"/>
            <a:chOff x="1228774" y="1561920"/>
            <a:chExt cx="664892" cy="648502"/>
          </a:xfrm>
        </p:grpSpPr>
        <p:sp>
          <p:nvSpPr>
            <p:cNvPr id="36" name="Овал 35"/>
            <p:cNvSpPr>
              <a:spLocks noChangeAspect="1"/>
            </p:cNvSpPr>
            <p:nvPr/>
          </p:nvSpPr>
          <p:spPr>
            <a:xfrm>
              <a:off x="1228774" y="1561920"/>
              <a:ext cx="648502" cy="648502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63500" dist="63500" dir="2700000" algn="tl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1228774" y="1635486"/>
              <a:ext cx="664892" cy="5178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2400" b="1" dirty="0"/>
            </a:p>
          </p:txBody>
        </p:sp>
      </p:grpSp>
      <p:sp>
        <p:nvSpPr>
          <p:cNvPr id="26" name="Номер слайда 2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5140D5-1A07-4810-9503-B4F7B562CB0A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" name="Группа 211"/>
          <p:cNvGrpSpPr/>
          <p:nvPr/>
        </p:nvGrpSpPr>
        <p:grpSpPr>
          <a:xfrm>
            <a:off x="537573" y="730376"/>
            <a:ext cx="8410771" cy="4138783"/>
            <a:chOff x="537573" y="730377"/>
            <a:chExt cx="8410771" cy="3343390"/>
          </a:xfrm>
        </p:grpSpPr>
        <p:pic>
          <p:nvPicPr>
            <p:cNvPr id="132" name="Picture 56" descr="map_2-01.jpg"/>
            <p:cNvPicPr>
              <a:picLocks noChangeAspect="1"/>
            </p:cNvPicPr>
            <p:nvPr/>
          </p:nvPicPr>
          <p:blipFill>
            <a:blip r:embed="rId3" cstate="print"/>
            <a:srcRect t="14653"/>
            <a:stretch>
              <a:fillRect/>
            </a:stretch>
          </p:blipFill>
          <p:spPr>
            <a:xfrm>
              <a:off x="537573" y="730377"/>
              <a:ext cx="8140114" cy="3343390"/>
            </a:xfrm>
            <a:prstGeom prst="rect">
              <a:avLst/>
            </a:prstGeom>
            <a:ln>
              <a:noFill/>
            </a:ln>
          </p:spPr>
        </p:pic>
        <p:sp>
          <p:nvSpPr>
            <p:cNvPr id="134" name="TextBox 133"/>
            <p:cNvSpPr txBox="1"/>
            <p:nvPr/>
          </p:nvSpPr>
          <p:spPr>
            <a:xfrm>
              <a:off x="1644088" y="1472449"/>
              <a:ext cx="538945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Warsaw</a:t>
              </a:r>
              <a:endParaRPr lang="ru-RU" sz="900" b="1" dirty="0"/>
            </a:p>
          </p:txBody>
        </p:sp>
        <p:sp>
          <p:nvSpPr>
            <p:cNvPr id="135" name="Полилиния 134"/>
            <p:cNvSpPr/>
            <p:nvPr/>
          </p:nvSpPr>
          <p:spPr>
            <a:xfrm>
              <a:off x="2197502" y="1178745"/>
              <a:ext cx="5420700" cy="1747183"/>
            </a:xfrm>
            <a:custGeom>
              <a:avLst/>
              <a:gdLst>
                <a:gd name="connsiteX0" fmla="*/ 0 w 5807493"/>
                <a:gd name="connsiteY0" fmla="*/ 734689 h 2376655"/>
                <a:gd name="connsiteX1" fmla="*/ 196850 w 5807493"/>
                <a:gd name="connsiteY1" fmla="*/ 658489 h 2376655"/>
                <a:gd name="connsiteX2" fmla="*/ 342900 w 5807493"/>
                <a:gd name="connsiteY2" fmla="*/ 506089 h 2376655"/>
                <a:gd name="connsiteX3" fmla="*/ 406400 w 5807493"/>
                <a:gd name="connsiteY3" fmla="*/ 398139 h 2376655"/>
                <a:gd name="connsiteX4" fmla="*/ 527050 w 5807493"/>
                <a:gd name="connsiteY4" fmla="*/ 321939 h 2376655"/>
                <a:gd name="connsiteX5" fmla="*/ 723900 w 5807493"/>
                <a:gd name="connsiteY5" fmla="*/ 207639 h 2376655"/>
                <a:gd name="connsiteX6" fmla="*/ 825500 w 5807493"/>
                <a:gd name="connsiteY6" fmla="*/ 239389 h 2376655"/>
                <a:gd name="connsiteX7" fmla="*/ 901700 w 5807493"/>
                <a:gd name="connsiteY7" fmla="*/ 258439 h 2376655"/>
                <a:gd name="connsiteX8" fmla="*/ 939800 w 5807493"/>
                <a:gd name="connsiteY8" fmla="*/ 188589 h 2376655"/>
                <a:gd name="connsiteX9" fmla="*/ 1009650 w 5807493"/>
                <a:gd name="connsiteY9" fmla="*/ 131439 h 2376655"/>
                <a:gd name="connsiteX10" fmla="*/ 1219200 w 5807493"/>
                <a:gd name="connsiteY10" fmla="*/ 99689 h 2376655"/>
                <a:gd name="connsiteX11" fmla="*/ 2178050 w 5807493"/>
                <a:gd name="connsiteY11" fmla="*/ 4439 h 2376655"/>
                <a:gd name="connsiteX12" fmla="*/ 2400300 w 5807493"/>
                <a:gd name="connsiteY12" fmla="*/ 17139 h 2376655"/>
                <a:gd name="connsiteX13" fmla="*/ 2546350 w 5807493"/>
                <a:gd name="connsiteY13" fmla="*/ 29839 h 2376655"/>
                <a:gd name="connsiteX14" fmla="*/ 3352800 w 5807493"/>
                <a:gd name="connsiteY14" fmla="*/ 302889 h 2376655"/>
                <a:gd name="connsiteX15" fmla="*/ 3460750 w 5807493"/>
                <a:gd name="connsiteY15" fmla="*/ 321939 h 2376655"/>
                <a:gd name="connsiteX16" fmla="*/ 3981450 w 5807493"/>
                <a:gd name="connsiteY16" fmla="*/ 328289 h 2376655"/>
                <a:gd name="connsiteX17" fmla="*/ 4337050 w 5807493"/>
                <a:gd name="connsiteY17" fmla="*/ 404489 h 2376655"/>
                <a:gd name="connsiteX18" fmla="*/ 4514850 w 5807493"/>
                <a:gd name="connsiteY18" fmla="*/ 480689 h 2376655"/>
                <a:gd name="connsiteX19" fmla="*/ 4622800 w 5807493"/>
                <a:gd name="connsiteY19" fmla="*/ 588639 h 2376655"/>
                <a:gd name="connsiteX20" fmla="*/ 4641850 w 5807493"/>
                <a:gd name="connsiteY20" fmla="*/ 664839 h 2376655"/>
                <a:gd name="connsiteX21" fmla="*/ 4699000 w 5807493"/>
                <a:gd name="connsiteY21" fmla="*/ 652139 h 2376655"/>
                <a:gd name="connsiteX22" fmla="*/ 4749800 w 5807493"/>
                <a:gd name="connsiteY22" fmla="*/ 607689 h 2376655"/>
                <a:gd name="connsiteX23" fmla="*/ 4787900 w 5807493"/>
                <a:gd name="connsiteY23" fmla="*/ 556889 h 2376655"/>
                <a:gd name="connsiteX24" fmla="*/ 5302250 w 5807493"/>
                <a:gd name="connsiteY24" fmla="*/ 429889 h 2376655"/>
                <a:gd name="connsiteX25" fmla="*/ 5384800 w 5807493"/>
                <a:gd name="connsiteY25" fmla="*/ 531489 h 2376655"/>
                <a:gd name="connsiteX26" fmla="*/ 5492750 w 5807493"/>
                <a:gd name="connsiteY26" fmla="*/ 652139 h 2376655"/>
                <a:gd name="connsiteX27" fmla="*/ 5543550 w 5807493"/>
                <a:gd name="connsiteY27" fmla="*/ 766439 h 2376655"/>
                <a:gd name="connsiteX28" fmla="*/ 5588000 w 5807493"/>
                <a:gd name="connsiteY28" fmla="*/ 887089 h 2376655"/>
                <a:gd name="connsiteX29" fmla="*/ 5664200 w 5807493"/>
                <a:gd name="connsiteY29" fmla="*/ 963289 h 2376655"/>
                <a:gd name="connsiteX30" fmla="*/ 5721350 w 5807493"/>
                <a:gd name="connsiteY30" fmla="*/ 1033139 h 2376655"/>
                <a:gd name="connsiteX31" fmla="*/ 5791200 w 5807493"/>
                <a:gd name="connsiteY31" fmla="*/ 1185539 h 2376655"/>
                <a:gd name="connsiteX32" fmla="*/ 5803900 w 5807493"/>
                <a:gd name="connsiteY32" fmla="*/ 1331589 h 2376655"/>
                <a:gd name="connsiteX33" fmla="*/ 5740400 w 5807493"/>
                <a:gd name="connsiteY33" fmla="*/ 1515739 h 2376655"/>
                <a:gd name="connsiteX34" fmla="*/ 5626100 w 5807493"/>
                <a:gd name="connsiteY34" fmla="*/ 1699889 h 2376655"/>
                <a:gd name="connsiteX35" fmla="*/ 5486400 w 5807493"/>
                <a:gd name="connsiteY35" fmla="*/ 1890389 h 2376655"/>
                <a:gd name="connsiteX36" fmla="*/ 5372100 w 5807493"/>
                <a:gd name="connsiteY36" fmla="*/ 2036439 h 2376655"/>
                <a:gd name="connsiteX37" fmla="*/ 5289550 w 5807493"/>
                <a:gd name="connsiteY37" fmla="*/ 2112639 h 2376655"/>
                <a:gd name="connsiteX38" fmla="*/ 5384800 w 5807493"/>
                <a:gd name="connsiteY38" fmla="*/ 2195189 h 2376655"/>
                <a:gd name="connsiteX39" fmla="*/ 5486400 w 5807493"/>
                <a:gd name="connsiteY39" fmla="*/ 2252339 h 2376655"/>
                <a:gd name="connsiteX40" fmla="*/ 5600700 w 5807493"/>
                <a:gd name="connsiteY40" fmla="*/ 2334889 h 2376655"/>
                <a:gd name="connsiteX41" fmla="*/ 5638800 w 5807493"/>
                <a:gd name="connsiteY41" fmla="*/ 2372989 h 2376655"/>
                <a:gd name="connsiteX42" fmla="*/ 5645150 w 5807493"/>
                <a:gd name="connsiteY42" fmla="*/ 2372989 h 2376655"/>
                <a:gd name="connsiteX0" fmla="*/ 0 w 5807493"/>
                <a:gd name="connsiteY0" fmla="*/ 734689 h 2376655"/>
                <a:gd name="connsiteX1" fmla="*/ 196850 w 5807493"/>
                <a:gd name="connsiteY1" fmla="*/ 658489 h 2376655"/>
                <a:gd name="connsiteX2" fmla="*/ 342900 w 5807493"/>
                <a:gd name="connsiteY2" fmla="*/ 506089 h 2376655"/>
                <a:gd name="connsiteX3" fmla="*/ 406400 w 5807493"/>
                <a:gd name="connsiteY3" fmla="*/ 398139 h 2376655"/>
                <a:gd name="connsiteX4" fmla="*/ 527050 w 5807493"/>
                <a:gd name="connsiteY4" fmla="*/ 321939 h 2376655"/>
                <a:gd name="connsiteX5" fmla="*/ 723900 w 5807493"/>
                <a:gd name="connsiteY5" fmla="*/ 207639 h 2376655"/>
                <a:gd name="connsiteX6" fmla="*/ 825500 w 5807493"/>
                <a:gd name="connsiteY6" fmla="*/ 239389 h 2376655"/>
                <a:gd name="connsiteX7" fmla="*/ 901700 w 5807493"/>
                <a:gd name="connsiteY7" fmla="*/ 258439 h 2376655"/>
                <a:gd name="connsiteX8" fmla="*/ 939800 w 5807493"/>
                <a:gd name="connsiteY8" fmla="*/ 188589 h 2376655"/>
                <a:gd name="connsiteX9" fmla="*/ 1009650 w 5807493"/>
                <a:gd name="connsiteY9" fmla="*/ 131439 h 2376655"/>
                <a:gd name="connsiteX10" fmla="*/ 1219200 w 5807493"/>
                <a:gd name="connsiteY10" fmla="*/ 99689 h 2376655"/>
                <a:gd name="connsiteX11" fmla="*/ 2178050 w 5807493"/>
                <a:gd name="connsiteY11" fmla="*/ 4439 h 2376655"/>
                <a:gd name="connsiteX12" fmla="*/ 2400300 w 5807493"/>
                <a:gd name="connsiteY12" fmla="*/ 17139 h 2376655"/>
                <a:gd name="connsiteX13" fmla="*/ 2546350 w 5807493"/>
                <a:gd name="connsiteY13" fmla="*/ 29839 h 2376655"/>
                <a:gd name="connsiteX14" fmla="*/ 3352800 w 5807493"/>
                <a:gd name="connsiteY14" fmla="*/ 302889 h 2376655"/>
                <a:gd name="connsiteX15" fmla="*/ 3981450 w 5807493"/>
                <a:gd name="connsiteY15" fmla="*/ 328289 h 2376655"/>
                <a:gd name="connsiteX16" fmla="*/ 4337050 w 5807493"/>
                <a:gd name="connsiteY16" fmla="*/ 404489 h 2376655"/>
                <a:gd name="connsiteX17" fmla="*/ 4514850 w 5807493"/>
                <a:gd name="connsiteY17" fmla="*/ 480689 h 2376655"/>
                <a:gd name="connsiteX18" fmla="*/ 4622800 w 5807493"/>
                <a:gd name="connsiteY18" fmla="*/ 588639 h 2376655"/>
                <a:gd name="connsiteX19" fmla="*/ 4641850 w 5807493"/>
                <a:gd name="connsiteY19" fmla="*/ 664839 h 2376655"/>
                <a:gd name="connsiteX20" fmla="*/ 4699000 w 5807493"/>
                <a:gd name="connsiteY20" fmla="*/ 652139 h 2376655"/>
                <a:gd name="connsiteX21" fmla="*/ 4749800 w 5807493"/>
                <a:gd name="connsiteY21" fmla="*/ 607689 h 2376655"/>
                <a:gd name="connsiteX22" fmla="*/ 4787900 w 5807493"/>
                <a:gd name="connsiteY22" fmla="*/ 556889 h 2376655"/>
                <a:gd name="connsiteX23" fmla="*/ 5302250 w 5807493"/>
                <a:gd name="connsiteY23" fmla="*/ 429889 h 2376655"/>
                <a:gd name="connsiteX24" fmla="*/ 5384800 w 5807493"/>
                <a:gd name="connsiteY24" fmla="*/ 531489 h 2376655"/>
                <a:gd name="connsiteX25" fmla="*/ 5492750 w 5807493"/>
                <a:gd name="connsiteY25" fmla="*/ 652139 h 2376655"/>
                <a:gd name="connsiteX26" fmla="*/ 5543550 w 5807493"/>
                <a:gd name="connsiteY26" fmla="*/ 766439 h 2376655"/>
                <a:gd name="connsiteX27" fmla="*/ 5588000 w 5807493"/>
                <a:gd name="connsiteY27" fmla="*/ 887089 h 2376655"/>
                <a:gd name="connsiteX28" fmla="*/ 5664200 w 5807493"/>
                <a:gd name="connsiteY28" fmla="*/ 963289 h 2376655"/>
                <a:gd name="connsiteX29" fmla="*/ 5721350 w 5807493"/>
                <a:gd name="connsiteY29" fmla="*/ 1033139 h 2376655"/>
                <a:gd name="connsiteX30" fmla="*/ 5791200 w 5807493"/>
                <a:gd name="connsiteY30" fmla="*/ 1185539 h 2376655"/>
                <a:gd name="connsiteX31" fmla="*/ 5803900 w 5807493"/>
                <a:gd name="connsiteY31" fmla="*/ 1331589 h 2376655"/>
                <a:gd name="connsiteX32" fmla="*/ 5740400 w 5807493"/>
                <a:gd name="connsiteY32" fmla="*/ 1515739 h 2376655"/>
                <a:gd name="connsiteX33" fmla="*/ 5626100 w 5807493"/>
                <a:gd name="connsiteY33" fmla="*/ 1699889 h 2376655"/>
                <a:gd name="connsiteX34" fmla="*/ 5486400 w 5807493"/>
                <a:gd name="connsiteY34" fmla="*/ 1890389 h 2376655"/>
                <a:gd name="connsiteX35" fmla="*/ 5372100 w 5807493"/>
                <a:gd name="connsiteY35" fmla="*/ 2036439 h 2376655"/>
                <a:gd name="connsiteX36" fmla="*/ 5289550 w 5807493"/>
                <a:gd name="connsiteY36" fmla="*/ 2112639 h 2376655"/>
                <a:gd name="connsiteX37" fmla="*/ 5384800 w 5807493"/>
                <a:gd name="connsiteY37" fmla="*/ 2195189 h 2376655"/>
                <a:gd name="connsiteX38" fmla="*/ 5486400 w 5807493"/>
                <a:gd name="connsiteY38" fmla="*/ 2252339 h 2376655"/>
                <a:gd name="connsiteX39" fmla="*/ 5600700 w 5807493"/>
                <a:gd name="connsiteY39" fmla="*/ 2334889 h 2376655"/>
                <a:gd name="connsiteX40" fmla="*/ 5638800 w 5807493"/>
                <a:gd name="connsiteY40" fmla="*/ 2372989 h 2376655"/>
                <a:gd name="connsiteX41" fmla="*/ 5645150 w 5807493"/>
                <a:gd name="connsiteY41" fmla="*/ 2372989 h 2376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807493" h="2376655">
                  <a:moveTo>
                    <a:pt x="0" y="734689"/>
                  </a:moveTo>
                  <a:cubicBezTo>
                    <a:pt x="69850" y="715639"/>
                    <a:pt x="139700" y="696589"/>
                    <a:pt x="196850" y="658489"/>
                  </a:cubicBezTo>
                  <a:cubicBezTo>
                    <a:pt x="254000" y="620389"/>
                    <a:pt x="307975" y="549481"/>
                    <a:pt x="342900" y="506089"/>
                  </a:cubicBezTo>
                  <a:cubicBezTo>
                    <a:pt x="377825" y="462697"/>
                    <a:pt x="375708" y="428831"/>
                    <a:pt x="406400" y="398139"/>
                  </a:cubicBezTo>
                  <a:cubicBezTo>
                    <a:pt x="437092" y="367447"/>
                    <a:pt x="474133" y="353689"/>
                    <a:pt x="527050" y="321939"/>
                  </a:cubicBezTo>
                  <a:cubicBezTo>
                    <a:pt x="579967" y="290189"/>
                    <a:pt x="674158" y="221397"/>
                    <a:pt x="723900" y="207639"/>
                  </a:cubicBezTo>
                  <a:cubicBezTo>
                    <a:pt x="773642" y="193881"/>
                    <a:pt x="795867" y="230922"/>
                    <a:pt x="825500" y="239389"/>
                  </a:cubicBezTo>
                  <a:cubicBezTo>
                    <a:pt x="855133" y="247856"/>
                    <a:pt x="882650" y="266906"/>
                    <a:pt x="901700" y="258439"/>
                  </a:cubicBezTo>
                  <a:cubicBezTo>
                    <a:pt x="920750" y="249972"/>
                    <a:pt x="921808" y="209756"/>
                    <a:pt x="939800" y="188589"/>
                  </a:cubicBezTo>
                  <a:cubicBezTo>
                    <a:pt x="957792" y="167422"/>
                    <a:pt x="963083" y="146256"/>
                    <a:pt x="1009650" y="131439"/>
                  </a:cubicBezTo>
                  <a:cubicBezTo>
                    <a:pt x="1056217" y="116622"/>
                    <a:pt x="1219200" y="99689"/>
                    <a:pt x="1219200" y="99689"/>
                  </a:cubicBezTo>
                  <a:lnTo>
                    <a:pt x="2178050" y="4439"/>
                  </a:lnTo>
                  <a:cubicBezTo>
                    <a:pt x="2374900" y="-9319"/>
                    <a:pt x="2338917" y="12906"/>
                    <a:pt x="2400300" y="17139"/>
                  </a:cubicBezTo>
                  <a:cubicBezTo>
                    <a:pt x="2461683" y="21372"/>
                    <a:pt x="2387600" y="-17786"/>
                    <a:pt x="2546350" y="29839"/>
                  </a:cubicBezTo>
                  <a:cubicBezTo>
                    <a:pt x="2705100" y="77464"/>
                    <a:pt x="3113617" y="253147"/>
                    <a:pt x="3352800" y="302889"/>
                  </a:cubicBezTo>
                  <a:cubicBezTo>
                    <a:pt x="3591983" y="352631"/>
                    <a:pt x="3817408" y="311356"/>
                    <a:pt x="3981450" y="328289"/>
                  </a:cubicBezTo>
                  <a:cubicBezTo>
                    <a:pt x="4145492" y="345222"/>
                    <a:pt x="4248150" y="379089"/>
                    <a:pt x="4337050" y="404489"/>
                  </a:cubicBezTo>
                  <a:cubicBezTo>
                    <a:pt x="4425950" y="429889"/>
                    <a:pt x="4467225" y="449997"/>
                    <a:pt x="4514850" y="480689"/>
                  </a:cubicBezTo>
                  <a:cubicBezTo>
                    <a:pt x="4562475" y="511381"/>
                    <a:pt x="4601633" y="557947"/>
                    <a:pt x="4622800" y="588639"/>
                  </a:cubicBezTo>
                  <a:cubicBezTo>
                    <a:pt x="4643967" y="619331"/>
                    <a:pt x="4629150" y="654256"/>
                    <a:pt x="4641850" y="664839"/>
                  </a:cubicBezTo>
                  <a:cubicBezTo>
                    <a:pt x="4654550" y="675422"/>
                    <a:pt x="4681008" y="661664"/>
                    <a:pt x="4699000" y="652139"/>
                  </a:cubicBezTo>
                  <a:cubicBezTo>
                    <a:pt x="4716992" y="642614"/>
                    <a:pt x="4734983" y="623564"/>
                    <a:pt x="4749800" y="607689"/>
                  </a:cubicBezTo>
                  <a:cubicBezTo>
                    <a:pt x="4764617" y="591814"/>
                    <a:pt x="4695825" y="586522"/>
                    <a:pt x="4787900" y="556889"/>
                  </a:cubicBezTo>
                  <a:cubicBezTo>
                    <a:pt x="4879975" y="527256"/>
                    <a:pt x="5202767" y="434122"/>
                    <a:pt x="5302250" y="429889"/>
                  </a:cubicBezTo>
                  <a:cubicBezTo>
                    <a:pt x="5401733" y="425656"/>
                    <a:pt x="5353050" y="494447"/>
                    <a:pt x="5384800" y="531489"/>
                  </a:cubicBezTo>
                  <a:cubicBezTo>
                    <a:pt x="5416550" y="568531"/>
                    <a:pt x="5466292" y="612981"/>
                    <a:pt x="5492750" y="652139"/>
                  </a:cubicBezTo>
                  <a:cubicBezTo>
                    <a:pt x="5519208" y="691297"/>
                    <a:pt x="5527675" y="727281"/>
                    <a:pt x="5543550" y="766439"/>
                  </a:cubicBezTo>
                  <a:cubicBezTo>
                    <a:pt x="5559425" y="805597"/>
                    <a:pt x="5567892" y="854281"/>
                    <a:pt x="5588000" y="887089"/>
                  </a:cubicBezTo>
                  <a:cubicBezTo>
                    <a:pt x="5608108" y="919897"/>
                    <a:pt x="5641975" y="938947"/>
                    <a:pt x="5664200" y="963289"/>
                  </a:cubicBezTo>
                  <a:cubicBezTo>
                    <a:pt x="5686425" y="987631"/>
                    <a:pt x="5700183" y="996097"/>
                    <a:pt x="5721350" y="1033139"/>
                  </a:cubicBezTo>
                  <a:cubicBezTo>
                    <a:pt x="5742517" y="1070181"/>
                    <a:pt x="5777442" y="1135797"/>
                    <a:pt x="5791200" y="1185539"/>
                  </a:cubicBezTo>
                  <a:cubicBezTo>
                    <a:pt x="5804958" y="1235281"/>
                    <a:pt x="5812367" y="1276556"/>
                    <a:pt x="5803900" y="1331589"/>
                  </a:cubicBezTo>
                  <a:cubicBezTo>
                    <a:pt x="5795433" y="1386622"/>
                    <a:pt x="5770033" y="1454356"/>
                    <a:pt x="5740400" y="1515739"/>
                  </a:cubicBezTo>
                  <a:cubicBezTo>
                    <a:pt x="5710767" y="1577122"/>
                    <a:pt x="5668433" y="1637447"/>
                    <a:pt x="5626100" y="1699889"/>
                  </a:cubicBezTo>
                  <a:cubicBezTo>
                    <a:pt x="5583767" y="1762331"/>
                    <a:pt x="5528733" y="1834297"/>
                    <a:pt x="5486400" y="1890389"/>
                  </a:cubicBezTo>
                  <a:cubicBezTo>
                    <a:pt x="5444067" y="1946481"/>
                    <a:pt x="5404908" y="1999397"/>
                    <a:pt x="5372100" y="2036439"/>
                  </a:cubicBezTo>
                  <a:cubicBezTo>
                    <a:pt x="5339292" y="2073481"/>
                    <a:pt x="5287433" y="2086181"/>
                    <a:pt x="5289550" y="2112639"/>
                  </a:cubicBezTo>
                  <a:cubicBezTo>
                    <a:pt x="5291667" y="2139097"/>
                    <a:pt x="5351992" y="2171906"/>
                    <a:pt x="5384800" y="2195189"/>
                  </a:cubicBezTo>
                  <a:cubicBezTo>
                    <a:pt x="5417608" y="2218472"/>
                    <a:pt x="5450417" y="2229056"/>
                    <a:pt x="5486400" y="2252339"/>
                  </a:cubicBezTo>
                  <a:cubicBezTo>
                    <a:pt x="5522383" y="2275622"/>
                    <a:pt x="5575300" y="2314781"/>
                    <a:pt x="5600700" y="2334889"/>
                  </a:cubicBezTo>
                  <a:cubicBezTo>
                    <a:pt x="5626100" y="2354997"/>
                    <a:pt x="5631392" y="2366639"/>
                    <a:pt x="5638800" y="2372989"/>
                  </a:cubicBezTo>
                  <a:cubicBezTo>
                    <a:pt x="5646208" y="2379339"/>
                    <a:pt x="5645679" y="2376164"/>
                    <a:pt x="5645150" y="2372989"/>
                  </a:cubicBezTo>
                </a:path>
              </a:pathLst>
            </a:custGeom>
            <a:noFill/>
            <a:ln w="381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 sz="900" dirty="0">
                <a:solidFill>
                  <a:srgbClr val="C00000"/>
                </a:solidFill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7556174" y="1697303"/>
              <a:ext cx="782374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err="1"/>
                <a:t>Zabaikalsk</a:t>
              </a:r>
              <a:endParaRPr lang="ru-RU" sz="900" b="1" dirty="0"/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7447636" y="2653488"/>
              <a:ext cx="577703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Suzhou</a:t>
              </a:r>
              <a:endParaRPr lang="ru-RU" sz="900" b="1" dirty="0"/>
            </a:p>
          </p:txBody>
        </p:sp>
        <p:sp>
          <p:nvSpPr>
            <p:cNvPr id="138" name="Полилиния 137"/>
            <p:cNvSpPr/>
            <p:nvPr/>
          </p:nvSpPr>
          <p:spPr>
            <a:xfrm>
              <a:off x="1950972" y="1686970"/>
              <a:ext cx="162254" cy="0"/>
            </a:xfrm>
            <a:custGeom>
              <a:avLst/>
              <a:gdLst>
                <a:gd name="connsiteX0" fmla="*/ 173831 w 173831"/>
                <a:gd name="connsiteY0" fmla="*/ 0 h 0"/>
                <a:gd name="connsiteX1" fmla="*/ 0 w 17383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3831">
                  <a:moveTo>
                    <a:pt x="173831" y="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/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778018" y="1812880"/>
              <a:ext cx="6668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Duisburg</a:t>
              </a:r>
              <a:endParaRPr lang="ru-RU" sz="900" b="1" dirty="0"/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300192" y="3069362"/>
              <a:ext cx="624566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Chongqing</a:t>
              </a:r>
              <a:endParaRPr lang="ru-RU" sz="900" b="1" dirty="0"/>
            </a:p>
          </p:txBody>
        </p:sp>
        <p:sp>
          <p:nvSpPr>
            <p:cNvPr id="141" name="Полилиния 140"/>
            <p:cNvSpPr/>
            <p:nvPr/>
          </p:nvSpPr>
          <p:spPr>
            <a:xfrm>
              <a:off x="1317906" y="1431456"/>
              <a:ext cx="5464762" cy="1574184"/>
            </a:xfrm>
            <a:custGeom>
              <a:avLst/>
              <a:gdLst>
                <a:gd name="connsiteX0" fmla="*/ 5854700 w 5854700"/>
                <a:gd name="connsiteY0" fmla="*/ 2141326 h 2141326"/>
                <a:gd name="connsiteX1" fmla="*/ 5613400 w 5854700"/>
                <a:gd name="connsiteY1" fmla="*/ 1798426 h 2141326"/>
                <a:gd name="connsiteX2" fmla="*/ 5175250 w 5854700"/>
                <a:gd name="connsiteY2" fmla="*/ 1366626 h 2141326"/>
                <a:gd name="connsiteX3" fmla="*/ 4876800 w 5854700"/>
                <a:gd name="connsiteY3" fmla="*/ 1131676 h 2141326"/>
                <a:gd name="connsiteX4" fmla="*/ 4552950 w 5854700"/>
                <a:gd name="connsiteY4" fmla="*/ 833226 h 2141326"/>
                <a:gd name="connsiteX5" fmla="*/ 4483100 w 5854700"/>
                <a:gd name="connsiteY5" fmla="*/ 744326 h 2141326"/>
                <a:gd name="connsiteX6" fmla="*/ 3848100 w 5854700"/>
                <a:gd name="connsiteY6" fmla="*/ 293476 h 2141326"/>
                <a:gd name="connsiteX7" fmla="*/ 3270250 w 5854700"/>
                <a:gd name="connsiteY7" fmla="*/ 522076 h 2141326"/>
                <a:gd name="connsiteX8" fmla="*/ 2895600 w 5854700"/>
                <a:gd name="connsiteY8" fmla="*/ 433176 h 2141326"/>
                <a:gd name="connsiteX9" fmla="*/ 2324100 w 5854700"/>
                <a:gd name="connsiteY9" fmla="*/ 210926 h 2141326"/>
                <a:gd name="connsiteX10" fmla="*/ 1733550 w 5854700"/>
                <a:gd name="connsiteY10" fmla="*/ 52176 h 2141326"/>
                <a:gd name="connsiteX11" fmla="*/ 1358900 w 5854700"/>
                <a:gd name="connsiteY11" fmla="*/ 1376 h 2141326"/>
                <a:gd name="connsiteX12" fmla="*/ 1327150 w 5854700"/>
                <a:gd name="connsiteY12" fmla="*/ 96626 h 2141326"/>
                <a:gd name="connsiteX13" fmla="*/ 1193800 w 5854700"/>
                <a:gd name="connsiteY13" fmla="*/ 229976 h 2141326"/>
                <a:gd name="connsiteX14" fmla="*/ 996950 w 5854700"/>
                <a:gd name="connsiteY14" fmla="*/ 325226 h 2141326"/>
                <a:gd name="connsiteX15" fmla="*/ 692150 w 5854700"/>
                <a:gd name="connsiteY15" fmla="*/ 344276 h 2141326"/>
                <a:gd name="connsiteX16" fmla="*/ 419100 w 5854700"/>
                <a:gd name="connsiteY16" fmla="*/ 356976 h 2141326"/>
                <a:gd name="connsiteX17" fmla="*/ 273050 w 5854700"/>
                <a:gd name="connsiteY17" fmla="*/ 376026 h 2141326"/>
                <a:gd name="connsiteX18" fmla="*/ 184150 w 5854700"/>
                <a:gd name="connsiteY18" fmla="*/ 401426 h 2141326"/>
                <a:gd name="connsiteX19" fmla="*/ 0 w 5854700"/>
                <a:gd name="connsiteY19" fmla="*/ 407776 h 2141326"/>
                <a:gd name="connsiteX20" fmla="*/ 0 w 5854700"/>
                <a:gd name="connsiteY20" fmla="*/ 407776 h 214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854700" h="2141326">
                  <a:moveTo>
                    <a:pt x="5854700" y="2141326"/>
                  </a:moveTo>
                  <a:cubicBezTo>
                    <a:pt x="5790671" y="2034434"/>
                    <a:pt x="5726642" y="1927543"/>
                    <a:pt x="5613400" y="1798426"/>
                  </a:cubicBezTo>
                  <a:cubicBezTo>
                    <a:pt x="5500158" y="1669309"/>
                    <a:pt x="5298017" y="1477751"/>
                    <a:pt x="5175250" y="1366626"/>
                  </a:cubicBezTo>
                  <a:cubicBezTo>
                    <a:pt x="5052483" y="1255501"/>
                    <a:pt x="4980517" y="1220576"/>
                    <a:pt x="4876800" y="1131676"/>
                  </a:cubicBezTo>
                  <a:cubicBezTo>
                    <a:pt x="4773083" y="1042776"/>
                    <a:pt x="4618567" y="897784"/>
                    <a:pt x="4552950" y="833226"/>
                  </a:cubicBezTo>
                  <a:cubicBezTo>
                    <a:pt x="4487333" y="768668"/>
                    <a:pt x="4600575" y="834284"/>
                    <a:pt x="4483100" y="744326"/>
                  </a:cubicBezTo>
                  <a:cubicBezTo>
                    <a:pt x="4365625" y="654368"/>
                    <a:pt x="4050242" y="330518"/>
                    <a:pt x="3848100" y="293476"/>
                  </a:cubicBezTo>
                  <a:cubicBezTo>
                    <a:pt x="3645958" y="256434"/>
                    <a:pt x="3429000" y="498793"/>
                    <a:pt x="3270250" y="522076"/>
                  </a:cubicBezTo>
                  <a:cubicBezTo>
                    <a:pt x="3111500" y="545359"/>
                    <a:pt x="3053292" y="485034"/>
                    <a:pt x="2895600" y="433176"/>
                  </a:cubicBezTo>
                  <a:cubicBezTo>
                    <a:pt x="2737908" y="381318"/>
                    <a:pt x="2517775" y="274426"/>
                    <a:pt x="2324100" y="210926"/>
                  </a:cubicBezTo>
                  <a:cubicBezTo>
                    <a:pt x="2130425" y="147426"/>
                    <a:pt x="1894417" y="87101"/>
                    <a:pt x="1733550" y="52176"/>
                  </a:cubicBezTo>
                  <a:cubicBezTo>
                    <a:pt x="1572683" y="17251"/>
                    <a:pt x="1426633" y="-6032"/>
                    <a:pt x="1358900" y="1376"/>
                  </a:cubicBezTo>
                  <a:cubicBezTo>
                    <a:pt x="1291167" y="8784"/>
                    <a:pt x="1354667" y="58526"/>
                    <a:pt x="1327150" y="96626"/>
                  </a:cubicBezTo>
                  <a:cubicBezTo>
                    <a:pt x="1299633" y="134726"/>
                    <a:pt x="1248833" y="191876"/>
                    <a:pt x="1193800" y="229976"/>
                  </a:cubicBezTo>
                  <a:cubicBezTo>
                    <a:pt x="1138767" y="268076"/>
                    <a:pt x="1080558" y="306176"/>
                    <a:pt x="996950" y="325226"/>
                  </a:cubicBezTo>
                  <a:cubicBezTo>
                    <a:pt x="913342" y="344276"/>
                    <a:pt x="692150" y="344276"/>
                    <a:pt x="692150" y="344276"/>
                  </a:cubicBezTo>
                  <a:cubicBezTo>
                    <a:pt x="595842" y="349568"/>
                    <a:pt x="488950" y="351684"/>
                    <a:pt x="419100" y="356976"/>
                  </a:cubicBezTo>
                  <a:cubicBezTo>
                    <a:pt x="349250" y="362268"/>
                    <a:pt x="312208" y="368618"/>
                    <a:pt x="273050" y="376026"/>
                  </a:cubicBezTo>
                  <a:cubicBezTo>
                    <a:pt x="233892" y="383434"/>
                    <a:pt x="229658" y="396134"/>
                    <a:pt x="184150" y="401426"/>
                  </a:cubicBezTo>
                  <a:cubicBezTo>
                    <a:pt x="138642" y="406718"/>
                    <a:pt x="0" y="407776"/>
                    <a:pt x="0" y="407776"/>
                  </a:cubicBezTo>
                  <a:lnTo>
                    <a:pt x="0" y="407776"/>
                  </a:lnTo>
                </a:path>
              </a:pathLst>
            </a:custGeom>
            <a:noFill/>
            <a:ln w="38100">
              <a:solidFill>
                <a:schemeClr val="accent4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/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1503467" y="1828795"/>
              <a:ext cx="423954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altLang="ru-RU" sz="900" b="1" dirty="0" smtClean="0"/>
                <a:t>Lodz</a:t>
              </a:r>
              <a:endParaRPr lang="ru-RU" sz="900" b="1" dirty="0"/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3910271" y="1574691"/>
              <a:ext cx="40282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err="1" smtClean="0"/>
                <a:t>Ilezk</a:t>
              </a:r>
              <a:endParaRPr lang="ru-RU" sz="900" b="1" dirty="0"/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5842690" y="2944357"/>
              <a:ext cx="50900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Chengdu</a:t>
              </a:r>
              <a:endParaRPr lang="ru-RU" sz="900" b="1" dirty="0"/>
            </a:p>
          </p:txBody>
        </p:sp>
        <p:sp>
          <p:nvSpPr>
            <p:cNvPr id="145" name="Полилиния 144"/>
            <p:cNvSpPr/>
            <p:nvPr/>
          </p:nvSpPr>
          <p:spPr>
            <a:xfrm>
              <a:off x="1718811" y="1445953"/>
              <a:ext cx="4777834" cy="1552179"/>
            </a:xfrm>
            <a:custGeom>
              <a:avLst/>
              <a:gdLst>
                <a:gd name="connsiteX0" fmla="*/ 5118757 w 5118757"/>
                <a:gd name="connsiteY0" fmla="*/ 2111395 h 2111395"/>
                <a:gd name="connsiteX1" fmla="*/ 4890157 w 5118757"/>
                <a:gd name="connsiteY1" fmla="*/ 1532275 h 2111395"/>
                <a:gd name="connsiteX2" fmla="*/ 4425337 w 5118757"/>
                <a:gd name="connsiteY2" fmla="*/ 1136035 h 2111395"/>
                <a:gd name="connsiteX3" fmla="*/ 4059577 w 5118757"/>
                <a:gd name="connsiteY3" fmla="*/ 770275 h 2111395"/>
                <a:gd name="connsiteX4" fmla="*/ 3549037 w 5118757"/>
                <a:gd name="connsiteY4" fmla="*/ 320695 h 2111395"/>
                <a:gd name="connsiteX5" fmla="*/ 3381397 w 5118757"/>
                <a:gd name="connsiteY5" fmla="*/ 297835 h 2111395"/>
                <a:gd name="connsiteX6" fmla="*/ 2847997 w 5118757"/>
                <a:gd name="connsiteY6" fmla="*/ 480715 h 2111395"/>
                <a:gd name="connsiteX7" fmla="*/ 2421277 w 5118757"/>
                <a:gd name="connsiteY7" fmla="*/ 450235 h 2111395"/>
                <a:gd name="connsiteX8" fmla="*/ 2108857 w 5118757"/>
                <a:gd name="connsiteY8" fmla="*/ 297835 h 2111395"/>
                <a:gd name="connsiteX9" fmla="*/ 1423057 w 5118757"/>
                <a:gd name="connsiteY9" fmla="*/ 84475 h 2111395"/>
                <a:gd name="connsiteX10" fmla="*/ 912517 w 5118757"/>
                <a:gd name="connsiteY10" fmla="*/ 655 h 2111395"/>
                <a:gd name="connsiteX11" fmla="*/ 828697 w 5118757"/>
                <a:gd name="connsiteY11" fmla="*/ 122575 h 2111395"/>
                <a:gd name="connsiteX12" fmla="*/ 638197 w 5118757"/>
                <a:gd name="connsiteY12" fmla="*/ 274975 h 2111395"/>
                <a:gd name="connsiteX13" fmla="*/ 501037 w 5118757"/>
                <a:gd name="connsiteY13" fmla="*/ 328315 h 2111395"/>
                <a:gd name="connsiteX14" fmla="*/ 51457 w 5118757"/>
                <a:gd name="connsiteY14" fmla="*/ 419755 h 2111395"/>
                <a:gd name="connsiteX15" fmla="*/ 28597 w 5118757"/>
                <a:gd name="connsiteY15" fmla="*/ 419755 h 211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118757" h="2111395">
                  <a:moveTo>
                    <a:pt x="5118757" y="2111395"/>
                  </a:moveTo>
                  <a:cubicBezTo>
                    <a:pt x="5062242" y="1903115"/>
                    <a:pt x="5005727" y="1694835"/>
                    <a:pt x="4890157" y="1532275"/>
                  </a:cubicBezTo>
                  <a:cubicBezTo>
                    <a:pt x="4774587" y="1369715"/>
                    <a:pt x="4563767" y="1263035"/>
                    <a:pt x="4425337" y="1136035"/>
                  </a:cubicBezTo>
                  <a:cubicBezTo>
                    <a:pt x="4286907" y="1009035"/>
                    <a:pt x="4205627" y="906165"/>
                    <a:pt x="4059577" y="770275"/>
                  </a:cubicBezTo>
                  <a:cubicBezTo>
                    <a:pt x="3913527" y="634385"/>
                    <a:pt x="3662067" y="399435"/>
                    <a:pt x="3549037" y="320695"/>
                  </a:cubicBezTo>
                  <a:cubicBezTo>
                    <a:pt x="3436007" y="241955"/>
                    <a:pt x="3498237" y="271165"/>
                    <a:pt x="3381397" y="297835"/>
                  </a:cubicBezTo>
                  <a:cubicBezTo>
                    <a:pt x="3264557" y="324505"/>
                    <a:pt x="3008017" y="455315"/>
                    <a:pt x="2847997" y="480715"/>
                  </a:cubicBezTo>
                  <a:cubicBezTo>
                    <a:pt x="2687977" y="506115"/>
                    <a:pt x="2544467" y="480715"/>
                    <a:pt x="2421277" y="450235"/>
                  </a:cubicBezTo>
                  <a:cubicBezTo>
                    <a:pt x="2298087" y="419755"/>
                    <a:pt x="2275227" y="358795"/>
                    <a:pt x="2108857" y="297835"/>
                  </a:cubicBezTo>
                  <a:cubicBezTo>
                    <a:pt x="1942487" y="236875"/>
                    <a:pt x="1622447" y="134005"/>
                    <a:pt x="1423057" y="84475"/>
                  </a:cubicBezTo>
                  <a:cubicBezTo>
                    <a:pt x="1223667" y="34945"/>
                    <a:pt x="1011577" y="-5695"/>
                    <a:pt x="912517" y="655"/>
                  </a:cubicBezTo>
                  <a:cubicBezTo>
                    <a:pt x="813457" y="7005"/>
                    <a:pt x="874417" y="76855"/>
                    <a:pt x="828697" y="122575"/>
                  </a:cubicBezTo>
                  <a:cubicBezTo>
                    <a:pt x="782977" y="168295"/>
                    <a:pt x="692807" y="240685"/>
                    <a:pt x="638197" y="274975"/>
                  </a:cubicBezTo>
                  <a:cubicBezTo>
                    <a:pt x="583587" y="309265"/>
                    <a:pt x="598827" y="304185"/>
                    <a:pt x="501037" y="328315"/>
                  </a:cubicBezTo>
                  <a:cubicBezTo>
                    <a:pt x="403247" y="352445"/>
                    <a:pt x="130197" y="404515"/>
                    <a:pt x="51457" y="419755"/>
                  </a:cubicBezTo>
                  <a:cubicBezTo>
                    <a:pt x="-27283" y="434995"/>
                    <a:pt x="657" y="427375"/>
                    <a:pt x="28597" y="419755"/>
                  </a:cubicBezTo>
                </a:path>
              </a:pathLst>
            </a:custGeom>
            <a:noFill/>
            <a:ln w="381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/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827584" y="1285283"/>
              <a:ext cx="646610" cy="1118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Hamburg</a:t>
              </a:r>
              <a:endParaRPr lang="ru-RU" sz="900" b="1" dirty="0"/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5634846" y="1944845"/>
              <a:ext cx="486049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err="1"/>
                <a:t>Dostyk</a:t>
              </a:r>
              <a:endParaRPr lang="ru-RU" sz="900" b="1" dirty="0"/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7052422" y="2991639"/>
              <a:ext cx="651305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/>
                <a:t>Zhengzhou</a:t>
              </a:r>
              <a:endParaRPr lang="ru-RU" sz="900" b="1" dirty="0"/>
            </a:p>
          </p:txBody>
        </p:sp>
        <p:sp>
          <p:nvSpPr>
            <p:cNvPr id="149" name="Полилиния 148"/>
            <p:cNvSpPr/>
            <p:nvPr/>
          </p:nvSpPr>
          <p:spPr>
            <a:xfrm>
              <a:off x="1422660" y="1426538"/>
              <a:ext cx="5540629" cy="1456951"/>
            </a:xfrm>
            <a:custGeom>
              <a:avLst/>
              <a:gdLst>
                <a:gd name="connsiteX0" fmla="*/ 5935980 w 5935980"/>
                <a:gd name="connsiteY0" fmla="*/ 1981857 h 1981857"/>
                <a:gd name="connsiteX1" fmla="*/ 5844540 w 5935980"/>
                <a:gd name="connsiteY1" fmla="*/ 1745637 h 1981857"/>
                <a:gd name="connsiteX2" fmla="*/ 5699760 w 5935980"/>
                <a:gd name="connsiteY2" fmla="*/ 1593237 h 1981857"/>
                <a:gd name="connsiteX3" fmla="*/ 5257800 w 5935980"/>
                <a:gd name="connsiteY3" fmla="*/ 1349397 h 1981857"/>
                <a:gd name="connsiteX4" fmla="*/ 4770120 w 5935980"/>
                <a:gd name="connsiteY4" fmla="*/ 1166517 h 1981857"/>
                <a:gd name="connsiteX5" fmla="*/ 4411980 w 5935980"/>
                <a:gd name="connsiteY5" fmla="*/ 815997 h 1981857"/>
                <a:gd name="connsiteX6" fmla="*/ 4091940 w 5935980"/>
                <a:gd name="connsiteY6" fmla="*/ 488337 h 1981857"/>
                <a:gd name="connsiteX7" fmla="*/ 3878580 w 5935980"/>
                <a:gd name="connsiteY7" fmla="*/ 351177 h 1981857"/>
                <a:gd name="connsiteX8" fmla="*/ 3726180 w 5935980"/>
                <a:gd name="connsiteY8" fmla="*/ 313077 h 1981857"/>
                <a:gd name="connsiteX9" fmla="*/ 3467100 w 5935980"/>
                <a:gd name="connsiteY9" fmla="*/ 351177 h 1981857"/>
                <a:gd name="connsiteX10" fmla="*/ 3101340 w 5935980"/>
                <a:gd name="connsiteY10" fmla="*/ 526437 h 1981857"/>
                <a:gd name="connsiteX11" fmla="*/ 2827020 w 5935980"/>
                <a:gd name="connsiteY11" fmla="*/ 503577 h 1981857"/>
                <a:gd name="connsiteX12" fmla="*/ 2697480 w 5935980"/>
                <a:gd name="connsiteY12" fmla="*/ 412137 h 1981857"/>
                <a:gd name="connsiteX13" fmla="*/ 2263140 w 5935980"/>
                <a:gd name="connsiteY13" fmla="*/ 252117 h 1981857"/>
                <a:gd name="connsiteX14" fmla="*/ 1973580 w 5935980"/>
                <a:gd name="connsiteY14" fmla="*/ 153057 h 1981857"/>
                <a:gd name="connsiteX15" fmla="*/ 1409700 w 5935980"/>
                <a:gd name="connsiteY15" fmla="*/ 38757 h 1981857"/>
                <a:gd name="connsiteX16" fmla="*/ 1272540 w 5935980"/>
                <a:gd name="connsiteY16" fmla="*/ 8277 h 1981857"/>
                <a:gd name="connsiteX17" fmla="*/ 1173480 w 5935980"/>
                <a:gd name="connsiteY17" fmla="*/ 175917 h 1981857"/>
                <a:gd name="connsiteX18" fmla="*/ 937260 w 5935980"/>
                <a:gd name="connsiteY18" fmla="*/ 328317 h 1981857"/>
                <a:gd name="connsiteX19" fmla="*/ 861060 w 5935980"/>
                <a:gd name="connsiteY19" fmla="*/ 343557 h 1981857"/>
                <a:gd name="connsiteX20" fmla="*/ 571500 w 5935980"/>
                <a:gd name="connsiteY20" fmla="*/ 351177 h 1981857"/>
                <a:gd name="connsiteX21" fmla="*/ 205740 w 5935980"/>
                <a:gd name="connsiteY21" fmla="*/ 290217 h 1981857"/>
                <a:gd name="connsiteX22" fmla="*/ 0 w 5935980"/>
                <a:gd name="connsiteY22" fmla="*/ 168297 h 1981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935980" h="1981857">
                  <a:moveTo>
                    <a:pt x="5935980" y="1981857"/>
                  </a:moveTo>
                  <a:cubicBezTo>
                    <a:pt x="5909945" y="1896132"/>
                    <a:pt x="5883910" y="1810407"/>
                    <a:pt x="5844540" y="1745637"/>
                  </a:cubicBezTo>
                  <a:cubicBezTo>
                    <a:pt x="5805170" y="1680867"/>
                    <a:pt x="5797550" y="1659277"/>
                    <a:pt x="5699760" y="1593237"/>
                  </a:cubicBezTo>
                  <a:cubicBezTo>
                    <a:pt x="5601970" y="1527197"/>
                    <a:pt x="5412740" y="1420517"/>
                    <a:pt x="5257800" y="1349397"/>
                  </a:cubicBezTo>
                  <a:cubicBezTo>
                    <a:pt x="5102860" y="1278277"/>
                    <a:pt x="4911090" y="1255417"/>
                    <a:pt x="4770120" y="1166517"/>
                  </a:cubicBezTo>
                  <a:cubicBezTo>
                    <a:pt x="4629150" y="1077617"/>
                    <a:pt x="4525010" y="929027"/>
                    <a:pt x="4411980" y="815997"/>
                  </a:cubicBezTo>
                  <a:cubicBezTo>
                    <a:pt x="4298950" y="702967"/>
                    <a:pt x="4180840" y="565807"/>
                    <a:pt x="4091940" y="488337"/>
                  </a:cubicBezTo>
                  <a:cubicBezTo>
                    <a:pt x="4003040" y="410867"/>
                    <a:pt x="3939540" y="380387"/>
                    <a:pt x="3878580" y="351177"/>
                  </a:cubicBezTo>
                  <a:cubicBezTo>
                    <a:pt x="3817620" y="321967"/>
                    <a:pt x="3794760" y="313077"/>
                    <a:pt x="3726180" y="313077"/>
                  </a:cubicBezTo>
                  <a:cubicBezTo>
                    <a:pt x="3657600" y="313077"/>
                    <a:pt x="3571240" y="315617"/>
                    <a:pt x="3467100" y="351177"/>
                  </a:cubicBezTo>
                  <a:cubicBezTo>
                    <a:pt x="3362960" y="386737"/>
                    <a:pt x="3208020" y="501037"/>
                    <a:pt x="3101340" y="526437"/>
                  </a:cubicBezTo>
                  <a:cubicBezTo>
                    <a:pt x="2994660" y="551837"/>
                    <a:pt x="2894330" y="522627"/>
                    <a:pt x="2827020" y="503577"/>
                  </a:cubicBezTo>
                  <a:cubicBezTo>
                    <a:pt x="2759710" y="484527"/>
                    <a:pt x="2791460" y="454047"/>
                    <a:pt x="2697480" y="412137"/>
                  </a:cubicBezTo>
                  <a:cubicBezTo>
                    <a:pt x="2603500" y="370227"/>
                    <a:pt x="2383790" y="295297"/>
                    <a:pt x="2263140" y="252117"/>
                  </a:cubicBezTo>
                  <a:cubicBezTo>
                    <a:pt x="2142490" y="208937"/>
                    <a:pt x="2115820" y="188617"/>
                    <a:pt x="1973580" y="153057"/>
                  </a:cubicBezTo>
                  <a:cubicBezTo>
                    <a:pt x="1831340" y="117497"/>
                    <a:pt x="1526540" y="62887"/>
                    <a:pt x="1409700" y="38757"/>
                  </a:cubicBezTo>
                  <a:cubicBezTo>
                    <a:pt x="1292860" y="14627"/>
                    <a:pt x="1311910" y="-14583"/>
                    <a:pt x="1272540" y="8277"/>
                  </a:cubicBezTo>
                  <a:cubicBezTo>
                    <a:pt x="1233170" y="31137"/>
                    <a:pt x="1229360" y="122577"/>
                    <a:pt x="1173480" y="175917"/>
                  </a:cubicBezTo>
                  <a:cubicBezTo>
                    <a:pt x="1117600" y="229257"/>
                    <a:pt x="989330" y="300377"/>
                    <a:pt x="937260" y="328317"/>
                  </a:cubicBezTo>
                  <a:cubicBezTo>
                    <a:pt x="885190" y="356257"/>
                    <a:pt x="922020" y="339747"/>
                    <a:pt x="861060" y="343557"/>
                  </a:cubicBezTo>
                  <a:cubicBezTo>
                    <a:pt x="800100" y="347367"/>
                    <a:pt x="680720" y="360067"/>
                    <a:pt x="571500" y="351177"/>
                  </a:cubicBezTo>
                  <a:cubicBezTo>
                    <a:pt x="462280" y="342287"/>
                    <a:pt x="300990" y="320697"/>
                    <a:pt x="205740" y="290217"/>
                  </a:cubicBezTo>
                  <a:cubicBezTo>
                    <a:pt x="110490" y="259737"/>
                    <a:pt x="55245" y="214017"/>
                    <a:pt x="0" y="168297"/>
                  </a:cubicBezTo>
                </a:path>
              </a:pathLst>
            </a:custGeom>
            <a:noFill/>
            <a:ln w="381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/>
            </a:p>
          </p:txBody>
        </p:sp>
        <p:sp>
          <p:nvSpPr>
            <p:cNvPr id="150" name="TextBox 149"/>
            <p:cNvSpPr txBox="1"/>
            <p:nvPr/>
          </p:nvSpPr>
          <p:spPr>
            <a:xfrm>
              <a:off x="2265629" y="1728679"/>
              <a:ext cx="388966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altLang="ru-RU" sz="900" b="1" dirty="0"/>
                <a:t>Brest</a:t>
              </a:r>
              <a:endParaRPr lang="ru-RU" sz="900" b="1" dirty="0"/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2082607" y="1231950"/>
              <a:ext cx="56426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smtClean="0"/>
                <a:t>Krasnoe</a:t>
              </a:r>
              <a:endParaRPr lang="ru-RU" sz="900" b="1" dirty="0"/>
            </a:p>
          </p:txBody>
        </p:sp>
        <p:sp>
          <p:nvSpPr>
            <p:cNvPr id="152" name="Полилиния 151"/>
            <p:cNvSpPr/>
            <p:nvPr/>
          </p:nvSpPr>
          <p:spPr>
            <a:xfrm>
              <a:off x="7498655" y="1832850"/>
              <a:ext cx="276707" cy="680104"/>
            </a:xfrm>
            <a:custGeom>
              <a:avLst/>
              <a:gdLst>
                <a:gd name="connsiteX0" fmla="*/ 0 w 296451"/>
                <a:gd name="connsiteY0" fmla="*/ 0 h 925130"/>
                <a:gd name="connsiteX1" fmla="*/ 101600 w 296451"/>
                <a:gd name="connsiteY1" fmla="*/ 44450 h 925130"/>
                <a:gd name="connsiteX2" fmla="*/ 139700 w 296451"/>
                <a:gd name="connsiteY2" fmla="*/ 101600 h 925130"/>
                <a:gd name="connsiteX3" fmla="*/ 174625 w 296451"/>
                <a:gd name="connsiteY3" fmla="*/ 133350 h 925130"/>
                <a:gd name="connsiteX4" fmla="*/ 196850 w 296451"/>
                <a:gd name="connsiteY4" fmla="*/ 174625 h 925130"/>
                <a:gd name="connsiteX5" fmla="*/ 222250 w 296451"/>
                <a:gd name="connsiteY5" fmla="*/ 215900 h 925130"/>
                <a:gd name="connsiteX6" fmla="*/ 260350 w 296451"/>
                <a:gd name="connsiteY6" fmla="*/ 279400 h 925130"/>
                <a:gd name="connsiteX7" fmla="*/ 279400 w 296451"/>
                <a:gd name="connsiteY7" fmla="*/ 346075 h 925130"/>
                <a:gd name="connsiteX8" fmla="*/ 295275 w 296451"/>
                <a:gd name="connsiteY8" fmla="*/ 431800 h 925130"/>
                <a:gd name="connsiteX9" fmla="*/ 295275 w 296451"/>
                <a:gd name="connsiteY9" fmla="*/ 508000 h 925130"/>
                <a:gd name="connsiteX10" fmla="*/ 295275 w 296451"/>
                <a:gd name="connsiteY10" fmla="*/ 565150 h 925130"/>
                <a:gd name="connsiteX11" fmla="*/ 279400 w 296451"/>
                <a:gd name="connsiteY11" fmla="*/ 650875 h 925130"/>
                <a:gd name="connsiteX12" fmla="*/ 269875 w 296451"/>
                <a:gd name="connsiteY12" fmla="*/ 701675 h 925130"/>
                <a:gd name="connsiteX13" fmla="*/ 254000 w 296451"/>
                <a:gd name="connsiteY13" fmla="*/ 752475 h 925130"/>
                <a:gd name="connsiteX14" fmla="*/ 241300 w 296451"/>
                <a:gd name="connsiteY14" fmla="*/ 790575 h 925130"/>
                <a:gd name="connsiteX15" fmla="*/ 225425 w 296451"/>
                <a:gd name="connsiteY15" fmla="*/ 822325 h 925130"/>
                <a:gd name="connsiteX16" fmla="*/ 206375 w 296451"/>
                <a:gd name="connsiteY16" fmla="*/ 854075 h 925130"/>
                <a:gd name="connsiteX17" fmla="*/ 187325 w 296451"/>
                <a:gd name="connsiteY17" fmla="*/ 885825 h 925130"/>
                <a:gd name="connsiteX18" fmla="*/ 168275 w 296451"/>
                <a:gd name="connsiteY18" fmla="*/ 920750 h 925130"/>
                <a:gd name="connsiteX19" fmla="*/ 168275 w 296451"/>
                <a:gd name="connsiteY19" fmla="*/ 923925 h 925130"/>
                <a:gd name="connsiteX20" fmla="*/ 177800 w 296451"/>
                <a:gd name="connsiteY20" fmla="*/ 914400 h 92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6451" h="925130">
                  <a:moveTo>
                    <a:pt x="0" y="0"/>
                  </a:moveTo>
                  <a:cubicBezTo>
                    <a:pt x="39158" y="13758"/>
                    <a:pt x="78317" y="27517"/>
                    <a:pt x="101600" y="44450"/>
                  </a:cubicBezTo>
                  <a:cubicBezTo>
                    <a:pt x="124883" y="61383"/>
                    <a:pt x="127529" y="86783"/>
                    <a:pt x="139700" y="101600"/>
                  </a:cubicBezTo>
                  <a:cubicBezTo>
                    <a:pt x="151871" y="116417"/>
                    <a:pt x="165100" y="121179"/>
                    <a:pt x="174625" y="133350"/>
                  </a:cubicBezTo>
                  <a:cubicBezTo>
                    <a:pt x="184150" y="145521"/>
                    <a:pt x="188913" y="160867"/>
                    <a:pt x="196850" y="174625"/>
                  </a:cubicBezTo>
                  <a:cubicBezTo>
                    <a:pt x="204788" y="188383"/>
                    <a:pt x="211667" y="198438"/>
                    <a:pt x="222250" y="215900"/>
                  </a:cubicBezTo>
                  <a:cubicBezTo>
                    <a:pt x="232833" y="233363"/>
                    <a:pt x="250825" y="257704"/>
                    <a:pt x="260350" y="279400"/>
                  </a:cubicBezTo>
                  <a:cubicBezTo>
                    <a:pt x="269875" y="301096"/>
                    <a:pt x="273579" y="320675"/>
                    <a:pt x="279400" y="346075"/>
                  </a:cubicBezTo>
                  <a:cubicBezTo>
                    <a:pt x="285221" y="371475"/>
                    <a:pt x="292629" y="404813"/>
                    <a:pt x="295275" y="431800"/>
                  </a:cubicBezTo>
                  <a:cubicBezTo>
                    <a:pt x="297921" y="458788"/>
                    <a:pt x="295275" y="508000"/>
                    <a:pt x="295275" y="508000"/>
                  </a:cubicBezTo>
                  <a:cubicBezTo>
                    <a:pt x="295275" y="530225"/>
                    <a:pt x="297921" y="541338"/>
                    <a:pt x="295275" y="565150"/>
                  </a:cubicBezTo>
                  <a:cubicBezTo>
                    <a:pt x="292629" y="588962"/>
                    <a:pt x="283633" y="628121"/>
                    <a:pt x="279400" y="650875"/>
                  </a:cubicBezTo>
                  <a:cubicBezTo>
                    <a:pt x="275167" y="673629"/>
                    <a:pt x="274108" y="684742"/>
                    <a:pt x="269875" y="701675"/>
                  </a:cubicBezTo>
                  <a:cubicBezTo>
                    <a:pt x="265642" y="718608"/>
                    <a:pt x="258763" y="737658"/>
                    <a:pt x="254000" y="752475"/>
                  </a:cubicBezTo>
                  <a:cubicBezTo>
                    <a:pt x="249237" y="767292"/>
                    <a:pt x="246062" y="778933"/>
                    <a:pt x="241300" y="790575"/>
                  </a:cubicBezTo>
                  <a:cubicBezTo>
                    <a:pt x="236538" y="802217"/>
                    <a:pt x="231246" y="811742"/>
                    <a:pt x="225425" y="822325"/>
                  </a:cubicBezTo>
                  <a:cubicBezTo>
                    <a:pt x="219604" y="832908"/>
                    <a:pt x="206375" y="854075"/>
                    <a:pt x="206375" y="854075"/>
                  </a:cubicBezTo>
                  <a:cubicBezTo>
                    <a:pt x="200025" y="864658"/>
                    <a:pt x="193675" y="874713"/>
                    <a:pt x="187325" y="885825"/>
                  </a:cubicBezTo>
                  <a:cubicBezTo>
                    <a:pt x="180975" y="896937"/>
                    <a:pt x="171450" y="914400"/>
                    <a:pt x="168275" y="920750"/>
                  </a:cubicBezTo>
                  <a:cubicBezTo>
                    <a:pt x="165100" y="927100"/>
                    <a:pt x="166687" y="924983"/>
                    <a:pt x="168275" y="923925"/>
                  </a:cubicBezTo>
                  <a:cubicBezTo>
                    <a:pt x="169863" y="922867"/>
                    <a:pt x="173831" y="918633"/>
                    <a:pt x="177800" y="914400"/>
                  </a:cubicBezTo>
                </a:path>
              </a:pathLst>
            </a:cu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7928" tIns="38964" rIns="77928" bIns="38964" rtlCol="0" anchor="ctr"/>
            <a:lstStyle/>
            <a:p>
              <a:pPr algn="ctr"/>
              <a:endParaRPr lang="ru-RU"/>
            </a:p>
          </p:txBody>
        </p:sp>
        <p:sp>
          <p:nvSpPr>
            <p:cNvPr id="153" name="Овал 152"/>
            <p:cNvSpPr/>
            <p:nvPr/>
          </p:nvSpPr>
          <p:spPr>
            <a:xfrm>
              <a:off x="6404214" y="2915813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55" name="Овал 154"/>
            <p:cNvSpPr/>
            <p:nvPr/>
          </p:nvSpPr>
          <p:spPr>
            <a:xfrm>
              <a:off x="6733103" y="2971254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56" name="Овал 155"/>
            <p:cNvSpPr/>
            <p:nvPr/>
          </p:nvSpPr>
          <p:spPr>
            <a:xfrm>
              <a:off x="6924718" y="2886407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57" name="Овал 156"/>
            <p:cNvSpPr/>
            <p:nvPr/>
          </p:nvSpPr>
          <p:spPr>
            <a:xfrm>
              <a:off x="7487561" y="2838799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58" name="Овал 157"/>
            <p:cNvSpPr/>
            <p:nvPr/>
          </p:nvSpPr>
          <p:spPr>
            <a:xfrm>
              <a:off x="1865585" y="1666453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59" name="Овал 158"/>
            <p:cNvSpPr/>
            <p:nvPr/>
          </p:nvSpPr>
          <p:spPr>
            <a:xfrm>
              <a:off x="1656355" y="1704212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60" name="Овал 159"/>
            <p:cNvSpPr/>
            <p:nvPr/>
          </p:nvSpPr>
          <p:spPr>
            <a:xfrm>
              <a:off x="1268342" y="1691164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61" name="Овал 160"/>
            <p:cNvSpPr/>
            <p:nvPr/>
          </p:nvSpPr>
          <p:spPr>
            <a:xfrm>
              <a:off x="1318767" y="1479308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46" name="Полилиния 245"/>
            <p:cNvSpPr/>
            <p:nvPr/>
          </p:nvSpPr>
          <p:spPr>
            <a:xfrm>
              <a:off x="2191779" y="1440492"/>
              <a:ext cx="3314700" cy="566737"/>
            </a:xfrm>
            <a:custGeom>
              <a:avLst/>
              <a:gdLst>
                <a:gd name="connsiteX0" fmla="*/ 0 w 3314700"/>
                <a:gd name="connsiteY0" fmla="*/ 252412 h 566737"/>
                <a:gd name="connsiteX1" fmla="*/ 166688 w 3314700"/>
                <a:gd name="connsiteY1" fmla="*/ 209550 h 566737"/>
                <a:gd name="connsiteX2" fmla="*/ 242888 w 3314700"/>
                <a:gd name="connsiteY2" fmla="*/ 157162 h 566737"/>
                <a:gd name="connsiteX3" fmla="*/ 290513 w 3314700"/>
                <a:gd name="connsiteY3" fmla="*/ 100012 h 566737"/>
                <a:gd name="connsiteX4" fmla="*/ 352425 w 3314700"/>
                <a:gd name="connsiteY4" fmla="*/ 28575 h 566737"/>
                <a:gd name="connsiteX5" fmla="*/ 471488 w 3314700"/>
                <a:gd name="connsiteY5" fmla="*/ 0 h 566737"/>
                <a:gd name="connsiteX6" fmla="*/ 657225 w 3314700"/>
                <a:gd name="connsiteY6" fmla="*/ 28575 h 566737"/>
                <a:gd name="connsiteX7" fmla="*/ 771525 w 3314700"/>
                <a:gd name="connsiteY7" fmla="*/ 42862 h 566737"/>
                <a:gd name="connsiteX8" fmla="*/ 914400 w 3314700"/>
                <a:gd name="connsiteY8" fmla="*/ 71437 h 566737"/>
                <a:gd name="connsiteX9" fmla="*/ 1085850 w 3314700"/>
                <a:gd name="connsiteY9" fmla="*/ 100012 h 566737"/>
                <a:gd name="connsiteX10" fmla="*/ 1252538 w 3314700"/>
                <a:gd name="connsiteY10" fmla="*/ 142875 h 566737"/>
                <a:gd name="connsiteX11" fmla="*/ 1476375 w 3314700"/>
                <a:gd name="connsiteY11" fmla="*/ 204787 h 566737"/>
                <a:gd name="connsiteX12" fmla="*/ 1666875 w 3314700"/>
                <a:gd name="connsiteY12" fmla="*/ 271462 h 566737"/>
                <a:gd name="connsiteX13" fmla="*/ 1771650 w 3314700"/>
                <a:gd name="connsiteY13" fmla="*/ 319087 h 566737"/>
                <a:gd name="connsiteX14" fmla="*/ 1909763 w 3314700"/>
                <a:gd name="connsiteY14" fmla="*/ 357187 h 566737"/>
                <a:gd name="connsiteX15" fmla="*/ 2057400 w 3314700"/>
                <a:gd name="connsiteY15" fmla="*/ 381000 h 566737"/>
                <a:gd name="connsiteX16" fmla="*/ 2176463 w 3314700"/>
                <a:gd name="connsiteY16" fmla="*/ 361950 h 566737"/>
                <a:gd name="connsiteX17" fmla="*/ 2362200 w 3314700"/>
                <a:gd name="connsiteY17" fmla="*/ 300037 h 566737"/>
                <a:gd name="connsiteX18" fmla="*/ 2557463 w 3314700"/>
                <a:gd name="connsiteY18" fmla="*/ 233362 h 566737"/>
                <a:gd name="connsiteX19" fmla="*/ 2662238 w 3314700"/>
                <a:gd name="connsiteY19" fmla="*/ 219075 h 566737"/>
                <a:gd name="connsiteX20" fmla="*/ 2790825 w 3314700"/>
                <a:gd name="connsiteY20" fmla="*/ 214312 h 566737"/>
                <a:gd name="connsiteX21" fmla="*/ 2947988 w 3314700"/>
                <a:gd name="connsiteY21" fmla="*/ 304800 h 566737"/>
                <a:gd name="connsiteX22" fmla="*/ 3100388 w 3314700"/>
                <a:gd name="connsiteY22" fmla="*/ 409575 h 566737"/>
                <a:gd name="connsiteX23" fmla="*/ 3209925 w 3314700"/>
                <a:gd name="connsiteY23" fmla="*/ 490537 h 566737"/>
                <a:gd name="connsiteX24" fmla="*/ 3314700 w 3314700"/>
                <a:gd name="connsiteY24" fmla="*/ 566737 h 566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314700" h="566737">
                  <a:moveTo>
                    <a:pt x="0" y="252412"/>
                  </a:moveTo>
                  <a:cubicBezTo>
                    <a:pt x="63103" y="238918"/>
                    <a:pt x="126207" y="225425"/>
                    <a:pt x="166688" y="209550"/>
                  </a:cubicBezTo>
                  <a:cubicBezTo>
                    <a:pt x="207169" y="193675"/>
                    <a:pt x="222251" y="175418"/>
                    <a:pt x="242888" y="157162"/>
                  </a:cubicBezTo>
                  <a:cubicBezTo>
                    <a:pt x="263525" y="138906"/>
                    <a:pt x="272257" y="121443"/>
                    <a:pt x="290513" y="100012"/>
                  </a:cubicBezTo>
                  <a:cubicBezTo>
                    <a:pt x="308769" y="78581"/>
                    <a:pt x="322263" y="45244"/>
                    <a:pt x="352425" y="28575"/>
                  </a:cubicBezTo>
                  <a:cubicBezTo>
                    <a:pt x="382588" y="11906"/>
                    <a:pt x="420688" y="0"/>
                    <a:pt x="471488" y="0"/>
                  </a:cubicBezTo>
                  <a:cubicBezTo>
                    <a:pt x="522288" y="0"/>
                    <a:pt x="607219" y="21431"/>
                    <a:pt x="657225" y="28575"/>
                  </a:cubicBezTo>
                  <a:cubicBezTo>
                    <a:pt x="707231" y="35719"/>
                    <a:pt x="728662" y="35718"/>
                    <a:pt x="771525" y="42862"/>
                  </a:cubicBezTo>
                  <a:cubicBezTo>
                    <a:pt x="814388" y="50006"/>
                    <a:pt x="862013" y="61912"/>
                    <a:pt x="914400" y="71437"/>
                  </a:cubicBezTo>
                  <a:cubicBezTo>
                    <a:pt x="966787" y="80962"/>
                    <a:pt x="1029494" y="88106"/>
                    <a:pt x="1085850" y="100012"/>
                  </a:cubicBezTo>
                  <a:cubicBezTo>
                    <a:pt x="1142206" y="111918"/>
                    <a:pt x="1252538" y="142875"/>
                    <a:pt x="1252538" y="142875"/>
                  </a:cubicBezTo>
                  <a:cubicBezTo>
                    <a:pt x="1317625" y="160337"/>
                    <a:pt x="1407319" y="183356"/>
                    <a:pt x="1476375" y="204787"/>
                  </a:cubicBezTo>
                  <a:cubicBezTo>
                    <a:pt x="1545431" y="226218"/>
                    <a:pt x="1617663" y="252412"/>
                    <a:pt x="1666875" y="271462"/>
                  </a:cubicBezTo>
                  <a:cubicBezTo>
                    <a:pt x="1716088" y="290512"/>
                    <a:pt x="1731169" y="304800"/>
                    <a:pt x="1771650" y="319087"/>
                  </a:cubicBezTo>
                  <a:cubicBezTo>
                    <a:pt x="1812131" y="333374"/>
                    <a:pt x="1862138" y="346868"/>
                    <a:pt x="1909763" y="357187"/>
                  </a:cubicBezTo>
                  <a:cubicBezTo>
                    <a:pt x="1957388" y="367506"/>
                    <a:pt x="2012950" y="380206"/>
                    <a:pt x="2057400" y="381000"/>
                  </a:cubicBezTo>
                  <a:cubicBezTo>
                    <a:pt x="2101850" y="381794"/>
                    <a:pt x="2125663" y="375444"/>
                    <a:pt x="2176463" y="361950"/>
                  </a:cubicBezTo>
                  <a:cubicBezTo>
                    <a:pt x="2227263" y="348456"/>
                    <a:pt x="2362200" y="300037"/>
                    <a:pt x="2362200" y="300037"/>
                  </a:cubicBezTo>
                  <a:cubicBezTo>
                    <a:pt x="2425700" y="278606"/>
                    <a:pt x="2507457" y="246856"/>
                    <a:pt x="2557463" y="233362"/>
                  </a:cubicBezTo>
                  <a:cubicBezTo>
                    <a:pt x="2607469" y="219868"/>
                    <a:pt x="2623344" y="222250"/>
                    <a:pt x="2662238" y="219075"/>
                  </a:cubicBezTo>
                  <a:cubicBezTo>
                    <a:pt x="2701132" y="215900"/>
                    <a:pt x="2743200" y="200025"/>
                    <a:pt x="2790825" y="214312"/>
                  </a:cubicBezTo>
                  <a:cubicBezTo>
                    <a:pt x="2838450" y="228599"/>
                    <a:pt x="2896394" y="272256"/>
                    <a:pt x="2947988" y="304800"/>
                  </a:cubicBezTo>
                  <a:cubicBezTo>
                    <a:pt x="2999582" y="337344"/>
                    <a:pt x="3056732" y="378619"/>
                    <a:pt x="3100388" y="409575"/>
                  </a:cubicBezTo>
                  <a:cubicBezTo>
                    <a:pt x="3144044" y="440531"/>
                    <a:pt x="3209925" y="490537"/>
                    <a:pt x="3209925" y="490537"/>
                  </a:cubicBezTo>
                  <a:lnTo>
                    <a:pt x="3314700" y="566737"/>
                  </a:lnTo>
                </a:path>
              </a:pathLst>
            </a:custGeom>
            <a:noFill/>
            <a:ln w="57150">
              <a:solidFill>
                <a:schemeClr val="accent4">
                  <a:lumMod val="90000"/>
                  <a:lumOff val="1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7" name="Полилиния 246"/>
            <p:cNvSpPr/>
            <p:nvPr/>
          </p:nvSpPr>
          <p:spPr>
            <a:xfrm>
              <a:off x="2560190" y="1177826"/>
              <a:ext cx="4838700" cy="601121"/>
            </a:xfrm>
            <a:custGeom>
              <a:avLst/>
              <a:gdLst>
                <a:gd name="connsiteX0" fmla="*/ 0 w 4838700"/>
                <a:gd name="connsiteY0" fmla="*/ 282034 h 601121"/>
                <a:gd name="connsiteX1" fmla="*/ 195263 w 4838700"/>
                <a:gd name="connsiteY1" fmla="*/ 205834 h 601121"/>
                <a:gd name="connsiteX2" fmla="*/ 276225 w 4838700"/>
                <a:gd name="connsiteY2" fmla="*/ 172496 h 601121"/>
                <a:gd name="connsiteX3" fmla="*/ 323850 w 4838700"/>
                <a:gd name="connsiteY3" fmla="*/ 153446 h 601121"/>
                <a:gd name="connsiteX4" fmla="*/ 442913 w 4838700"/>
                <a:gd name="connsiteY4" fmla="*/ 201071 h 601121"/>
                <a:gd name="connsiteX5" fmla="*/ 500063 w 4838700"/>
                <a:gd name="connsiteY5" fmla="*/ 172496 h 601121"/>
                <a:gd name="connsiteX6" fmla="*/ 538163 w 4838700"/>
                <a:gd name="connsiteY6" fmla="*/ 115346 h 601121"/>
                <a:gd name="connsiteX7" fmla="*/ 676275 w 4838700"/>
                <a:gd name="connsiteY7" fmla="*/ 82009 h 601121"/>
                <a:gd name="connsiteX8" fmla="*/ 904875 w 4838700"/>
                <a:gd name="connsiteY8" fmla="*/ 67721 h 601121"/>
                <a:gd name="connsiteX9" fmla="*/ 1123950 w 4838700"/>
                <a:gd name="connsiteY9" fmla="*/ 48671 h 601121"/>
                <a:gd name="connsiteX10" fmla="*/ 1328738 w 4838700"/>
                <a:gd name="connsiteY10" fmla="*/ 29621 h 601121"/>
                <a:gd name="connsiteX11" fmla="*/ 1504950 w 4838700"/>
                <a:gd name="connsiteY11" fmla="*/ 15334 h 601121"/>
                <a:gd name="connsiteX12" fmla="*/ 1695450 w 4838700"/>
                <a:gd name="connsiteY12" fmla="*/ 1046 h 601121"/>
                <a:gd name="connsiteX13" fmla="*/ 1852613 w 4838700"/>
                <a:gd name="connsiteY13" fmla="*/ 15334 h 601121"/>
                <a:gd name="connsiteX14" fmla="*/ 1871663 w 4838700"/>
                <a:gd name="connsiteY14" fmla="*/ 24859 h 601121"/>
                <a:gd name="connsiteX15" fmla="*/ 1900238 w 4838700"/>
                <a:gd name="connsiteY15" fmla="*/ 20096 h 601121"/>
                <a:gd name="connsiteX16" fmla="*/ 1914525 w 4838700"/>
                <a:gd name="connsiteY16" fmla="*/ 5809 h 601121"/>
                <a:gd name="connsiteX17" fmla="*/ 1933575 w 4838700"/>
                <a:gd name="connsiteY17" fmla="*/ 1046 h 601121"/>
                <a:gd name="connsiteX18" fmla="*/ 2024063 w 4838700"/>
                <a:gd name="connsiteY18" fmla="*/ 24859 h 601121"/>
                <a:gd name="connsiteX19" fmla="*/ 2195513 w 4838700"/>
                <a:gd name="connsiteY19" fmla="*/ 67721 h 601121"/>
                <a:gd name="connsiteX20" fmla="*/ 2319338 w 4838700"/>
                <a:gd name="connsiteY20" fmla="*/ 110584 h 601121"/>
                <a:gd name="connsiteX21" fmla="*/ 2452688 w 4838700"/>
                <a:gd name="connsiteY21" fmla="*/ 148684 h 601121"/>
                <a:gd name="connsiteX22" fmla="*/ 2581275 w 4838700"/>
                <a:gd name="connsiteY22" fmla="*/ 177259 h 601121"/>
                <a:gd name="connsiteX23" fmla="*/ 2690813 w 4838700"/>
                <a:gd name="connsiteY23" fmla="*/ 196309 h 601121"/>
                <a:gd name="connsiteX24" fmla="*/ 2824163 w 4838700"/>
                <a:gd name="connsiteY24" fmla="*/ 220121 h 601121"/>
                <a:gd name="connsiteX25" fmla="*/ 2909888 w 4838700"/>
                <a:gd name="connsiteY25" fmla="*/ 243934 h 601121"/>
                <a:gd name="connsiteX26" fmla="*/ 3033713 w 4838700"/>
                <a:gd name="connsiteY26" fmla="*/ 239171 h 601121"/>
                <a:gd name="connsiteX27" fmla="*/ 3167063 w 4838700"/>
                <a:gd name="connsiteY27" fmla="*/ 243934 h 601121"/>
                <a:gd name="connsiteX28" fmla="*/ 3309938 w 4838700"/>
                <a:gd name="connsiteY28" fmla="*/ 239171 h 601121"/>
                <a:gd name="connsiteX29" fmla="*/ 3457575 w 4838700"/>
                <a:gd name="connsiteY29" fmla="*/ 253459 h 601121"/>
                <a:gd name="connsiteX30" fmla="*/ 3595688 w 4838700"/>
                <a:gd name="connsiteY30" fmla="*/ 277271 h 601121"/>
                <a:gd name="connsiteX31" fmla="*/ 3719513 w 4838700"/>
                <a:gd name="connsiteY31" fmla="*/ 305846 h 601121"/>
                <a:gd name="connsiteX32" fmla="*/ 3838575 w 4838700"/>
                <a:gd name="connsiteY32" fmla="*/ 348709 h 601121"/>
                <a:gd name="connsiteX33" fmla="*/ 3905250 w 4838700"/>
                <a:gd name="connsiteY33" fmla="*/ 396334 h 601121"/>
                <a:gd name="connsiteX34" fmla="*/ 3948113 w 4838700"/>
                <a:gd name="connsiteY34" fmla="*/ 448721 h 601121"/>
                <a:gd name="connsiteX35" fmla="*/ 3971925 w 4838700"/>
                <a:gd name="connsiteY35" fmla="*/ 486821 h 601121"/>
                <a:gd name="connsiteX36" fmla="*/ 3971925 w 4838700"/>
                <a:gd name="connsiteY36" fmla="*/ 496346 h 601121"/>
                <a:gd name="connsiteX37" fmla="*/ 4010025 w 4838700"/>
                <a:gd name="connsiteY37" fmla="*/ 477296 h 601121"/>
                <a:gd name="connsiteX38" fmla="*/ 4062413 w 4838700"/>
                <a:gd name="connsiteY38" fmla="*/ 458246 h 601121"/>
                <a:gd name="connsiteX39" fmla="*/ 4076700 w 4838700"/>
                <a:gd name="connsiteY39" fmla="*/ 439196 h 601121"/>
                <a:gd name="connsiteX40" fmla="*/ 4067175 w 4838700"/>
                <a:gd name="connsiteY40" fmla="*/ 429671 h 601121"/>
                <a:gd name="connsiteX41" fmla="*/ 4105275 w 4838700"/>
                <a:gd name="connsiteY41" fmla="*/ 410621 h 601121"/>
                <a:gd name="connsiteX42" fmla="*/ 4195763 w 4838700"/>
                <a:gd name="connsiteY42" fmla="*/ 391571 h 601121"/>
                <a:gd name="connsiteX43" fmla="*/ 4310063 w 4838700"/>
                <a:gd name="connsiteY43" fmla="*/ 367759 h 601121"/>
                <a:gd name="connsiteX44" fmla="*/ 4419600 w 4838700"/>
                <a:gd name="connsiteY44" fmla="*/ 348709 h 601121"/>
                <a:gd name="connsiteX45" fmla="*/ 4533900 w 4838700"/>
                <a:gd name="connsiteY45" fmla="*/ 329659 h 601121"/>
                <a:gd name="connsiteX46" fmla="*/ 4614863 w 4838700"/>
                <a:gd name="connsiteY46" fmla="*/ 320134 h 601121"/>
                <a:gd name="connsiteX47" fmla="*/ 4638675 w 4838700"/>
                <a:gd name="connsiteY47" fmla="*/ 329659 h 601121"/>
                <a:gd name="connsiteX48" fmla="*/ 4652963 w 4838700"/>
                <a:gd name="connsiteY48" fmla="*/ 358234 h 601121"/>
                <a:gd name="connsiteX49" fmla="*/ 4648200 w 4838700"/>
                <a:gd name="connsiteY49" fmla="*/ 377284 h 601121"/>
                <a:gd name="connsiteX50" fmla="*/ 4662488 w 4838700"/>
                <a:gd name="connsiteY50" fmla="*/ 391571 h 601121"/>
                <a:gd name="connsiteX51" fmla="*/ 4695825 w 4838700"/>
                <a:gd name="connsiteY51" fmla="*/ 420146 h 601121"/>
                <a:gd name="connsiteX52" fmla="*/ 4729163 w 4838700"/>
                <a:gd name="connsiteY52" fmla="*/ 448721 h 601121"/>
                <a:gd name="connsiteX53" fmla="*/ 4762500 w 4838700"/>
                <a:gd name="connsiteY53" fmla="*/ 486821 h 601121"/>
                <a:gd name="connsiteX54" fmla="*/ 4800600 w 4838700"/>
                <a:gd name="connsiteY54" fmla="*/ 543971 h 601121"/>
                <a:gd name="connsiteX55" fmla="*/ 4824413 w 4838700"/>
                <a:gd name="connsiteY55" fmla="*/ 582071 h 601121"/>
                <a:gd name="connsiteX56" fmla="*/ 4838700 w 4838700"/>
                <a:gd name="connsiteY56" fmla="*/ 601121 h 601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838700" h="601121">
                  <a:moveTo>
                    <a:pt x="0" y="282034"/>
                  </a:moveTo>
                  <a:lnTo>
                    <a:pt x="195263" y="205834"/>
                  </a:lnTo>
                  <a:cubicBezTo>
                    <a:pt x="241300" y="187578"/>
                    <a:pt x="276225" y="172496"/>
                    <a:pt x="276225" y="172496"/>
                  </a:cubicBezTo>
                  <a:cubicBezTo>
                    <a:pt x="297656" y="163765"/>
                    <a:pt x="296069" y="148683"/>
                    <a:pt x="323850" y="153446"/>
                  </a:cubicBezTo>
                  <a:cubicBezTo>
                    <a:pt x="351631" y="158208"/>
                    <a:pt x="413544" y="197896"/>
                    <a:pt x="442913" y="201071"/>
                  </a:cubicBezTo>
                  <a:cubicBezTo>
                    <a:pt x="472282" y="204246"/>
                    <a:pt x="484188" y="186783"/>
                    <a:pt x="500063" y="172496"/>
                  </a:cubicBezTo>
                  <a:cubicBezTo>
                    <a:pt x="515938" y="158208"/>
                    <a:pt x="508795" y="130427"/>
                    <a:pt x="538163" y="115346"/>
                  </a:cubicBezTo>
                  <a:cubicBezTo>
                    <a:pt x="567531" y="100265"/>
                    <a:pt x="615156" y="89946"/>
                    <a:pt x="676275" y="82009"/>
                  </a:cubicBezTo>
                  <a:cubicBezTo>
                    <a:pt x="737394" y="74071"/>
                    <a:pt x="830263" y="73277"/>
                    <a:pt x="904875" y="67721"/>
                  </a:cubicBezTo>
                  <a:cubicBezTo>
                    <a:pt x="979487" y="62165"/>
                    <a:pt x="1123950" y="48671"/>
                    <a:pt x="1123950" y="48671"/>
                  </a:cubicBezTo>
                  <a:lnTo>
                    <a:pt x="1328738" y="29621"/>
                  </a:lnTo>
                  <a:lnTo>
                    <a:pt x="1504950" y="15334"/>
                  </a:lnTo>
                  <a:cubicBezTo>
                    <a:pt x="1566069" y="10572"/>
                    <a:pt x="1637506" y="1046"/>
                    <a:pt x="1695450" y="1046"/>
                  </a:cubicBezTo>
                  <a:cubicBezTo>
                    <a:pt x="1753394" y="1046"/>
                    <a:pt x="1823244" y="11365"/>
                    <a:pt x="1852613" y="15334"/>
                  </a:cubicBezTo>
                  <a:cubicBezTo>
                    <a:pt x="1881982" y="19303"/>
                    <a:pt x="1863726" y="24065"/>
                    <a:pt x="1871663" y="24859"/>
                  </a:cubicBezTo>
                  <a:cubicBezTo>
                    <a:pt x="1879600" y="25653"/>
                    <a:pt x="1893094" y="23271"/>
                    <a:pt x="1900238" y="20096"/>
                  </a:cubicBezTo>
                  <a:cubicBezTo>
                    <a:pt x="1907382" y="16921"/>
                    <a:pt x="1908969" y="8984"/>
                    <a:pt x="1914525" y="5809"/>
                  </a:cubicBezTo>
                  <a:cubicBezTo>
                    <a:pt x="1920081" y="2634"/>
                    <a:pt x="1915319" y="-2129"/>
                    <a:pt x="1933575" y="1046"/>
                  </a:cubicBezTo>
                  <a:cubicBezTo>
                    <a:pt x="1951831" y="4221"/>
                    <a:pt x="2024063" y="24859"/>
                    <a:pt x="2024063" y="24859"/>
                  </a:cubicBezTo>
                  <a:cubicBezTo>
                    <a:pt x="2067719" y="35971"/>
                    <a:pt x="2146301" y="53433"/>
                    <a:pt x="2195513" y="67721"/>
                  </a:cubicBezTo>
                  <a:cubicBezTo>
                    <a:pt x="2244726" y="82008"/>
                    <a:pt x="2276476" y="97090"/>
                    <a:pt x="2319338" y="110584"/>
                  </a:cubicBezTo>
                  <a:cubicBezTo>
                    <a:pt x="2362201" y="124078"/>
                    <a:pt x="2409032" y="137572"/>
                    <a:pt x="2452688" y="148684"/>
                  </a:cubicBezTo>
                  <a:cubicBezTo>
                    <a:pt x="2496344" y="159796"/>
                    <a:pt x="2541588" y="169322"/>
                    <a:pt x="2581275" y="177259"/>
                  </a:cubicBezTo>
                  <a:cubicBezTo>
                    <a:pt x="2620962" y="185196"/>
                    <a:pt x="2690813" y="196309"/>
                    <a:pt x="2690813" y="196309"/>
                  </a:cubicBezTo>
                  <a:cubicBezTo>
                    <a:pt x="2731294" y="203453"/>
                    <a:pt x="2787651" y="212184"/>
                    <a:pt x="2824163" y="220121"/>
                  </a:cubicBezTo>
                  <a:cubicBezTo>
                    <a:pt x="2860675" y="228058"/>
                    <a:pt x="2874963" y="240759"/>
                    <a:pt x="2909888" y="243934"/>
                  </a:cubicBezTo>
                  <a:cubicBezTo>
                    <a:pt x="2944813" y="247109"/>
                    <a:pt x="2990851" y="239171"/>
                    <a:pt x="3033713" y="239171"/>
                  </a:cubicBezTo>
                  <a:cubicBezTo>
                    <a:pt x="3076575" y="239171"/>
                    <a:pt x="3121026" y="243934"/>
                    <a:pt x="3167063" y="243934"/>
                  </a:cubicBezTo>
                  <a:cubicBezTo>
                    <a:pt x="3213100" y="243934"/>
                    <a:pt x="3261519" y="237583"/>
                    <a:pt x="3309938" y="239171"/>
                  </a:cubicBezTo>
                  <a:cubicBezTo>
                    <a:pt x="3358357" y="240758"/>
                    <a:pt x="3409950" y="247109"/>
                    <a:pt x="3457575" y="253459"/>
                  </a:cubicBezTo>
                  <a:cubicBezTo>
                    <a:pt x="3505200" y="259809"/>
                    <a:pt x="3552032" y="268540"/>
                    <a:pt x="3595688" y="277271"/>
                  </a:cubicBezTo>
                  <a:cubicBezTo>
                    <a:pt x="3639344" y="286002"/>
                    <a:pt x="3679032" y="293940"/>
                    <a:pt x="3719513" y="305846"/>
                  </a:cubicBezTo>
                  <a:cubicBezTo>
                    <a:pt x="3759994" y="317752"/>
                    <a:pt x="3807619" y="333628"/>
                    <a:pt x="3838575" y="348709"/>
                  </a:cubicBezTo>
                  <a:cubicBezTo>
                    <a:pt x="3869531" y="363790"/>
                    <a:pt x="3886994" y="379665"/>
                    <a:pt x="3905250" y="396334"/>
                  </a:cubicBezTo>
                  <a:cubicBezTo>
                    <a:pt x="3923506" y="413003"/>
                    <a:pt x="3937000" y="433640"/>
                    <a:pt x="3948113" y="448721"/>
                  </a:cubicBezTo>
                  <a:cubicBezTo>
                    <a:pt x="3959226" y="463802"/>
                    <a:pt x="3967956" y="478884"/>
                    <a:pt x="3971925" y="486821"/>
                  </a:cubicBezTo>
                  <a:cubicBezTo>
                    <a:pt x="3975894" y="494758"/>
                    <a:pt x="3965575" y="497934"/>
                    <a:pt x="3971925" y="496346"/>
                  </a:cubicBezTo>
                  <a:cubicBezTo>
                    <a:pt x="3978275" y="494759"/>
                    <a:pt x="3994944" y="483646"/>
                    <a:pt x="4010025" y="477296"/>
                  </a:cubicBezTo>
                  <a:cubicBezTo>
                    <a:pt x="4025106" y="470946"/>
                    <a:pt x="4051301" y="464596"/>
                    <a:pt x="4062413" y="458246"/>
                  </a:cubicBezTo>
                  <a:cubicBezTo>
                    <a:pt x="4073525" y="451896"/>
                    <a:pt x="4075906" y="443958"/>
                    <a:pt x="4076700" y="439196"/>
                  </a:cubicBezTo>
                  <a:cubicBezTo>
                    <a:pt x="4077494" y="434434"/>
                    <a:pt x="4062413" y="434433"/>
                    <a:pt x="4067175" y="429671"/>
                  </a:cubicBezTo>
                  <a:cubicBezTo>
                    <a:pt x="4071937" y="424909"/>
                    <a:pt x="4083844" y="416971"/>
                    <a:pt x="4105275" y="410621"/>
                  </a:cubicBezTo>
                  <a:cubicBezTo>
                    <a:pt x="4126706" y="404271"/>
                    <a:pt x="4195763" y="391571"/>
                    <a:pt x="4195763" y="391571"/>
                  </a:cubicBezTo>
                  <a:lnTo>
                    <a:pt x="4310063" y="367759"/>
                  </a:lnTo>
                  <a:cubicBezTo>
                    <a:pt x="4347369" y="360615"/>
                    <a:pt x="4419600" y="348709"/>
                    <a:pt x="4419600" y="348709"/>
                  </a:cubicBezTo>
                  <a:lnTo>
                    <a:pt x="4533900" y="329659"/>
                  </a:lnTo>
                  <a:cubicBezTo>
                    <a:pt x="4566444" y="324897"/>
                    <a:pt x="4597401" y="320134"/>
                    <a:pt x="4614863" y="320134"/>
                  </a:cubicBezTo>
                  <a:cubicBezTo>
                    <a:pt x="4632325" y="320134"/>
                    <a:pt x="4632325" y="323309"/>
                    <a:pt x="4638675" y="329659"/>
                  </a:cubicBezTo>
                  <a:cubicBezTo>
                    <a:pt x="4645025" y="336009"/>
                    <a:pt x="4651375" y="350296"/>
                    <a:pt x="4652963" y="358234"/>
                  </a:cubicBezTo>
                  <a:cubicBezTo>
                    <a:pt x="4654551" y="366172"/>
                    <a:pt x="4646613" y="371728"/>
                    <a:pt x="4648200" y="377284"/>
                  </a:cubicBezTo>
                  <a:cubicBezTo>
                    <a:pt x="4649787" y="382840"/>
                    <a:pt x="4654551" y="384427"/>
                    <a:pt x="4662488" y="391571"/>
                  </a:cubicBezTo>
                  <a:cubicBezTo>
                    <a:pt x="4670425" y="398715"/>
                    <a:pt x="4695825" y="420146"/>
                    <a:pt x="4695825" y="420146"/>
                  </a:cubicBezTo>
                  <a:cubicBezTo>
                    <a:pt x="4706938" y="429671"/>
                    <a:pt x="4718051" y="437609"/>
                    <a:pt x="4729163" y="448721"/>
                  </a:cubicBezTo>
                  <a:cubicBezTo>
                    <a:pt x="4740275" y="459833"/>
                    <a:pt x="4750594" y="470946"/>
                    <a:pt x="4762500" y="486821"/>
                  </a:cubicBezTo>
                  <a:cubicBezTo>
                    <a:pt x="4774406" y="502696"/>
                    <a:pt x="4790281" y="528096"/>
                    <a:pt x="4800600" y="543971"/>
                  </a:cubicBezTo>
                  <a:cubicBezTo>
                    <a:pt x="4810919" y="559846"/>
                    <a:pt x="4818063" y="572546"/>
                    <a:pt x="4824413" y="582071"/>
                  </a:cubicBezTo>
                  <a:cubicBezTo>
                    <a:pt x="4830763" y="591596"/>
                    <a:pt x="4834731" y="596358"/>
                    <a:pt x="4838700" y="601121"/>
                  </a:cubicBezTo>
                </a:path>
              </a:pathLst>
            </a:custGeom>
            <a:noFill/>
            <a:ln w="57150">
              <a:solidFill>
                <a:schemeClr val="accent4">
                  <a:lumMod val="90000"/>
                  <a:lumOff val="1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9" name="Овал 248"/>
            <p:cNvSpPr/>
            <p:nvPr/>
          </p:nvSpPr>
          <p:spPr>
            <a:xfrm>
              <a:off x="2517911" y="1408051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50" name="Овал 249"/>
            <p:cNvSpPr/>
            <p:nvPr/>
          </p:nvSpPr>
          <p:spPr>
            <a:xfrm>
              <a:off x="3975092" y="1732019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51" name="Овал 250"/>
            <p:cNvSpPr/>
            <p:nvPr/>
          </p:nvSpPr>
          <p:spPr>
            <a:xfrm>
              <a:off x="5472116" y="1959531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52" name="Овал 251"/>
            <p:cNvSpPr/>
            <p:nvPr/>
          </p:nvSpPr>
          <p:spPr>
            <a:xfrm>
              <a:off x="7378074" y="1770128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55" name="Полилиния 254"/>
            <p:cNvSpPr/>
            <p:nvPr/>
          </p:nvSpPr>
          <p:spPr>
            <a:xfrm>
              <a:off x="7213505" y="1381013"/>
              <a:ext cx="1289342" cy="894025"/>
            </a:xfrm>
            <a:custGeom>
              <a:avLst/>
              <a:gdLst>
                <a:gd name="connsiteX0" fmla="*/ 0 w 1403350"/>
                <a:gd name="connsiteY0" fmla="*/ 82550 h 908050"/>
                <a:gd name="connsiteX1" fmla="*/ 50800 w 1403350"/>
                <a:gd name="connsiteY1" fmla="*/ 69850 h 908050"/>
                <a:gd name="connsiteX2" fmla="*/ 69850 w 1403350"/>
                <a:gd name="connsiteY2" fmla="*/ 57150 h 908050"/>
                <a:gd name="connsiteX3" fmla="*/ 101600 w 1403350"/>
                <a:gd name="connsiteY3" fmla="*/ 50800 h 908050"/>
                <a:gd name="connsiteX4" fmla="*/ 120650 w 1403350"/>
                <a:gd name="connsiteY4" fmla="*/ 44450 h 908050"/>
                <a:gd name="connsiteX5" fmla="*/ 241300 w 1403350"/>
                <a:gd name="connsiteY5" fmla="*/ 38100 h 908050"/>
                <a:gd name="connsiteX6" fmla="*/ 425450 w 1403350"/>
                <a:gd name="connsiteY6" fmla="*/ 19050 h 908050"/>
                <a:gd name="connsiteX7" fmla="*/ 546100 w 1403350"/>
                <a:gd name="connsiteY7" fmla="*/ 6350 h 908050"/>
                <a:gd name="connsiteX8" fmla="*/ 609600 w 1403350"/>
                <a:gd name="connsiteY8" fmla="*/ 0 h 908050"/>
                <a:gd name="connsiteX9" fmla="*/ 781050 w 1403350"/>
                <a:gd name="connsiteY9" fmla="*/ 6350 h 908050"/>
                <a:gd name="connsiteX10" fmla="*/ 825500 w 1403350"/>
                <a:gd name="connsiteY10" fmla="*/ 25400 h 908050"/>
                <a:gd name="connsiteX11" fmla="*/ 869950 w 1403350"/>
                <a:gd name="connsiteY11" fmla="*/ 38100 h 908050"/>
                <a:gd name="connsiteX12" fmla="*/ 914400 w 1403350"/>
                <a:gd name="connsiteY12" fmla="*/ 63500 h 908050"/>
                <a:gd name="connsiteX13" fmla="*/ 984250 w 1403350"/>
                <a:gd name="connsiteY13" fmla="*/ 82550 h 908050"/>
                <a:gd name="connsiteX14" fmla="*/ 1022350 w 1403350"/>
                <a:gd name="connsiteY14" fmla="*/ 107950 h 908050"/>
                <a:gd name="connsiteX15" fmla="*/ 1060450 w 1403350"/>
                <a:gd name="connsiteY15" fmla="*/ 120650 h 908050"/>
                <a:gd name="connsiteX16" fmla="*/ 1079500 w 1403350"/>
                <a:gd name="connsiteY16" fmla="*/ 127000 h 908050"/>
                <a:gd name="connsiteX17" fmla="*/ 1143000 w 1403350"/>
                <a:gd name="connsiteY17" fmla="*/ 158750 h 908050"/>
                <a:gd name="connsiteX18" fmla="*/ 1162050 w 1403350"/>
                <a:gd name="connsiteY18" fmla="*/ 171450 h 908050"/>
                <a:gd name="connsiteX19" fmla="*/ 1200150 w 1403350"/>
                <a:gd name="connsiteY19" fmla="*/ 209550 h 908050"/>
                <a:gd name="connsiteX20" fmla="*/ 1244600 w 1403350"/>
                <a:gd name="connsiteY20" fmla="*/ 241300 h 908050"/>
                <a:gd name="connsiteX21" fmla="*/ 1257300 w 1403350"/>
                <a:gd name="connsiteY21" fmla="*/ 260350 h 908050"/>
                <a:gd name="connsiteX22" fmla="*/ 1295400 w 1403350"/>
                <a:gd name="connsiteY22" fmla="*/ 285750 h 908050"/>
                <a:gd name="connsiteX23" fmla="*/ 1314450 w 1403350"/>
                <a:gd name="connsiteY23" fmla="*/ 311150 h 908050"/>
                <a:gd name="connsiteX24" fmla="*/ 1352550 w 1403350"/>
                <a:gd name="connsiteY24" fmla="*/ 349250 h 908050"/>
                <a:gd name="connsiteX25" fmla="*/ 1390650 w 1403350"/>
                <a:gd name="connsiteY25" fmla="*/ 425450 h 908050"/>
                <a:gd name="connsiteX26" fmla="*/ 1403350 w 1403350"/>
                <a:gd name="connsiteY26" fmla="*/ 444500 h 908050"/>
                <a:gd name="connsiteX27" fmla="*/ 1397000 w 1403350"/>
                <a:gd name="connsiteY27" fmla="*/ 552450 h 908050"/>
                <a:gd name="connsiteX28" fmla="*/ 1384300 w 1403350"/>
                <a:gd name="connsiteY28" fmla="*/ 590550 h 908050"/>
                <a:gd name="connsiteX29" fmla="*/ 1327150 w 1403350"/>
                <a:gd name="connsiteY29" fmla="*/ 622300 h 908050"/>
                <a:gd name="connsiteX30" fmla="*/ 1308100 w 1403350"/>
                <a:gd name="connsiteY30" fmla="*/ 635000 h 908050"/>
                <a:gd name="connsiteX31" fmla="*/ 1270000 w 1403350"/>
                <a:gd name="connsiteY31" fmla="*/ 660400 h 908050"/>
                <a:gd name="connsiteX32" fmla="*/ 1231900 w 1403350"/>
                <a:gd name="connsiteY32" fmla="*/ 673100 h 908050"/>
                <a:gd name="connsiteX33" fmla="*/ 1219200 w 1403350"/>
                <a:gd name="connsiteY33" fmla="*/ 692150 h 908050"/>
                <a:gd name="connsiteX34" fmla="*/ 1212850 w 1403350"/>
                <a:gd name="connsiteY34" fmla="*/ 711200 h 908050"/>
                <a:gd name="connsiteX35" fmla="*/ 1187450 w 1403350"/>
                <a:gd name="connsiteY35" fmla="*/ 749300 h 908050"/>
                <a:gd name="connsiteX36" fmla="*/ 1174750 w 1403350"/>
                <a:gd name="connsiteY36" fmla="*/ 768350 h 908050"/>
                <a:gd name="connsiteX37" fmla="*/ 1155700 w 1403350"/>
                <a:gd name="connsiteY37" fmla="*/ 781050 h 908050"/>
                <a:gd name="connsiteX38" fmla="*/ 1123950 w 1403350"/>
                <a:gd name="connsiteY38" fmla="*/ 844550 h 908050"/>
                <a:gd name="connsiteX39" fmla="*/ 1117600 w 1403350"/>
                <a:gd name="connsiteY39" fmla="*/ 863600 h 908050"/>
                <a:gd name="connsiteX40" fmla="*/ 1117600 w 1403350"/>
                <a:gd name="connsiteY40" fmla="*/ 908050 h 908050"/>
                <a:gd name="connsiteX0" fmla="*/ 0 w 1403350"/>
                <a:gd name="connsiteY0" fmla="*/ 76200 h 901700"/>
                <a:gd name="connsiteX1" fmla="*/ 50800 w 1403350"/>
                <a:gd name="connsiteY1" fmla="*/ 63500 h 901700"/>
                <a:gd name="connsiteX2" fmla="*/ 69850 w 1403350"/>
                <a:gd name="connsiteY2" fmla="*/ 50800 h 901700"/>
                <a:gd name="connsiteX3" fmla="*/ 101600 w 1403350"/>
                <a:gd name="connsiteY3" fmla="*/ 44450 h 901700"/>
                <a:gd name="connsiteX4" fmla="*/ 120650 w 1403350"/>
                <a:gd name="connsiteY4" fmla="*/ 38100 h 901700"/>
                <a:gd name="connsiteX5" fmla="*/ 241300 w 1403350"/>
                <a:gd name="connsiteY5" fmla="*/ 31750 h 901700"/>
                <a:gd name="connsiteX6" fmla="*/ 425450 w 1403350"/>
                <a:gd name="connsiteY6" fmla="*/ 12700 h 901700"/>
                <a:gd name="connsiteX7" fmla="*/ 546100 w 1403350"/>
                <a:gd name="connsiteY7" fmla="*/ 0 h 901700"/>
                <a:gd name="connsiteX8" fmla="*/ 781050 w 1403350"/>
                <a:gd name="connsiteY8" fmla="*/ 0 h 901700"/>
                <a:gd name="connsiteX9" fmla="*/ 825500 w 1403350"/>
                <a:gd name="connsiteY9" fmla="*/ 19050 h 901700"/>
                <a:gd name="connsiteX10" fmla="*/ 869950 w 1403350"/>
                <a:gd name="connsiteY10" fmla="*/ 31750 h 901700"/>
                <a:gd name="connsiteX11" fmla="*/ 914400 w 1403350"/>
                <a:gd name="connsiteY11" fmla="*/ 57150 h 901700"/>
                <a:gd name="connsiteX12" fmla="*/ 984250 w 1403350"/>
                <a:gd name="connsiteY12" fmla="*/ 76200 h 901700"/>
                <a:gd name="connsiteX13" fmla="*/ 1022350 w 1403350"/>
                <a:gd name="connsiteY13" fmla="*/ 101600 h 901700"/>
                <a:gd name="connsiteX14" fmla="*/ 1060450 w 1403350"/>
                <a:gd name="connsiteY14" fmla="*/ 114300 h 901700"/>
                <a:gd name="connsiteX15" fmla="*/ 1079500 w 1403350"/>
                <a:gd name="connsiteY15" fmla="*/ 120650 h 901700"/>
                <a:gd name="connsiteX16" fmla="*/ 1143000 w 1403350"/>
                <a:gd name="connsiteY16" fmla="*/ 152400 h 901700"/>
                <a:gd name="connsiteX17" fmla="*/ 1162050 w 1403350"/>
                <a:gd name="connsiteY17" fmla="*/ 165100 h 901700"/>
                <a:gd name="connsiteX18" fmla="*/ 1200150 w 1403350"/>
                <a:gd name="connsiteY18" fmla="*/ 203200 h 901700"/>
                <a:gd name="connsiteX19" fmla="*/ 1244600 w 1403350"/>
                <a:gd name="connsiteY19" fmla="*/ 234950 h 901700"/>
                <a:gd name="connsiteX20" fmla="*/ 1257300 w 1403350"/>
                <a:gd name="connsiteY20" fmla="*/ 254000 h 901700"/>
                <a:gd name="connsiteX21" fmla="*/ 1295400 w 1403350"/>
                <a:gd name="connsiteY21" fmla="*/ 279400 h 901700"/>
                <a:gd name="connsiteX22" fmla="*/ 1314450 w 1403350"/>
                <a:gd name="connsiteY22" fmla="*/ 304800 h 901700"/>
                <a:gd name="connsiteX23" fmla="*/ 1352550 w 1403350"/>
                <a:gd name="connsiteY23" fmla="*/ 342900 h 901700"/>
                <a:gd name="connsiteX24" fmla="*/ 1390650 w 1403350"/>
                <a:gd name="connsiteY24" fmla="*/ 419100 h 901700"/>
                <a:gd name="connsiteX25" fmla="*/ 1403350 w 1403350"/>
                <a:gd name="connsiteY25" fmla="*/ 438150 h 901700"/>
                <a:gd name="connsiteX26" fmla="*/ 1397000 w 1403350"/>
                <a:gd name="connsiteY26" fmla="*/ 546100 h 901700"/>
                <a:gd name="connsiteX27" fmla="*/ 1384300 w 1403350"/>
                <a:gd name="connsiteY27" fmla="*/ 584200 h 901700"/>
                <a:gd name="connsiteX28" fmla="*/ 1327150 w 1403350"/>
                <a:gd name="connsiteY28" fmla="*/ 615950 h 901700"/>
                <a:gd name="connsiteX29" fmla="*/ 1308100 w 1403350"/>
                <a:gd name="connsiteY29" fmla="*/ 628650 h 901700"/>
                <a:gd name="connsiteX30" fmla="*/ 1270000 w 1403350"/>
                <a:gd name="connsiteY30" fmla="*/ 654050 h 901700"/>
                <a:gd name="connsiteX31" fmla="*/ 1231900 w 1403350"/>
                <a:gd name="connsiteY31" fmla="*/ 666750 h 901700"/>
                <a:gd name="connsiteX32" fmla="*/ 1219200 w 1403350"/>
                <a:gd name="connsiteY32" fmla="*/ 685800 h 901700"/>
                <a:gd name="connsiteX33" fmla="*/ 1212850 w 1403350"/>
                <a:gd name="connsiteY33" fmla="*/ 704850 h 901700"/>
                <a:gd name="connsiteX34" fmla="*/ 1187450 w 1403350"/>
                <a:gd name="connsiteY34" fmla="*/ 742950 h 901700"/>
                <a:gd name="connsiteX35" fmla="*/ 1174750 w 1403350"/>
                <a:gd name="connsiteY35" fmla="*/ 762000 h 901700"/>
                <a:gd name="connsiteX36" fmla="*/ 1155700 w 1403350"/>
                <a:gd name="connsiteY36" fmla="*/ 774700 h 901700"/>
                <a:gd name="connsiteX37" fmla="*/ 1123950 w 1403350"/>
                <a:gd name="connsiteY37" fmla="*/ 838200 h 901700"/>
                <a:gd name="connsiteX38" fmla="*/ 1117600 w 1403350"/>
                <a:gd name="connsiteY38" fmla="*/ 857250 h 901700"/>
                <a:gd name="connsiteX39" fmla="*/ 1117600 w 1403350"/>
                <a:gd name="connsiteY39" fmla="*/ 901700 h 901700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120650 w 1403350"/>
                <a:gd name="connsiteY4" fmla="*/ 69056 h 932656"/>
                <a:gd name="connsiteX5" fmla="*/ 241300 w 1403350"/>
                <a:gd name="connsiteY5" fmla="*/ 62706 h 932656"/>
                <a:gd name="connsiteX6" fmla="*/ 425450 w 1403350"/>
                <a:gd name="connsiteY6" fmla="*/ 43656 h 932656"/>
                <a:gd name="connsiteX7" fmla="*/ 498475 w 1403350"/>
                <a:gd name="connsiteY7" fmla="*/ 0 h 932656"/>
                <a:gd name="connsiteX8" fmla="*/ 781050 w 1403350"/>
                <a:gd name="connsiteY8" fmla="*/ 30956 h 932656"/>
                <a:gd name="connsiteX9" fmla="*/ 825500 w 1403350"/>
                <a:gd name="connsiteY9" fmla="*/ 50006 h 932656"/>
                <a:gd name="connsiteX10" fmla="*/ 869950 w 1403350"/>
                <a:gd name="connsiteY10" fmla="*/ 62706 h 932656"/>
                <a:gd name="connsiteX11" fmla="*/ 914400 w 1403350"/>
                <a:gd name="connsiteY11" fmla="*/ 88106 h 932656"/>
                <a:gd name="connsiteX12" fmla="*/ 984250 w 1403350"/>
                <a:gd name="connsiteY12" fmla="*/ 107156 h 932656"/>
                <a:gd name="connsiteX13" fmla="*/ 1022350 w 1403350"/>
                <a:gd name="connsiteY13" fmla="*/ 132556 h 932656"/>
                <a:gd name="connsiteX14" fmla="*/ 1060450 w 1403350"/>
                <a:gd name="connsiteY14" fmla="*/ 145256 h 932656"/>
                <a:gd name="connsiteX15" fmla="*/ 1079500 w 1403350"/>
                <a:gd name="connsiteY15" fmla="*/ 151606 h 932656"/>
                <a:gd name="connsiteX16" fmla="*/ 1143000 w 1403350"/>
                <a:gd name="connsiteY16" fmla="*/ 183356 h 932656"/>
                <a:gd name="connsiteX17" fmla="*/ 1162050 w 1403350"/>
                <a:gd name="connsiteY17" fmla="*/ 196056 h 932656"/>
                <a:gd name="connsiteX18" fmla="*/ 1200150 w 1403350"/>
                <a:gd name="connsiteY18" fmla="*/ 234156 h 932656"/>
                <a:gd name="connsiteX19" fmla="*/ 1244600 w 1403350"/>
                <a:gd name="connsiteY19" fmla="*/ 265906 h 932656"/>
                <a:gd name="connsiteX20" fmla="*/ 1257300 w 1403350"/>
                <a:gd name="connsiteY20" fmla="*/ 284956 h 932656"/>
                <a:gd name="connsiteX21" fmla="*/ 1295400 w 1403350"/>
                <a:gd name="connsiteY21" fmla="*/ 310356 h 932656"/>
                <a:gd name="connsiteX22" fmla="*/ 1314450 w 1403350"/>
                <a:gd name="connsiteY22" fmla="*/ 335756 h 932656"/>
                <a:gd name="connsiteX23" fmla="*/ 1352550 w 1403350"/>
                <a:gd name="connsiteY23" fmla="*/ 373856 h 932656"/>
                <a:gd name="connsiteX24" fmla="*/ 1390650 w 1403350"/>
                <a:gd name="connsiteY24" fmla="*/ 450056 h 932656"/>
                <a:gd name="connsiteX25" fmla="*/ 1403350 w 1403350"/>
                <a:gd name="connsiteY25" fmla="*/ 469106 h 932656"/>
                <a:gd name="connsiteX26" fmla="*/ 1397000 w 1403350"/>
                <a:gd name="connsiteY26" fmla="*/ 577056 h 932656"/>
                <a:gd name="connsiteX27" fmla="*/ 1384300 w 1403350"/>
                <a:gd name="connsiteY27" fmla="*/ 615156 h 932656"/>
                <a:gd name="connsiteX28" fmla="*/ 1327150 w 1403350"/>
                <a:gd name="connsiteY28" fmla="*/ 646906 h 932656"/>
                <a:gd name="connsiteX29" fmla="*/ 1308100 w 1403350"/>
                <a:gd name="connsiteY29" fmla="*/ 659606 h 932656"/>
                <a:gd name="connsiteX30" fmla="*/ 1270000 w 1403350"/>
                <a:gd name="connsiteY30" fmla="*/ 685006 h 932656"/>
                <a:gd name="connsiteX31" fmla="*/ 1231900 w 1403350"/>
                <a:gd name="connsiteY31" fmla="*/ 697706 h 932656"/>
                <a:gd name="connsiteX32" fmla="*/ 1219200 w 1403350"/>
                <a:gd name="connsiteY32" fmla="*/ 716756 h 932656"/>
                <a:gd name="connsiteX33" fmla="*/ 1212850 w 1403350"/>
                <a:gd name="connsiteY33" fmla="*/ 735806 h 932656"/>
                <a:gd name="connsiteX34" fmla="*/ 1187450 w 1403350"/>
                <a:gd name="connsiteY34" fmla="*/ 773906 h 932656"/>
                <a:gd name="connsiteX35" fmla="*/ 1174750 w 1403350"/>
                <a:gd name="connsiteY35" fmla="*/ 792956 h 932656"/>
                <a:gd name="connsiteX36" fmla="*/ 1155700 w 1403350"/>
                <a:gd name="connsiteY36" fmla="*/ 805656 h 932656"/>
                <a:gd name="connsiteX37" fmla="*/ 1123950 w 1403350"/>
                <a:gd name="connsiteY37" fmla="*/ 869156 h 932656"/>
                <a:gd name="connsiteX38" fmla="*/ 1117600 w 1403350"/>
                <a:gd name="connsiteY38" fmla="*/ 888206 h 932656"/>
                <a:gd name="connsiteX39" fmla="*/ 1117600 w 1403350"/>
                <a:gd name="connsiteY39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120650 w 1403350"/>
                <a:gd name="connsiteY4" fmla="*/ 69056 h 932656"/>
                <a:gd name="connsiteX5" fmla="*/ 241300 w 1403350"/>
                <a:gd name="connsiteY5" fmla="*/ 62706 h 932656"/>
                <a:gd name="connsiteX6" fmla="*/ 425450 w 1403350"/>
                <a:gd name="connsiteY6" fmla="*/ 43656 h 932656"/>
                <a:gd name="connsiteX7" fmla="*/ 498475 w 1403350"/>
                <a:gd name="connsiteY7" fmla="*/ 0 h 932656"/>
                <a:gd name="connsiteX8" fmla="*/ 781050 w 1403350"/>
                <a:gd name="connsiteY8" fmla="*/ 30956 h 932656"/>
                <a:gd name="connsiteX9" fmla="*/ 825500 w 1403350"/>
                <a:gd name="connsiteY9" fmla="*/ 50006 h 932656"/>
                <a:gd name="connsiteX10" fmla="*/ 869950 w 1403350"/>
                <a:gd name="connsiteY10" fmla="*/ 62706 h 932656"/>
                <a:gd name="connsiteX11" fmla="*/ 914400 w 1403350"/>
                <a:gd name="connsiteY11" fmla="*/ 88106 h 932656"/>
                <a:gd name="connsiteX12" fmla="*/ 984250 w 1403350"/>
                <a:gd name="connsiteY12" fmla="*/ 107156 h 932656"/>
                <a:gd name="connsiteX13" fmla="*/ 1022350 w 1403350"/>
                <a:gd name="connsiteY13" fmla="*/ 132556 h 932656"/>
                <a:gd name="connsiteX14" fmla="*/ 1060450 w 1403350"/>
                <a:gd name="connsiteY14" fmla="*/ 145256 h 932656"/>
                <a:gd name="connsiteX15" fmla="*/ 1079500 w 1403350"/>
                <a:gd name="connsiteY15" fmla="*/ 151606 h 932656"/>
                <a:gd name="connsiteX16" fmla="*/ 1143000 w 1403350"/>
                <a:gd name="connsiteY16" fmla="*/ 183356 h 932656"/>
                <a:gd name="connsiteX17" fmla="*/ 1162050 w 1403350"/>
                <a:gd name="connsiteY17" fmla="*/ 196056 h 932656"/>
                <a:gd name="connsiteX18" fmla="*/ 1200150 w 1403350"/>
                <a:gd name="connsiteY18" fmla="*/ 234156 h 932656"/>
                <a:gd name="connsiteX19" fmla="*/ 1244600 w 1403350"/>
                <a:gd name="connsiteY19" fmla="*/ 265906 h 932656"/>
                <a:gd name="connsiteX20" fmla="*/ 1257300 w 1403350"/>
                <a:gd name="connsiteY20" fmla="*/ 284956 h 932656"/>
                <a:gd name="connsiteX21" fmla="*/ 1295400 w 1403350"/>
                <a:gd name="connsiteY21" fmla="*/ 310356 h 932656"/>
                <a:gd name="connsiteX22" fmla="*/ 1314450 w 1403350"/>
                <a:gd name="connsiteY22" fmla="*/ 335756 h 932656"/>
                <a:gd name="connsiteX23" fmla="*/ 1352550 w 1403350"/>
                <a:gd name="connsiteY23" fmla="*/ 373856 h 932656"/>
                <a:gd name="connsiteX24" fmla="*/ 1390650 w 1403350"/>
                <a:gd name="connsiteY24" fmla="*/ 450056 h 932656"/>
                <a:gd name="connsiteX25" fmla="*/ 1403350 w 1403350"/>
                <a:gd name="connsiteY25" fmla="*/ 469106 h 932656"/>
                <a:gd name="connsiteX26" fmla="*/ 1397000 w 1403350"/>
                <a:gd name="connsiteY26" fmla="*/ 577056 h 932656"/>
                <a:gd name="connsiteX27" fmla="*/ 1384300 w 1403350"/>
                <a:gd name="connsiteY27" fmla="*/ 615156 h 932656"/>
                <a:gd name="connsiteX28" fmla="*/ 1327150 w 1403350"/>
                <a:gd name="connsiteY28" fmla="*/ 646906 h 932656"/>
                <a:gd name="connsiteX29" fmla="*/ 1308100 w 1403350"/>
                <a:gd name="connsiteY29" fmla="*/ 659606 h 932656"/>
                <a:gd name="connsiteX30" fmla="*/ 1270000 w 1403350"/>
                <a:gd name="connsiteY30" fmla="*/ 685006 h 932656"/>
                <a:gd name="connsiteX31" fmla="*/ 1231900 w 1403350"/>
                <a:gd name="connsiteY31" fmla="*/ 697706 h 932656"/>
                <a:gd name="connsiteX32" fmla="*/ 1219200 w 1403350"/>
                <a:gd name="connsiteY32" fmla="*/ 716756 h 932656"/>
                <a:gd name="connsiteX33" fmla="*/ 1212850 w 1403350"/>
                <a:gd name="connsiteY33" fmla="*/ 735806 h 932656"/>
                <a:gd name="connsiteX34" fmla="*/ 1187450 w 1403350"/>
                <a:gd name="connsiteY34" fmla="*/ 773906 h 932656"/>
                <a:gd name="connsiteX35" fmla="*/ 1174750 w 1403350"/>
                <a:gd name="connsiteY35" fmla="*/ 792956 h 932656"/>
                <a:gd name="connsiteX36" fmla="*/ 1155700 w 1403350"/>
                <a:gd name="connsiteY36" fmla="*/ 805656 h 932656"/>
                <a:gd name="connsiteX37" fmla="*/ 1123950 w 1403350"/>
                <a:gd name="connsiteY37" fmla="*/ 869156 h 932656"/>
                <a:gd name="connsiteX38" fmla="*/ 1117600 w 1403350"/>
                <a:gd name="connsiteY38" fmla="*/ 888206 h 932656"/>
                <a:gd name="connsiteX39" fmla="*/ 1117600 w 1403350"/>
                <a:gd name="connsiteY39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120650 w 1403350"/>
                <a:gd name="connsiteY4" fmla="*/ 69056 h 932656"/>
                <a:gd name="connsiteX5" fmla="*/ 241300 w 1403350"/>
                <a:gd name="connsiteY5" fmla="*/ 62706 h 932656"/>
                <a:gd name="connsiteX6" fmla="*/ 498475 w 1403350"/>
                <a:gd name="connsiteY6" fmla="*/ 0 h 932656"/>
                <a:gd name="connsiteX7" fmla="*/ 781050 w 1403350"/>
                <a:gd name="connsiteY7" fmla="*/ 30956 h 932656"/>
                <a:gd name="connsiteX8" fmla="*/ 825500 w 1403350"/>
                <a:gd name="connsiteY8" fmla="*/ 50006 h 932656"/>
                <a:gd name="connsiteX9" fmla="*/ 869950 w 1403350"/>
                <a:gd name="connsiteY9" fmla="*/ 62706 h 932656"/>
                <a:gd name="connsiteX10" fmla="*/ 914400 w 1403350"/>
                <a:gd name="connsiteY10" fmla="*/ 88106 h 932656"/>
                <a:gd name="connsiteX11" fmla="*/ 984250 w 1403350"/>
                <a:gd name="connsiteY11" fmla="*/ 107156 h 932656"/>
                <a:gd name="connsiteX12" fmla="*/ 1022350 w 1403350"/>
                <a:gd name="connsiteY12" fmla="*/ 132556 h 932656"/>
                <a:gd name="connsiteX13" fmla="*/ 1060450 w 1403350"/>
                <a:gd name="connsiteY13" fmla="*/ 145256 h 932656"/>
                <a:gd name="connsiteX14" fmla="*/ 1079500 w 1403350"/>
                <a:gd name="connsiteY14" fmla="*/ 151606 h 932656"/>
                <a:gd name="connsiteX15" fmla="*/ 1143000 w 1403350"/>
                <a:gd name="connsiteY15" fmla="*/ 183356 h 932656"/>
                <a:gd name="connsiteX16" fmla="*/ 1162050 w 1403350"/>
                <a:gd name="connsiteY16" fmla="*/ 196056 h 932656"/>
                <a:gd name="connsiteX17" fmla="*/ 1200150 w 1403350"/>
                <a:gd name="connsiteY17" fmla="*/ 234156 h 932656"/>
                <a:gd name="connsiteX18" fmla="*/ 1244600 w 1403350"/>
                <a:gd name="connsiteY18" fmla="*/ 265906 h 932656"/>
                <a:gd name="connsiteX19" fmla="*/ 1257300 w 1403350"/>
                <a:gd name="connsiteY19" fmla="*/ 284956 h 932656"/>
                <a:gd name="connsiteX20" fmla="*/ 1295400 w 1403350"/>
                <a:gd name="connsiteY20" fmla="*/ 310356 h 932656"/>
                <a:gd name="connsiteX21" fmla="*/ 1314450 w 1403350"/>
                <a:gd name="connsiteY21" fmla="*/ 335756 h 932656"/>
                <a:gd name="connsiteX22" fmla="*/ 1352550 w 1403350"/>
                <a:gd name="connsiteY22" fmla="*/ 373856 h 932656"/>
                <a:gd name="connsiteX23" fmla="*/ 1390650 w 1403350"/>
                <a:gd name="connsiteY23" fmla="*/ 450056 h 932656"/>
                <a:gd name="connsiteX24" fmla="*/ 1403350 w 1403350"/>
                <a:gd name="connsiteY24" fmla="*/ 469106 h 932656"/>
                <a:gd name="connsiteX25" fmla="*/ 1397000 w 1403350"/>
                <a:gd name="connsiteY25" fmla="*/ 577056 h 932656"/>
                <a:gd name="connsiteX26" fmla="*/ 1384300 w 1403350"/>
                <a:gd name="connsiteY26" fmla="*/ 615156 h 932656"/>
                <a:gd name="connsiteX27" fmla="*/ 1327150 w 1403350"/>
                <a:gd name="connsiteY27" fmla="*/ 646906 h 932656"/>
                <a:gd name="connsiteX28" fmla="*/ 1308100 w 1403350"/>
                <a:gd name="connsiteY28" fmla="*/ 659606 h 932656"/>
                <a:gd name="connsiteX29" fmla="*/ 1270000 w 1403350"/>
                <a:gd name="connsiteY29" fmla="*/ 685006 h 932656"/>
                <a:gd name="connsiteX30" fmla="*/ 1231900 w 1403350"/>
                <a:gd name="connsiteY30" fmla="*/ 697706 h 932656"/>
                <a:gd name="connsiteX31" fmla="*/ 1219200 w 1403350"/>
                <a:gd name="connsiteY31" fmla="*/ 716756 h 932656"/>
                <a:gd name="connsiteX32" fmla="*/ 1212850 w 1403350"/>
                <a:gd name="connsiteY32" fmla="*/ 735806 h 932656"/>
                <a:gd name="connsiteX33" fmla="*/ 1187450 w 1403350"/>
                <a:gd name="connsiteY33" fmla="*/ 773906 h 932656"/>
                <a:gd name="connsiteX34" fmla="*/ 1174750 w 1403350"/>
                <a:gd name="connsiteY34" fmla="*/ 792956 h 932656"/>
                <a:gd name="connsiteX35" fmla="*/ 1155700 w 1403350"/>
                <a:gd name="connsiteY35" fmla="*/ 805656 h 932656"/>
                <a:gd name="connsiteX36" fmla="*/ 1123950 w 1403350"/>
                <a:gd name="connsiteY36" fmla="*/ 869156 h 932656"/>
                <a:gd name="connsiteX37" fmla="*/ 1117600 w 1403350"/>
                <a:gd name="connsiteY37" fmla="*/ 888206 h 932656"/>
                <a:gd name="connsiteX38" fmla="*/ 1117600 w 1403350"/>
                <a:gd name="connsiteY38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120650 w 1403350"/>
                <a:gd name="connsiteY4" fmla="*/ 69056 h 932656"/>
                <a:gd name="connsiteX5" fmla="*/ 498475 w 1403350"/>
                <a:gd name="connsiteY5" fmla="*/ 0 h 932656"/>
                <a:gd name="connsiteX6" fmla="*/ 781050 w 1403350"/>
                <a:gd name="connsiteY6" fmla="*/ 30956 h 932656"/>
                <a:gd name="connsiteX7" fmla="*/ 825500 w 1403350"/>
                <a:gd name="connsiteY7" fmla="*/ 50006 h 932656"/>
                <a:gd name="connsiteX8" fmla="*/ 869950 w 1403350"/>
                <a:gd name="connsiteY8" fmla="*/ 62706 h 932656"/>
                <a:gd name="connsiteX9" fmla="*/ 914400 w 1403350"/>
                <a:gd name="connsiteY9" fmla="*/ 88106 h 932656"/>
                <a:gd name="connsiteX10" fmla="*/ 984250 w 1403350"/>
                <a:gd name="connsiteY10" fmla="*/ 107156 h 932656"/>
                <a:gd name="connsiteX11" fmla="*/ 1022350 w 1403350"/>
                <a:gd name="connsiteY11" fmla="*/ 132556 h 932656"/>
                <a:gd name="connsiteX12" fmla="*/ 1060450 w 1403350"/>
                <a:gd name="connsiteY12" fmla="*/ 145256 h 932656"/>
                <a:gd name="connsiteX13" fmla="*/ 1079500 w 1403350"/>
                <a:gd name="connsiteY13" fmla="*/ 151606 h 932656"/>
                <a:gd name="connsiteX14" fmla="*/ 1143000 w 1403350"/>
                <a:gd name="connsiteY14" fmla="*/ 183356 h 932656"/>
                <a:gd name="connsiteX15" fmla="*/ 1162050 w 1403350"/>
                <a:gd name="connsiteY15" fmla="*/ 196056 h 932656"/>
                <a:gd name="connsiteX16" fmla="*/ 1200150 w 1403350"/>
                <a:gd name="connsiteY16" fmla="*/ 234156 h 932656"/>
                <a:gd name="connsiteX17" fmla="*/ 1244600 w 1403350"/>
                <a:gd name="connsiteY17" fmla="*/ 265906 h 932656"/>
                <a:gd name="connsiteX18" fmla="*/ 1257300 w 1403350"/>
                <a:gd name="connsiteY18" fmla="*/ 284956 h 932656"/>
                <a:gd name="connsiteX19" fmla="*/ 1295400 w 1403350"/>
                <a:gd name="connsiteY19" fmla="*/ 310356 h 932656"/>
                <a:gd name="connsiteX20" fmla="*/ 1314450 w 1403350"/>
                <a:gd name="connsiteY20" fmla="*/ 335756 h 932656"/>
                <a:gd name="connsiteX21" fmla="*/ 1352550 w 1403350"/>
                <a:gd name="connsiteY21" fmla="*/ 373856 h 932656"/>
                <a:gd name="connsiteX22" fmla="*/ 1390650 w 1403350"/>
                <a:gd name="connsiteY22" fmla="*/ 450056 h 932656"/>
                <a:gd name="connsiteX23" fmla="*/ 1403350 w 1403350"/>
                <a:gd name="connsiteY23" fmla="*/ 469106 h 932656"/>
                <a:gd name="connsiteX24" fmla="*/ 1397000 w 1403350"/>
                <a:gd name="connsiteY24" fmla="*/ 577056 h 932656"/>
                <a:gd name="connsiteX25" fmla="*/ 1384300 w 1403350"/>
                <a:gd name="connsiteY25" fmla="*/ 615156 h 932656"/>
                <a:gd name="connsiteX26" fmla="*/ 1327150 w 1403350"/>
                <a:gd name="connsiteY26" fmla="*/ 646906 h 932656"/>
                <a:gd name="connsiteX27" fmla="*/ 1308100 w 1403350"/>
                <a:gd name="connsiteY27" fmla="*/ 659606 h 932656"/>
                <a:gd name="connsiteX28" fmla="*/ 1270000 w 1403350"/>
                <a:gd name="connsiteY28" fmla="*/ 685006 h 932656"/>
                <a:gd name="connsiteX29" fmla="*/ 1231900 w 1403350"/>
                <a:gd name="connsiteY29" fmla="*/ 697706 h 932656"/>
                <a:gd name="connsiteX30" fmla="*/ 1219200 w 1403350"/>
                <a:gd name="connsiteY30" fmla="*/ 716756 h 932656"/>
                <a:gd name="connsiteX31" fmla="*/ 1212850 w 1403350"/>
                <a:gd name="connsiteY31" fmla="*/ 735806 h 932656"/>
                <a:gd name="connsiteX32" fmla="*/ 1187450 w 1403350"/>
                <a:gd name="connsiteY32" fmla="*/ 773906 h 932656"/>
                <a:gd name="connsiteX33" fmla="*/ 1174750 w 1403350"/>
                <a:gd name="connsiteY33" fmla="*/ 792956 h 932656"/>
                <a:gd name="connsiteX34" fmla="*/ 1155700 w 1403350"/>
                <a:gd name="connsiteY34" fmla="*/ 805656 h 932656"/>
                <a:gd name="connsiteX35" fmla="*/ 1123950 w 1403350"/>
                <a:gd name="connsiteY35" fmla="*/ 869156 h 932656"/>
                <a:gd name="connsiteX36" fmla="*/ 1117600 w 1403350"/>
                <a:gd name="connsiteY36" fmla="*/ 888206 h 932656"/>
                <a:gd name="connsiteX37" fmla="*/ 1117600 w 1403350"/>
                <a:gd name="connsiteY37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825500 w 1403350"/>
                <a:gd name="connsiteY6" fmla="*/ 50006 h 932656"/>
                <a:gd name="connsiteX7" fmla="*/ 869950 w 1403350"/>
                <a:gd name="connsiteY7" fmla="*/ 62706 h 932656"/>
                <a:gd name="connsiteX8" fmla="*/ 914400 w 1403350"/>
                <a:gd name="connsiteY8" fmla="*/ 88106 h 932656"/>
                <a:gd name="connsiteX9" fmla="*/ 984250 w 1403350"/>
                <a:gd name="connsiteY9" fmla="*/ 107156 h 932656"/>
                <a:gd name="connsiteX10" fmla="*/ 1022350 w 1403350"/>
                <a:gd name="connsiteY10" fmla="*/ 132556 h 932656"/>
                <a:gd name="connsiteX11" fmla="*/ 1060450 w 1403350"/>
                <a:gd name="connsiteY11" fmla="*/ 145256 h 932656"/>
                <a:gd name="connsiteX12" fmla="*/ 1079500 w 1403350"/>
                <a:gd name="connsiteY12" fmla="*/ 151606 h 932656"/>
                <a:gd name="connsiteX13" fmla="*/ 1143000 w 1403350"/>
                <a:gd name="connsiteY13" fmla="*/ 183356 h 932656"/>
                <a:gd name="connsiteX14" fmla="*/ 1162050 w 1403350"/>
                <a:gd name="connsiteY14" fmla="*/ 196056 h 932656"/>
                <a:gd name="connsiteX15" fmla="*/ 1200150 w 1403350"/>
                <a:gd name="connsiteY15" fmla="*/ 234156 h 932656"/>
                <a:gd name="connsiteX16" fmla="*/ 1244600 w 1403350"/>
                <a:gd name="connsiteY16" fmla="*/ 265906 h 932656"/>
                <a:gd name="connsiteX17" fmla="*/ 1257300 w 1403350"/>
                <a:gd name="connsiteY17" fmla="*/ 284956 h 932656"/>
                <a:gd name="connsiteX18" fmla="*/ 1295400 w 1403350"/>
                <a:gd name="connsiteY18" fmla="*/ 310356 h 932656"/>
                <a:gd name="connsiteX19" fmla="*/ 1314450 w 1403350"/>
                <a:gd name="connsiteY19" fmla="*/ 335756 h 932656"/>
                <a:gd name="connsiteX20" fmla="*/ 1352550 w 1403350"/>
                <a:gd name="connsiteY20" fmla="*/ 373856 h 932656"/>
                <a:gd name="connsiteX21" fmla="*/ 1390650 w 1403350"/>
                <a:gd name="connsiteY21" fmla="*/ 450056 h 932656"/>
                <a:gd name="connsiteX22" fmla="*/ 1403350 w 1403350"/>
                <a:gd name="connsiteY22" fmla="*/ 469106 h 932656"/>
                <a:gd name="connsiteX23" fmla="*/ 1397000 w 1403350"/>
                <a:gd name="connsiteY23" fmla="*/ 577056 h 932656"/>
                <a:gd name="connsiteX24" fmla="*/ 1384300 w 1403350"/>
                <a:gd name="connsiteY24" fmla="*/ 615156 h 932656"/>
                <a:gd name="connsiteX25" fmla="*/ 1327150 w 1403350"/>
                <a:gd name="connsiteY25" fmla="*/ 646906 h 932656"/>
                <a:gd name="connsiteX26" fmla="*/ 1308100 w 1403350"/>
                <a:gd name="connsiteY26" fmla="*/ 659606 h 932656"/>
                <a:gd name="connsiteX27" fmla="*/ 1270000 w 1403350"/>
                <a:gd name="connsiteY27" fmla="*/ 685006 h 932656"/>
                <a:gd name="connsiteX28" fmla="*/ 1231900 w 1403350"/>
                <a:gd name="connsiteY28" fmla="*/ 697706 h 932656"/>
                <a:gd name="connsiteX29" fmla="*/ 1219200 w 1403350"/>
                <a:gd name="connsiteY29" fmla="*/ 716756 h 932656"/>
                <a:gd name="connsiteX30" fmla="*/ 1212850 w 1403350"/>
                <a:gd name="connsiteY30" fmla="*/ 735806 h 932656"/>
                <a:gd name="connsiteX31" fmla="*/ 1187450 w 1403350"/>
                <a:gd name="connsiteY31" fmla="*/ 773906 h 932656"/>
                <a:gd name="connsiteX32" fmla="*/ 1174750 w 1403350"/>
                <a:gd name="connsiteY32" fmla="*/ 792956 h 932656"/>
                <a:gd name="connsiteX33" fmla="*/ 1155700 w 1403350"/>
                <a:gd name="connsiteY33" fmla="*/ 805656 h 932656"/>
                <a:gd name="connsiteX34" fmla="*/ 1123950 w 1403350"/>
                <a:gd name="connsiteY34" fmla="*/ 869156 h 932656"/>
                <a:gd name="connsiteX35" fmla="*/ 1117600 w 1403350"/>
                <a:gd name="connsiteY35" fmla="*/ 888206 h 932656"/>
                <a:gd name="connsiteX36" fmla="*/ 1117600 w 1403350"/>
                <a:gd name="connsiteY36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825500 w 1403350"/>
                <a:gd name="connsiteY6" fmla="*/ 50006 h 932656"/>
                <a:gd name="connsiteX7" fmla="*/ 914400 w 1403350"/>
                <a:gd name="connsiteY7" fmla="*/ 88106 h 932656"/>
                <a:gd name="connsiteX8" fmla="*/ 984250 w 1403350"/>
                <a:gd name="connsiteY8" fmla="*/ 107156 h 932656"/>
                <a:gd name="connsiteX9" fmla="*/ 1022350 w 1403350"/>
                <a:gd name="connsiteY9" fmla="*/ 132556 h 932656"/>
                <a:gd name="connsiteX10" fmla="*/ 1060450 w 1403350"/>
                <a:gd name="connsiteY10" fmla="*/ 145256 h 932656"/>
                <a:gd name="connsiteX11" fmla="*/ 1079500 w 1403350"/>
                <a:gd name="connsiteY11" fmla="*/ 151606 h 932656"/>
                <a:gd name="connsiteX12" fmla="*/ 1143000 w 1403350"/>
                <a:gd name="connsiteY12" fmla="*/ 183356 h 932656"/>
                <a:gd name="connsiteX13" fmla="*/ 1162050 w 1403350"/>
                <a:gd name="connsiteY13" fmla="*/ 196056 h 932656"/>
                <a:gd name="connsiteX14" fmla="*/ 1200150 w 1403350"/>
                <a:gd name="connsiteY14" fmla="*/ 234156 h 932656"/>
                <a:gd name="connsiteX15" fmla="*/ 1244600 w 1403350"/>
                <a:gd name="connsiteY15" fmla="*/ 265906 h 932656"/>
                <a:gd name="connsiteX16" fmla="*/ 1257300 w 1403350"/>
                <a:gd name="connsiteY16" fmla="*/ 284956 h 932656"/>
                <a:gd name="connsiteX17" fmla="*/ 1295400 w 1403350"/>
                <a:gd name="connsiteY17" fmla="*/ 310356 h 932656"/>
                <a:gd name="connsiteX18" fmla="*/ 1314450 w 1403350"/>
                <a:gd name="connsiteY18" fmla="*/ 335756 h 932656"/>
                <a:gd name="connsiteX19" fmla="*/ 1352550 w 1403350"/>
                <a:gd name="connsiteY19" fmla="*/ 373856 h 932656"/>
                <a:gd name="connsiteX20" fmla="*/ 1390650 w 1403350"/>
                <a:gd name="connsiteY20" fmla="*/ 450056 h 932656"/>
                <a:gd name="connsiteX21" fmla="*/ 1403350 w 1403350"/>
                <a:gd name="connsiteY21" fmla="*/ 469106 h 932656"/>
                <a:gd name="connsiteX22" fmla="*/ 1397000 w 1403350"/>
                <a:gd name="connsiteY22" fmla="*/ 577056 h 932656"/>
                <a:gd name="connsiteX23" fmla="*/ 1384300 w 1403350"/>
                <a:gd name="connsiteY23" fmla="*/ 615156 h 932656"/>
                <a:gd name="connsiteX24" fmla="*/ 1327150 w 1403350"/>
                <a:gd name="connsiteY24" fmla="*/ 646906 h 932656"/>
                <a:gd name="connsiteX25" fmla="*/ 1308100 w 1403350"/>
                <a:gd name="connsiteY25" fmla="*/ 659606 h 932656"/>
                <a:gd name="connsiteX26" fmla="*/ 1270000 w 1403350"/>
                <a:gd name="connsiteY26" fmla="*/ 685006 h 932656"/>
                <a:gd name="connsiteX27" fmla="*/ 1231900 w 1403350"/>
                <a:gd name="connsiteY27" fmla="*/ 697706 h 932656"/>
                <a:gd name="connsiteX28" fmla="*/ 1219200 w 1403350"/>
                <a:gd name="connsiteY28" fmla="*/ 716756 h 932656"/>
                <a:gd name="connsiteX29" fmla="*/ 1212850 w 1403350"/>
                <a:gd name="connsiteY29" fmla="*/ 735806 h 932656"/>
                <a:gd name="connsiteX30" fmla="*/ 1187450 w 1403350"/>
                <a:gd name="connsiteY30" fmla="*/ 773906 h 932656"/>
                <a:gd name="connsiteX31" fmla="*/ 1174750 w 1403350"/>
                <a:gd name="connsiteY31" fmla="*/ 792956 h 932656"/>
                <a:gd name="connsiteX32" fmla="*/ 1155700 w 1403350"/>
                <a:gd name="connsiteY32" fmla="*/ 805656 h 932656"/>
                <a:gd name="connsiteX33" fmla="*/ 1123950 w 1403350"/>
                <a:gd name="connsiteY33" fmla="*/ 869156 h 932656"/>
                <a:gd name="connsiteX34" fmla="*/ 1117600 w 1403350"/>
                <a:gd name="connsiteY34" fmla="*/ 888206 h 932656"/>
                <a:gd name="connsiteX35" fmla="*/ 1117600 w 1403350"/>
                <a:gd name="connsiteY35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14400 w 1403350"/>
                <a:gd name="connsiteY6" fmla="*/ 88106 h 932656"/>
                <a:gd name="connsiteX7" fmla="*/ 984250 w 1403350"/>
                <a:gd name="connsiteY7" fmla="*/ 107156 h 932656"/>
                <a:gd name="connsiteX8" fmla="*/ 1022350 w 1403350"/>
                <a:gd name="connsiteY8" fmla="*/ 132556 h 932656"/>
                <a:gd name="connsiteX9" fmla="*/ 1060450 w 1403350"/>
                <a:gd name="connsiteY9" fmla="*/ 145256 h 932656"/>
                <a:gd name="connsiteX10" fmla="*/ 1079500 w 1403350"/>
                <a:gd name="connsiteY10" fmla="*/ 151606 h 932656"/>
                <a:gd name="connsiteX11" fmla="*/ 1143000 w 1403350"/>
                <a:gd name="connsiteY11" fmla="*/ 183356 h 932656"/>
                <a:gd name="connsiteX12" fmla="*/ 1162050 w 1403350"/>
                <a:gd name="connsiteY12" fmla="*/ 196056 h 932656"/>
                <a:gd name="connsiteX13" fmla="*/ 1200150 w 1403350"/>
                <a:gd name="connsiteY13" fmla="*/ 234156 h 932656"/>
                <a:gd name="connsiteX14" fmla="*/ 1244600 w 1403350"/>
                <a:gd name="connsiteY14" fmla="*/ 265906 h 932656"/>
                <a:gd name="connsiteX15" fmla="*/ 1257300 w 1403350"/>
                <a:gd name="connsiteY15" fmla="*/ 284956 h 932656"/>
                <a:gd name="connsiteX16" fmla="*/ 1295400 w 1403350"/>
                <a:gd name="connsiteY16" fmla="*/ 310356 h 932656"/>
                <a:gd name="connsiteX17" fmla="*/ 1314450 w 1403350"/>
                <a:gd name="connsiteY17" fmla="*/ 335756 h 932656"/>
                <a:gd name="connsiteX18" fmla="*/ 1352550 w 1403350"/>
                <a:gd name="connsiteY18" fmla="*/ 373856 h 932656"/>
                <a:gd name="connsiteX19" fmla="*/ 1390650 w 1403350"/>
                <a:gd name="connsiteY19" fmla="*/ 450056 h 932656"/>
                <a:gd name="connsiteX20" fmla="*/ 1403350 w 1403350"/>
                <a:gd name="connsiteY20" fmla="*/ 469106 h 932656"/>
                <a:gd name="connsiteX21" fmla="*/ 1397000 w 1403350"/>
                <a:gd name="connsiteY21" fmla="*/ 577056 h 932656"/>
                <a:gd name="connsiteX22" fmla="*/ 1384300 w 1403350"/>
                <a:gd name="connsiteY22" fmla="*/ 615156 h 932656"/>
                <a:gd name="connsiteX23" fmla="*/ 1327150 w 1403350"/>
                <a:gd name="connsiteY23" fmla="*/ 646906 h 932656"/>
                <a:gd name="connsiteX24" fmla="*/ 1308100 w 1403350"/>
                <a:gd name="connsiteY24" fmla="*/ 659606 h 932656"/>
                <a:gd name="connsiteX25" fmla="*/ 1270000 w 1403350"/>
                <a:gd name="connsiteY25" fmla="*/ 685006 h 932656"/>
                <a:gd name="connsiteX26" fmla="*/ 1231900 w 1403350"/>
                <a:gd name="connsiteY26" fmla="*/ 697706 h 932656"/>
                <a:gd name="connsiteX27" fmla="*/ 1219200 w 1403350"/>
                <a:gd name="connsiteY27" fmla="*/ 716756 h 932656"/>
                <a:gd name="connsiteX28" fmla="*/ 1212850 w 1403350"/>
                <a:gd name="connsiteY28" fmla="*/ 735806 h 932656"/>
                <a:gd name="connsiteX29" fmla="*/ 1187450 w 1403350"/>
                <a:gd name="connsiteY29" fmla="*/ 773906 h 932656"/>
                <a:gd name="connsiteX30" fmla="*/ 1174750 w 1403350"/>
                <a:gd name="connsiteY30" fmla="*/ 792956 h 932656"/>
                <a:gd name="connsiteX31" fmla="*/ 1155700 w 1403350"/>
                <a:gd name="connsiteY31" fmla="*/ 805656 h 932656"/>
                <a:gd name="connsiteX32" fmla="*/ 1123950 w 1403350"/>
                <a:gd name="connsiteY32" fmla="*/ 869156 h 932656"/>
                <a:gd name="connsiteX33" fmla="*/ 1117600 w 1403350"/>
                <a:gd name="connsiteY33" fmla="*/ 888206 h 932656"/>
                <a:gd name="connsiteX34" fmla="*/ 1117600 w 1403350"/>
                <a:gd name="connsiteY34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022350 w 1403350"/>
                <a:gd name="connsiteY7" fmla="*/ 132556 h 932656"/>
                <a:gd name="connsiteX8" fmla="*/ 1060450 w 1403350"/>
                <a:gd name="connsiteY8" fmla="*/ 145256 h 932656"/>
                <a:gd name="connsiteX9" fmla="*/ 1079500 w 1403350"/>
                <a:gd name="connsiteY9" fmla="*/ 151606 h 932656"/>
                <a:gd name="connsiteX10" fmla="*/ 1143000 w 1403350"/>
                <a:gd name="connsiteY10" fmla="*/ 183356 h 932656"/>
                <a:gd name="connsiteX11" fmla="*/ 1162050 w 1403350"/>
                <a:gd name="connsiteY11" fmla="*/ 196056 h 932656"/>
                <a:gd name="connsiteX12" fmla="*/ 1200150 w 1403350"/>
                <a:gd name="connsiteY12" fmla="*/ 234156 h 932656"/>
                <a:gd name="connsiteX13" fmla="*/ 1244600 w 1403350"/>
                <a:gd name="connsiteY13" fmla="*/ 265906 h 932656"/>
                <a:gd name="connsiteX14" fmla="*/ 1257300 w 1403350"/>
                <a:gd name="connsiteY14" fmla="*/ 284956 h 932656"/>
                <a:gd name="connsiteX15" fmla="*/ 1295400 w 1403350"/>
                <a:gd name="connsiteY15" fmla="*/ 310356 h 932656"/>
                <a:gd name="connsiteX16" fmla="*/ 1314450 w 1403350"/>
                <a:gd name="connsiteY16" fmla="*/ 335756 h 932656"/>
                <a:gd name="connsiteX17" fmla="*/ 1352550 w 1403350"/>
                <a:gd name="connsiteY17" fmla="*/ 373856 h 932656"/>
                <a:gd name="connsiteX18" fmla="*/ 1390650 w 1403350"/>
                <a:gd name="connsiteY18" fmla="*/ 450056 h 932656"/>
                <a:gd name="connsiteX19" fmla="*/ 1403350 w 1403350"/>
                <a:gd name="connsiteY19" fmla="*/ 469106 h 932656"/>
                <a:gd name="connsiteX20" fmla="*/ 1397000 w 1403350"/>
                <a:gd name="connsiteY20" fmla="*/ 577056 h 932656"/>
                <a:gd name="connsiteX21" fmla="*/ 1384300 w 1403350"/>
                <a:gd name="connsiteY21" fmla="*/ 615156 h 932656"/>
                <a:gd name="connsiteX22" fmla="*/ 1327150 w 1403350"/>
                <a:gd name="connsiteY22" fmla="*/ 646906 h 932656"/>
                <a:gd name="connsiteX23" fmla="*/ 1308100 w 1403350"/>
                <a:gd name="connsiteY23" fmla="*/ 659606 h 932656"/>
                <a:gd name="connsiteX24" fmla="*/ 1270000 w 1403350"/>
                <a:gd name="connsiteY24" fmla="*/ 685006 h 932656"/>
                <a:gd name="connsiteX25" fmla="*/ 1231900 w 1403350"/>
                <a:gd name="connsiteY25" fmla="*/ 697706 h 932656"/>
                <a:gd name="connsiteX26" fmla="*/ 1219200 w 1403350"/>
                <a:gd name="connsiteY26" fmla="*/ 716756 h 932656"/>
                <a:gd name="connsiteX27" fmla="*/ 1212850 w 1403350"/>
                <a:gd name="connsiteY27" fmla="*/ 735806 h 932656"/>
                <a:gd name="connsiteX28" fmla="*/ 1187450 w 1403350"/>
                <a:gd name="connsiteY28" fmla="*/ 773906 h 932656"/>
                <a:gd name="connsiteX29" fmla="*/ 1174750 w 1403350"/>
                <a:gd name="connsiteY29" fmla="*/ 792956 h 932656"/>
                <a:gd name="connsiteX30" fmla="*/ 1155700 w 1403350"/>
                <a:gd name="connsiteY30" fmla="*/ 805656 h 932656"/>
                <a:gd name="connsiteX31" fmla="*/ 1123950 w 1403350"/>
                <a:gd name="connsiteY31" fmla="*/ 869156 h 932656"/>
                <a:gd name="connsiteX32" fmla="*/ 1117600 w 1403350"/>
                <a:gd name="connsiteY32" fmla="*/ 888206 h 932656"/>
                <a:gd name="connsiteX33" fmla="*/ 1117600 w 1403350"/>
                <a:gd name="connsiteY3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060450 w 1403350"/>
                <a:gd name="connsiteY7" fmla="*/ 145256 h 932656"/>
                <a:gd name="connsiteX8" fmla="*/ 1079500 w 1403350"/>
                <a:gd name="connsiteY8" fmla="*/ 151606 h 932656"/>
                <a:gd name="connsiteX9" fmla="*/ 1143000 w 1403350"/>
                <a:gd name="connsiteY9" fmla="*/ 183356 h 932656"/>
                <a:gd name="connsiteX10" fmla="*/ 1162050 w 1403350"/>
                <a:gd name="connsiteY10" fmla="*/ 196056 h 932656"/>
                <a:gd name="connsiteX11" fmla="*/ 1200150 w 1403350"/>
                <a:gd name="connsiteY11" fmla="*/ 234156 h 932656"/>
                <a:gd name="connsiteX12" fmla="*/ 1244600 w 1403350"/>
                <a:gd name="connsiteY12" fmla="*/ 265906 h 932656"/>
                <a:gd name="connsiteX13" fmla="*/ 1257300 w 1403350"/>
                <a:gd name="connsiteY13" fmla="*/ 284956 h 932656"/>
                <a:gd name="connsiteX14" fmla="*/ 1295400 w 1403350"/>
                <a:gd name="connsiteY14" fmla="*/ 310356 h 932656"/>
                <a:gd name="connsiteX15" fmla="*/ 1314450 w 1403350"/>
                <a:gd name="connsiteY15" fmla="*/ 335756 h 932656"/>
                <a:gd name="connsiteX16" fmla="*/ 1352550 w 1403350"/>
                <a:gd name="connsiteY16" fmla="*/ 373856 h 932656"/>
                <a:gd name="connsiteX17" fmla="*/ 1390650 w 1403350"/>
                <a:gd name="connsiteY17" fmla="*/ 450056 h 932656"/>
                <a:gd name="connsiteX18" fmla="*/ 1403350 w 1403350"/>
                <a:gd name="connsiteY18" fmla="*/ 469106 h 932656"/>
                <a:gd name="connsiteX19" fmla="*/ 1397000 w 1403350"/>
                <a:gd name="connsiteY19" fmla="*/ 577056 h 932656"/>
                <a:gd name="connsiteX20" fmla="*/ 1384300 w 1403350"/>
                <a:gd name="connsiteY20" fmla="*/ 615156 h 932656"/>
                <a:gd name="connsiteX21" fmla="*/ 1327150 w 1403350"/>
                <a:gd name="connsiteY21" fmla="*/ 646906 h 932656"/>
                <a:gd name="connsiteX22" fmla="*/ 1308100 w 1403350"/>
                <a:gd name="connsiteY22" fmla="*/ 659606 h 932656"/>
                <a:gd name="connsiteX23" fmla="*/ 1270000 w 1403350"/>
                <a:gd name="connsiteY23" fmla="*/ 685006 h 932656"/>
                <a:gd name="connsiteX24" fmla="*/ 1231900 w 1403350"/>
                <a:gd name="connsiteY24" fmla="*/ 697706 h 932656"/>
                <a:gd name="connsiteX25" fmla="*/ 1219200 w 1403350"/>
                <a:gd name="connsiteY25" fmla="*/ 716756 h 932656"/>
                <a:gd name="connsiteX26" fmla="*/ 1212850 w 1403350"/>
                <a:gd name="connsiteY26" fmla="*/ 735806 h 932656"/>
                <a:gd name="connsiteX27" fmla="*/ 1187450 w 1403350"/>
                <a:gd name="connsiteY27" fmla="*/ 773906 h 932656"/>
                <a:gd name="connsiteX28" fmla="*/ 1174750 w 1403350"/>
                <a:gd name="connsiteY28" fmla="*/ 792956 h 932656"/>
                <a:gd name="connsiteX29" fmla="*/ 1155700 w 1403350"/>
                <a:gd name="connsiteY29" fmla="*/ 805656 h 932656"/>
                <a:gd name="connsiteX30" fmla="*/ 1123950 w 1403350"/>
                <a:gd name="connsiteY30" fmla="*/ 869156 h 932656"/>
                <a:gd name="connsiteX31" fmla="*/ 1117600 w 1403350"/>
                <a:gd name="connsiteY31" fmla="*/ 888206 h 932656"/>
                <a:gd name="connsiteX32" fmla="*/ 1117600 w 1403350"/>
                <a:gd name="connsiteY32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060450 w 1403350"/>
                <a:gd name="connsiteY7" fmla="*/ 145256 h 932656"/>
                <a:gd name="connsiteX8" fmla="*/ 1143000 w 1403350"/>
                <a:gd name="connsiteY8" fmla="*/ 183356 h 932656"/>
                <a:gd name="connsiteX9" fmla="*/ 1162050 w 1403350"/>
                <a:gd name="connsiteY9" fmla="*/ 196056 h 932656"/>
                <a:gd name="connsiteX10" fmla="*/ 1200150 w 1403350"/>
                <a:gd name="connsiteY10" fmla="*/ 234156 h 932656"/>
                <a:gd name="connsiteX11" fmla="*/ 1244600 w 1403350"/>
                <a:gd name="connsiteY11" fmla="*/ 265906 h 932656"/>
                <a:gd name="connsiteX12" fmla="*/ 1257300 w 1403350"/>
                <a:gd name="connsiteY12" fmla="*/ 284956 h 932656"/>
                <a:gd name="connsiteX13" fmla="*/ 1295400 w 1403350"/>
                <a:gd name="connsiteY13" fmla="*/ 310356 h 932656"/>
                <a:gd name="connsiteX14" fmla="*/ 1314450 w 1403350"/>
                <a:gd name="connsiteY14" fmla="*/ 335756 h 932656"/>
                <a:gd name="connsiteX15" fmla="*/ 1352550 w 1403350"/>
                <a:gd name="connsiteY15" fmla="*/ 373856 h 932656"/>
                <a:gd name="connsiteX16" fmla="*/ 1390650 w 1403350"/>
                <a:gd name="connsiteY16" fmla="*/ 450056 h 932656"/>
                <a:gd name="connsiteX17" fmla="*/ 1403350 w 1403350"/>
                <a:gd name="connsiteY17" fmla="*/ 469106 h 932656"/>
                <a:gd name="connsiteX18" fmla="*/ 1397000 w 1403350"/>
                <a:gd name="connsiteY18" fmla="*/ 577056 h 932656"/>
                <a:gd name="connsiteX19" fmla="*/ 1384300 w 1403350"/>
                <a:gd name="connsiteY19" fmla="*/ 615156 h 932656"/>
                <a:gd name="connsiteX20" fmla="*/ 1327150 w 1403350"/>
                <a:gd name="connsiteY20" fmla="*/ 646906 h 932656"/>
                <a:gd name="connsiteX21" fmla="*/ 1308100 w 1403350"/>
                <a:gd name="connsiteY21" fmla="*/ 659606 h 932656"/>
                <a:gd name="connsiteX22" fmla="*/ 1270000 w 1403350"/>
                <a:gd name="connsiteY22" fmla="*/ 685006 h 932656"/>
                <a:gd name="connsiteX23" fmla="*/ 1231900 w 1403350"/>
                <a:gd name="connsiteY23" fmla="*/ 697706 h 932656"/>
                <a:gd name="connsiteX24" fmla="*/ 1219200 w 1403350"/>
                <a:gd name="connsiteY24" fmla="*/ 716756 h 932656"/>
                <a:gd name="connsiteX25" fmla="*/ 1212850 w 1403350"/>
                <a:gd name="connsiteY25" fmla="*/ 735806 h 932656"/>
                <a:gd name="connsiteX26" fmla="*/ 1187450 w 1403350"/>
                <a:gd name="connsiteY26" fmla="*/ 773906 h 932656"/>
                <a:gd name="connsiteX27" fmla="*/ 1174750 w 1403350"/>
                <a:gd name="connsiteY27" fmla="*/ 792956 h 932656"/>
                <a:gd name="connsiteX28" fmla="*/ 1155700 w 1403350"/>
                <a:gd name="connsiteY28" fmla="*/ 805656 h 932656"/>
                <a:gd name="connsiteX29" fmla="*/ 1123950 w 1403350"/>
                <a:gd name="connsiteY29" fmla="*/ 869156 h 932656"/>
                <a:gd name="connsiteX30" fmla="*/ 1117600 w 1403350"/>
                <a:gd name="connsiteY30" fmla="*/ 888206 h 932656"/>
                <a:gd name="connsiteX31" fmla="*/ 1117600 w 1403350"/>
                <a:gd name="connsiteY31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143000 w 1403350"/>
                <a:gd name="connsiteY7" fmla="*/ 183356 h 932656"/>
                <a:gd name="connsiteX8" fmla="*/ 1162050 w 1403350"/>
                <a:gd name="connsiteY8" fmla="*/ 196056 h 932656"/>
                <a:gd name="connsiteX9" fmla="*/ 1200150 w 1403350"/>
                <a:gd name="connsiteY9" fmla="*/ 234156 h 932656"/>
                <a:gd name="connsiteX10" fmla="*/ 1244600 w 1403350"/>
                <a:gd name="connsiteY10" fmla="*/ 265906 h 932656"/>
                <a:gd name="connsiteX11" fmla="*/ 1257300 w 1403350"/>
                <a:gd name="connsiteY11" fmla="*/ 284956 h 932656"/>
                <a:gd name="connsiteX12" fmla="*/ 1295400 w 1403350"/>
                <a:gd name="connsiteY12" fmla="*/ 310356 h 932656"/>
                <a:gd name="connsiteX13" fmla="*/ 1314450 w 1403350"/>
                <a:gd name="connsiteY13" fmla="*/ 335756 h 932656"/>
                <a:gd name="connsiteX14" fmla="*/ 1352550 w 1403350"/>
                <a:gd name="connsiteY14" fmla="*/ 373856 h 932656"/>
                <a:gd name="connsiteX15" fmla="*/ 1390650 w 1403350"/>
                <a:gd name="connsiteY15" fmla="*/ 450056 h 932656"/>
                <a:gd name="connsiteX16" fmla="*/ 1403350 w 1403350"/>
                <a:gd name="connsiteY16" fmla="*/ 469106 h 932656"/>
                <a:gd name="connsiteX17" fmla="*/ 1397000 w 1403350"/>
                <a:gd name="connsiteY17" fmla="*/ 577056 h 932656"/>
                <a:gd name="connsiteX18" fmla="*/ 1384300 w 1403350"/>
                <a:gd name="connsiteY18" fmla="*/ 615156 h 932656"/>
                <a:gd name="connsiteX19" fmla="*/ 1327150 w 1403350"/>
                <a:gd name="connsiteY19" fmla="*/ 646906 h 932656"/>
                <a:gd name="connsiteX20" fmla="*/ 1308100 w 1403350"/>
                <a:gd name="connsiteY20" fmla="*/ 659606 h 932656"/>
                <a:gd name="connsiteX21" fmla="*/ 1270000 w 1403350"/>
                <a:gd name="connsiteY21" fmla="*/ 685006 h 932656"/>
                <a:gd name="connsiteX22" fmla="*/ 1231900 w 1403350"/>
                <a:gd name="connsiteY22" fmla="*/ 697706 h 932656"/>
                <a:gd name="connsiteX23" fmla="*/ 1219200 w 1403350"/>
                <a:gd name="connsiteY23" fmla="*/ 716756 h 932656"/>
                <a:gd name="connsiteX24" fmla="*/ 1212850 w 1403350"/>
                <a:gd name="connsiteY24" fmla="*/ 735806 h 932656"/>
                <a:gd name="connsiteX25" fmla="*/ 1187450 w 1403350"/>
                <a:gd name="connsiteY25" fmla="*/ 773906 h 932656"/>
                <a:gd name="connsiteX26" fmla="*/ 1174750 w 1403350"/>
                <a:gd name="connsiteY26" fmla="*/ 792956 h 932656"/>
                <a:gd name="connsiteX27" fmla="*/ 1155700 w 1403350"/>
                <a:gd name="connsiteY27" fmla="*/ 805656 h 932656"/>
                <a:gd name="connsiteX28" fmla="*/ 1123950 w 1403350"/>
                <a:gd name="connsiteY28" fmla="*/ 869156 h 932656"/>
                <a:gd name="connsiteX29" fmla="*/ 1117600 w 1403350"/>
                <a:gd name="connsiteY29" fmla="*/ 888206 h 932656"/>
                <a:gd name="connsiteX30" fmla="*/ 1117600 w 1403350"/>
                <a:gd name="connsiteY30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143000 w 1403350"/>
                <a:gd name="connsiteY7" fmla="*/ 183356 h 932656"/>
                <a:gd name="connsiteX8" fmla="*/ 1200150 w 1403350"/>
                <a:gd name="connsiteY8" fmla="*/ 234156 h 932656"/>
                <a:gd name="connsiteX9" fmla="*/ 1244600 w 1403350"/>
                <a:gd name="connsiteY9" fmla="*/ 265906 h 932656"/>
                <a:gd name="connsiteX10" fmla="*/ 1257300 w 1403350"/>
                <a:gd name="connsiteY10" fmla="*/ 284956 h 932656"/>
                <a:gd name="connsiteX11" fmla="*/ 1295400 w 1403350"/>
                <a:gd name="connsiteY11" fmla="*/ 310356 h 932656"/>
                <a:gd name="connsiteX12" fmla="*/ 1314450 w 1403350"/>
                <a:gd name="connsiteY12" fmla="*/ 335756 h 932656"/>
                <a:gd name="connsiteX13" fmla="*/ 1352550 w 1403350"/>
                <a:gd name="connsiteY13" fmla="*/ 373856 h 932656"/>
                <a:gd name="connsiteX14" fmla="*/ 1390650 w 1403350"/>
                <a:gd name="connsiteY14" fmla="*/ 450056 h 932656"/>
                <a:gd name="connsiteX15" fmla="*/ 1403350 w 1403350"/>
                <a:gd name="connsiteY15" fmla="*/ 469106 h 932656"/>
                <a:gd name="connsiteX16" fmla="*/ 1397000 w 1403350"/>
                <a:gd name="connsiteY16" fmla="*/ 577056 h 932656"/>
                <a:gd name="connsiteX17" fmla="*/ 1384300 w 1403350"/>
                <a:gd name="connsiteY17" fmla="*/ 615156 h 932656"/>
                <a:gd name="connsiteX18" fmla="*/ 1327150 w 1403350"/>
                <a:gd name="connsiteY18" fmla="*/ 646906 h 932656"/>
                <a:gd name="connsiteX19" fmla="*/ 1308100 w 1403350"/>
                <a:gd name="connsiteY19" fmla="*/ 659606 h 932656"/>
                <a:gd name="connsiteX20" fmla="*/ 1270000 w 1403350"/>
                <a:gd name="connsiteY20" fmla="*/ 685006 h 932656"/>
                <a:gd name="connsiteX21" fmla="*/ 1231900 w 1403350"/>
                <a:gd name="connsiteY21" fmla="*/ 697706 h 932656"/>
                <a:gd name="connsiteX22" fmla="*/ 1219200 w 1403350"/>
                <a:gd name="connsiteY22" fmla="*/ 716756 h 932656"/>
                <a:gd name="connsiteX23" fmla="*/ 1212850 w 1403350"/>
                <a:gd name="connsiteY23" fmla="*/ 735806 h 932656"/>
                <a:gd name="connsiteX24" fmla="*/ 1187450 w 1403350"/>
                <a:gd name="connsiteY24" fmla="*/ 773906 h 932656"/>
                <a:gd name="connsiteX25" fmla="*/ 1174750 w 1403350"/>
                <a:gd name="connsiteY25" fmla="*/ 792956 h 932656"/>
                <a:gd name="connsiteX26" fmla="*/ 1155700 w 1403350"/>
                <a:gd name="connsiteY26" fmla="*/ 805656 h 932656"/>
                <a:gd name="connsiteX27" fmla="*/ 1123950 w 1403350"/>
                <a:gd name="connsiteY27" fmla="*/ 869156 h 932656"/>
                <a:gd name="connsiteX28" fmla="*/ 1117600 w 1403350"/>
                <a:gd name="connsiteY28" fmla="*/ 888206 h 932656"/>
                <a:gd name="connsiteX29" fmla="*/ 1117600 w 1403350"/>
                <a:gd name="connsiteY29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44600 w 1403350"/>
                <a:gd name="connsiteY8" fmla="*/ 265906 h 932656"/>
                <a:gd name="connsiteX9" fmla="*/ 1257300 w 1403350"/>
                <a:gd name="connsiteY9" fmla="*/ 284956 h 932656"/>
                <a:gd name="connsiteX10" fmla="*/ 1295400 w 1403350"/>
                <a:gd name="connsiteY10" fmla="*/ 310356 h 932656"/>
                <a:gd name="connsiteX11" fmla="*/ 1314450 w 1403350"/>
                <a:gd name="connsiteY11" fmla="*/ 335756 h 932656"/>
                <a:gd name="connsiteX12" fmla="*/ 1352550 w 1403350"/>
                <a:gd name="connsiteY12" fmla="*/ 373856 h 932656"/>
                <a:gd name="connsiteX13" fmla="*/ 1390650 w 1403350"/>
                <a:gd name="connsiteY13" fmla="*/ 450056 h 932656"/>
                <a:gd name="connsiteX14" fmla="*/ 1403350 w 1403350"/>
                <a:gd name="connsiteY14" fmla="*/ 469106 h 932656"/>
                <a:gd name="connsiteX15" fmla="*/ 1397000 w 1403350"/>
                <a:gd name="connsiteY15" fmla="*/ 577056 h 932656"/>
                <a:gd name="connsiteX16" fmla="*/ 1384300 w 1403350"/>
                <a:gd name="connsiteY16" fmla="*/ 615156 h 932656"/>
                <a:gd name="connsiteX17" fmla="*/ 1327150 w 1403350"/>
                <a:gd name="connsiteY17" fmla="*/ 646906 h 932656"/>
                <a:gd name="connsiteX18" fmla="*/ 1308100 w 1403350"/>
                <a:gd name="connsiteY18" fmla="*/ 659606 h 932656"/>
                <a:gd name="connsiteX19" fmla="*/ 1270000 w 1403350"/>
                <a:gd name="connsiteY19" fmla="*/ 685006 h 932656"/>
                <a:gd name="connsiteX20" fmla="*/ 1231900 w 1403350"/>
                <a:gd name="connsiteY20" fmla="*/ 697706 h 932656"/>
                <a:gd name="connsiteX21" fmla="*/ 1219200 w 1403350"/>
                <a:gd name="connsiteY21" fmla="*/ 716756 h 932656"/>
                <a:gd name="connsiteX22" fmla="*/ 1212850 w 1403350"/>
                <a:gd name="connsiteY22" fmla="*/ 735806 h 932656"/>
                <a:gd name="connsiteX23" fmla="*/ 1187450 w 1403350"/>
                <a:gd name="connsiteY23" fmla="*/ 773906 h 932656"/>
                <a:gd name="connsiteX24" fmla="*/ 1174750 w 1403350"/>
                <a:gd name="connsiteY24" fmla="*/ 792956 h 932656"/>
                <a:gd name="connsiteX25" fmla="*/ 1155700 w 1403350"/>
                <a:gd name="connsiteY25" fmla="*/ 805656 h 932656"/>
                <a:gd name="connsiteX26" fmla="*/ 1123950 w 1403350"/>
                <a:gd name="connsiteY26" fmla="*/ 869156 h 932656"/>
                <a:gd name="connsiteX27" fmla="*/ 1117600 w 1403350"/>
                <a:gd name="connsiteY27" fmla="*/ 888206 h 932656"/>
                <a:gd name="connsiteX28" fmla="*/ 1117600 w 1403350"/>
                <a:gd name="connsiteY28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57300 w 1403350"/>
                <a:gd name="connsiteY8" fmla="*/ 284956 h 932656"/>
                <a:gd name="connsiteX9" fmla="*/ 1295400 w 1403350"/>
                <a:gd name="connsiteY9" fmla="*/ 310356 h 932656"/>
                <a:gd name="connsiteX10" fmla="*/ 1314450 w 1403350"/>
                <a:gd name="connsiteY10" fmla="*/ 335756 h 932656"/>
                <a:gd name="connsiteX11" fmla="*/ 1352550 w 1403350"/>
                <a:gd name="connsiteY11" fmla="*/ 373856 h 932656"/>
                <a:gd name="connsiteX12" fmla="*/ 1390650 w 1403350"/>
                <a:gd name="connsiteY12" fmla="*/ 450056 h 932656"/>
                <a:gd name="connsiteX13" fmla="*/ 1403350 w 1403350"/>
                <a:gd name="connsiteY13" fmla="*/ 469106 h 932656"/>
                <a:gd name="connsiteX14" fmla="*/ 1397000 w 1403350"/>
                <a:gd name="connsiteY14" fmla="*/ 577056 h 932656"/>
                <a:gd name="connsiteX15" fmla="*/ 1384300 w 1403350"/>
                <a:gd name="connsiteY15" fmla="*/ 615156 h 932656"/>
                <a:gd name="connsiteX16" fmla="*/ 1327150 w 1403350"/>
                <a:gd name="connsiteY16" fmla="*/ 646906 h 932656"/>
                <a:gd name="connsiteX17" fmla="*/ 1308100 w 1403350"/>
                <a:gd name="connsiteY17" fmla="*/ 659606 h 932656"/>
                <a:gd name="connsiteX18" fmla="*/ 1270000 w 1403350"/>
                <a:gd name="connsiteY18" fmla="*/ 685006 h 932656"/>
                <a:gd name="connsiteX19" fmla="*/ 1231900 w 1403350"/>
                <a:gd name="connsiteY19" fmla="*/ 697706 h 932656"/>
                <a:gd name="connsiteX20" fmla="*/ 1219200 w 1403350"/>
                <a:gd name="connsiteY20" fmla="*/ 716756 h 932656"/>
                <a:gd name="connsiteX21" fmla="*/ 1212850 w 1403350"/>
                <a:gd name="connsiteY21" fmla="*/ 735806 h 932656"/>
                <a:gd name="connsiteX22" fmla="*/ 1187450 w 1403350"/>
                <a:gd name="connsiteY22" fmla="*/ 773906 h 932656"/>
                <a:gd name="connsiteX23" fmla="*/ 1174750 w 1403350"/>
                <a:gd name="connsiteY23" fmla="*/ 792956 h 932656"/>
                <a:gd name="connsiteX24" fmla="*/ 1155700 w 1403350"/>
                <a:gd name="connsiteY24" fmla="*/ 805656 h 932656"/>
                <a:gd name="connsiteX25" fmla="*/ 1123950 w 1403350"/>
                <a:gd name="connsiteY25" fmla="*/ 869156 h 932656"/>
                <a:gd name="connsiteX26" fmla="*/ 1117600 w 1403350"/>
                <a:gd name="connsiteY26" fmla="*/ 888206 h 932656"/>
                <a:gd name="connsiteX27" fmla="*/ 1117600 w 1403350"/>
                <a:gd name="connsiteY27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95400 w 1403350"/>
                <a:gd name="connsiteY8" fmla="*/ 310356 h 932656"/>
                <a:gd name="connsiteX9" fmla="*/ 1314450 w 1403350"/>
                <a:gd name="connsiteY9" fmla="*/ 335756 h 932656"/>
                <a:gd name="connsiteX10" fmla="*/ 1352550 w 1403350"/>
                <a:gd name="connsiteY10" fmla="*/ 373856 h 932656"/>
                <a:gd name="connsiteX11" fmla="*/ 1390650 w 1403350"/>
                <a:gd name="connsiteY11" fmla="*/ 450056 h 932656"/>
                <a:gd name="connsiteX12" fmla="*/ 1403350 w 1403350"/>
                <a:gd name="connsiteY12" fmla="*/ 469106 h 932656"/>
                <a:gd name="connsiteX13" fmla="*/ 1397000 w 1403350"/>
                <a:gd name="connsiteY13" fmla="*/ 577056 h 932656"/>
                <a:gd name="connsiteX14" fmla="*/ 1384300 w 1403350"/>
                <a:gd name="connsiteY14" fmla="*/ 615156 h 932656"/>
                <a:gd name="connsiteX15" fmla="*/ 1327150 w 1403350"/>
                <a:gd name="connsiteY15" fmla="*/ 646906 h 932656"/>
                <a:gd name="connsiteX16" fmla="*/ 1308100 w 1403350"/>
                <a:gd name="connsiteY16" fmla="*/ 659606 h 932656"/>
                <a:gd name="connsiteX17" fmla="*/ 1270000 w 1403350"/>
                <a:gd name="connsiteY17" fmla="*/ 685006 h 932656"/>
                <a:gd name="connsiteX18" fmla="*/ 1231900 w 1403350"/>
                <a:gd name="connsiteY18" fmla="*/ 697706 h 932656"/>
                <a:gd name="connsiteX19" fmla="*/ 1219200 w 1403350"/>
                <a:gd name="connsiteY19" fmla="*/ 716756 h 932656"/>
                <a:gd name="connsiteX20" fmla="*/ 1212850 w 1403350"/>
                <a:gd name="connsiteY20" fmla="*/ 735806 h 932656"/>
                <a:gd name="connsiteX21" fmla="*/ 1187450 w 1403350"/>
                <a:gd name="connsiteY21" fmla="*/ 773906 h 932656"/>
                <a:gd name="connsiteX22" fmla="*/ 1174750 w 1403350"/>
                <a:gd name="connsiteY22" fmla="*/ 792956 h 932656"/>
                <a:gd name="connsiteX23" fmla="*/ 1155700 w 1403350"/>
                <a:gd name="connsiteY23" fmla="*/ 805656 h 932656"/>
                <a:gd name="connsiteX24" fmla="*/ 1123950 w 1403350"/>
                <a:gd name="connsiteY24" fmla="*/ 869156 h 932656"/>
                <a:gd name="connsiteX25" fmla="*/ 1117600 w 1403350"/>
                <a:gd name="connsiteY25" fmla="*/ 888206 h 932656"/>
                <a:gd name="connsiteX26" fmla="*/ 1117600 w 1403350"/>
                <a:gd name="connsiteY26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314450 w 1403350"/>
                <a:gd name="connsiteY8" fmla="*/ 335756 h 932656"/>
                <a:gd name="connsiteX9" fmla="*/ 1352550 w 1403350"/>
                <a:gd name="connsiteY9" fmla="*/ 373856 h 932656"/>
                <a:gd name="connsiteX10" fmla="*/ 1390650 w 1403350"/>
                <a:gd name="connsiteY10" fmla="*/ 450056 h 932656"/>
                <a:gd name="connsiteX11" fmla="*/ 1403350 w 1403350"/>
                <a:gd name="connsiteY11" fmla="*/ 469106 h 932656"/>
                <a:gd name="connsiteX12" fmla="*/ 1397000 w 1403350"/>
                <a:gd name="connsiteY12" fmla="*/ 577056 h 932656"/>
                <a:gd name="connsiteX13" fmla="*/ 1384300 w 1403350"/>
                <a:gd name="connsiteY13" fmla="*/ 615156 h 932656"/>
                <a:gd name="connsiteX14" fmla="*/ 1327150 w 1403350"/>
                <a:gd name="connsiteY14" fmla="*/ 646906 h 932656"/>
                <a:gd name="connsiteX15" fmla="*/ 1308100 w 1403350"/>
                <a:gd name="connsiteY15" fmla="*/ 659606 h 932656"/>
                <a:gd name="connsiteX16" fmla="*/ 1270000 w 1403350"/>
                <a:gd name="connsiteY16" fmla="*/ 685006 h 932656"/>
                <a:gd name="connsiteX17" fmla="*/ 1231900 w 1403350"/>
                <a:gd name="connsiteY17" fmla="*/ 697706 h 932656"/>
                <a:gd name="connsiteX18" fmla="*/ 1219200 w 1403350"/>
                <a:gd name="connsiteY18" fmla="*/ 716756 h 932656"/>
                <a:gd name="connsiteX19" fmla="*/ 1212850 w 1403350"/>
                <a:gd name="connsiteY19" fmla="*/ 735806 h 932656"/>
                <a:gd name="connsiteX20" fmla="*/ 1187450 w 1403350"/>
                <a:gd name="connsiteY20" fmla="*/ 773906 h 932656"/>
                <a:gd name="connsiteX21" fmla="*/ 1174750 w 1403350"/>
                <a:gd name="connsiteY21" fmla="*/ 792956 h 932656"/>
                <a:gd name="connsiteX22" fmla="*/ 1155700 w 1403350"/>
                <a:gd name="connsiteY22" fmla="*/ 805656 h 932656"/>
                <a:gd name="connsiteX23" fmla="*/ 1123950 w 1403350"/>
                <a:gd name="connsiteY23" fmla="*/ 869156 h 932656"/>
                <a:gd name="connsiteX24" fmla="*/ 1117600 w 1403350"/>
                <a:gd name="connsiteY24" fmla="*/ 888206 h 932656"/>
                <a:gd name="connsiteX25" fmla="*/ 1117600 w 1403350"/>
                <a:gd name="connsiteY25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352550 w 1403350"/>
                <a:gd name="connsiteY8" fmla="*/ 373856 h 932656"/>
                <a:gd name="connsiteX9" fmla="*/ 1390650 w 1403350"/>
                <a:gd name="connsiteY9" fmla="*/ 450056 h 932656"/>
                <a:gd name="connsiteX10" fmla="*/ 1403350 w 1403350"/>
                <a:gd name="connsiteY10" fmla="*/ 469106 h 932656"/>
                <a:gd name="connsiteX11" fmla="*/ 1397000 w 1403350"/>
                <a:gd name="connsiteY11" fmla="*/ 577056 h 932656"/>
                <a:gd name="connsiteX12" fmla="*/ 1384300 w 1403350"/>
                <a:gd name="connsiteY12" fmla="*/ 615156 h 932656"/>
                <a:gd name="connsiteX13" fmla="*/ 1327150 w 1403350"/>
                <a:gd name="connsiteY13" fmla="*/ 646906 h 932656"/>
                <a:gd name="connsiteX14" fmla="*/ 1308100 w 1403350"/>
                <a:gd name="connsiteY14" fmla="*/ 659606 h 932656"/>
                <a:gd name="connsiteX15" fmla="*/ 1270000 w 1403350"/>
                <a:gd name="connsiteY15" fmla="*/ 685006 h 932656"/>
                <a:gd name="connsiteX16" fmla="*/ 1231900 w 1403350"/>
                <a:gd name="connsiteY16" fmla="*/ 697706 h 932656"/>
                <a:gd name="connsiteX17" fmla="*/ 1219200 w 1403350"/>
                <a:gd name="connsiteY17" fmla="*/ 716756 h 932656"/>
                <a:gd name="connsiteX18" fmla="*/ 1212850 w 1403350"/>
                <a:gd name="connsiteY18" fmla="*/ 735806 h 932656"/>
                <a:gd name="connsiteX19" fmla="*/ 1187450 w 1403350"/>
                <a:gd name="connsiteY19" fmla="*/ 773906 h 932656"/>
                <a:gd name="connsiteX20" fmla="*/ 1174750 w 1403350"/>
                <a:gd name="connsiteY20" fmla="*/ 792956 h 932656"/>
                <a:gd name="connsiteX21" fmla="*/ 1155700 w 1403350"/>
                <a:gd name="connsiteY21" fmla="*/ 805656 h 932656"/>
                <a:gd name="connsiteX22" fmla="*/ 1123950 w 1403350"/>
                <a:gd name="connsiteY22" fmla="*/ 869156 h 932656"/>
                <a:gd name="connsiteX23" fmla="*/ 1117600 w 1403350"/>
                <a:gd name="connsiteY23" fmla="*/ 888206 h 932656"/>
                <a:gd name="connsiteX24" fmla="*/ 1117600 w 1403350"/>
                <a:gd name="connsiteY24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352550 w 1403350"/>
                <a:gd name="connsiteY8" fmla="*/ 373856 h 932656"/>
                <a:gd name="connsiteX9" fmla="*/ 1403350 w 1403350"/>
                <a:gd name="connsiteY9" fmla="*/ 469106 h 932656"/>
                <a:gd name="connsiteX10" fmla="*/ 1397000 w 1403350"/>
                <a:gd name="connsiteY10" fmla="*/ 577056 h 932656"/>
                <a:gd name="connsiteX11" fmla="*/ 1384300 w 1403350"/>
                <a:gd name="connsiteY11" fmla="*/ 615156 h 932656"/>
                <a:gd name="connsiteX12" fmla="*/ 1327150 w 1403350"/>
                <a:gd name="connsiteY12" fmla="*/ 646906 h 932656"/>
                <a:gd name="connsiteX13" fmla="*/ 1308100 w 1403350"/>
                <a:gd name="connsiteY13" fmla="*/ 659606 h 932656"/>
                <a:gd name="connsiteX14" fmla="*/ 1270000 w 1403350"/>
                <a:gd name="connsiteY14" fmla="*/ 685006 h 932656"/>
                <a:gd name="connsiteX15" fmla="*/ 1231900 w 1403350"/>
                <a:gd name="connsiteY15" fmla="*/ 697706 h 932656"/>
                <a:gd name="connsiteX16" fmla="*/ 1219200 w 1403350"/>
                <a:gd name="connsiteY16" fmla="*/ 716756 h 932656"/>
                <a:gd name="connsiteX17" fmla="*/ 1212850 w 1403350"/>
                <a:gd name="connsiteY17" fmla="*/ 735806 h 932656"/>
                <a:gd name="connsiteX18" fmla="*/ 1187450 w 1403350"/>
                <a:gd name="connsiteY18" fmla="*/ 773906 h 932656"/>
                <a:gd name="connsiteX19" fmla="*/ 1174750 w 1403350"/>
                <a:gd name="connsiteY19" fmla="*/ 792956 h 932656"/>
                <a:gd name="connsiteX20" fmla="*/ 1155700 w 1403350"/>
                <a:gd name="connsiteY20" fmla="*/ 805656 h 932656"/>
                <a:gd name="connsiteX21" fmla="*/ 1123950 w 1403350"/>
                <a:gd name="connsiteY21" fmla="*/ 869156 h 932656"/>
                <a:gd name="connsiteX22" fmla="*/ 1117600 w 1403350"/>
                <a:gd name="connsiteY22" fmla="*/ 888206 h 932656"/>
                <a:gd name="connsiteX23" fmla="*/ 1117600 w 1403350"/>
                <a:gd name="connsiteY2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403350 w 1403350"/>
                <a:gd name="connsiteY8" fmla="*/ 469106 h 932656"/>
                <a:gd name="connsiteX9" fmla="*/ 1397000 w 1403350"/>
                <a:gd name="connsiteY9" fmla="*/ 577056 h 932656"/>
                <a:gd name="connsiteX10" fmla="*/ 1384300 w 1403350"/>
                <a:gd name="connsiteY10" fmla="*/ 615156 h 932656"/>
                <a:gd name="connsiteX11" fmla="*/ 1327150 w 1403350"/>
                <a:gd name="connsiteY11" fmla="*/ 646906 h 932656"/>
                <a:gd name="connsiteX12" fmla="*/ 1308100 w 1403350"/>
                <a:gd name="connsiteY12" fmla="*/ 659606 h 932656"/>
                <a:gd name="connsiteX13" fmla="*/ 1270000 w 1403350"/>
                <a:gd name="connsiteY13" fmla="*/ 685006 h 932656"/>
                <a:gd name="connsiteX14" fmla="*/ 1231900 w 1403350"/>
                <a:gd name="connsiteY14" fmla="*/ 697706 h 932656"/>
                <a:gd name="connsiteX15" fmla="*/ 1219200 w 1403350"/>
                <a:gd name="connsiteY15" fmla="*/ 716756 h 932656"/>
                <a:gd name="connsiteX16" fmla="*/ 1212850 w 1403350"/>
                <a:gd name="connsiteY16" fmla="*/ 735806 h 932656"/>
                <a:gd name="connsiteX17" fmla="*/ 1187450 w 1403350"/>
                <a:gd name="connsiteY17" fmla="*/ 773906 h 932656"/>
                <a:gd name="connsiteX18" fmla="*/ 1174750 w 1403350"/>
                <a:gd name="connsiteY18" fmla="*/ 792956 h 932656"/>
                <a:gd name="connsiteX19" fmla="*/ 1155700 w 1403350"/>
                <a:gd name="connsiteY19" fmla="*/ 805656 h 932656"/>
                <a:gd name="connsiteX20" fmla="*/ 1123950 w 1403350"/>
                <a:gd name="connsiteY20" fmla="*/ 869156 h 932656"/>
                <a:gd name="connsiteX21" fmla="*/ 1117600 w 1403350"/>
                <a:gd name="connsiteY21" fmla="*/ 888206 h 932656"/>
                <a:gd name="connsiteX22" fmla="*/ 1117600 w 1403350"/>
                <a:gd name="connsiteY22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01735 w 1403350"/>
                <a:gd name="connsiteY8" fmla="*/ 241299 h 932656"/>
                <a:gd name="connsiteX9" fmla="*/ 1403350 w 1403350"/>
                <a:gd name="connsiteY9" fmla="*/ 469106 h 932656"/>
                <a:gd name="connsiteX10" fmla="*/ 1397000 w 1403350"/>
                <a:gd name="connsiteY10" fmla="*/ 577056 h 932656"/>
                <a:gd name="connsiteX11" fmla="*/ 1384300 w 1403350"/>
                <a:gd name="connsiteY11" fmla="*/ 615156 h 932656"/>
                <a:gd name="connsiteX12" fmla="*/ 1327150 w 1403350"/>
                <a:gd name="connsiteY12" fmla="*/ 646906 h 932656"/>
                <a:gd name="connsiteX13" fmla="*/ 1308100 w 1403350"/>
                <a:gd name="connsiteY13" fmla="*/ 659606 h 932656"/>
                <a:gd name="connsiteX14" fmla="*/ 1270000 w 1403350"/>
                <a:gd name="connsiteY14" fmla="*/ 685006 h 932656"/>
                <a:gd name="connsiteX15" fmla="*/ 1231900 w 1403350"/>
                <a:gd name="connsiteY15" fmla="*/ 697706 h 932656"/>
                <a:gd name="connsiteX16" fmla="*/ 1219200 w 1403350"/>
                <a:gd name="connsiteY16" fmla="*/ 716756 h 932656"/>
                <a:gd name="connsiteX17" fmla="*/ 1212850 w 1403350"/>
                <a:gd name="connsiteY17" fmla="*/ 735806 h 932656"/>
                <a:gd name="connsiteX18" fmla="*/ 1187450 w 1403350"/>
                <a:gd name="connsiteY18" fmla="*/ 773906 h 932656"/>
                <a:gd name="connsiteX19" fmla="*/ 1174750 w 1403350"/>
                <a:gd name="connsiteY19" fmla="*/ 792956 h 932656"/>
                <a:gd name="connsiteX20" fmla="*/ 1155700 w 1403350"/>
                <a:gd name="connsiteY20" fmla="*/ 805656 h 932656"/>
                <a:gd name="connsiteX21" fmla="*/ 1123950 w 1403350"/>
                <a:gd name="connsiteY21" fmla="*/ 869156 h 932656"/>
                <a:gd name="connsiteX22" fmla="*/ 1117600 w 1403350"/>
                <a:gd name="connsiteY22" fmla="*/ 888206 h 932656"/>
                <a:gd name="connsiteX23" fmla="*/ 1117600 w 1403350"/>
                <a:gd name="connsiteY2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01735 w 1403350"/>
                <a:gd name="connsiteY8" fmla="*/ 241299 h 932656"/>
                <a:gd name="connsiteX9" fmla="*/ 1403350 w 1403350"/>
                <a:gd name="connsiteY9" fmla="*/ 469106 h 932656"/>
                <a:gd name="connsiteX10" fmla="*/ 1397000 w 1403350"/>
                <a:gd name="connsiteY10" fmla="*/ 577056 h 932656"/>
                <a:gd name="connsiteX11" fmla="*/ 1384300 w 1403350"/>
                <a:gd name="connsiteY11" fmla="*/ 615156 h 932656"/>
                <a:gd name="connsiteX12" fmla="*/ 1327150 w 1403350"/>
                <a:gd name="connsiteY12" fmla="*/ 646906 h 932656"/>
                <a:gd name="connsiteX13" fmla="*/ 1308100 w 1403350"/>
                <a:gd name="connsiteY13" fmla="*/ 659606 h 932656"/>
                <a:gd name="connsiteX14" fmla="*/ 1270000 w 1403350"/>
                <a:gd name="connsiteY14" fmla="*/ 685006 h 932656"/>
                <a:gd name="connsiteX15" fmla="*/ 1231900 w 1403350"/>
                <a:gd name="connsiteY15" fmla="*/ 697706 h 932656"/>
                <a:gd name="connsiteX16" fmla="*/ 1219200 w 1403350"/>
                <a:gd name="connsiteY16" fmla="*/ 716756 h 932656"/>
                <a:gd name="connsiteX17" fmla="*/ 1212850 w 1403350"/>
                <a:gd name="connsiteY17" fmla="*/ 735806 h 932656"/>
                <a:gd name="connsiteX18" fmla="*/ 1187450 w 1403350"/>
                <a:gd name="connsiteY18" fmla="*/ 773906 h 932656"/>
                <a:gd name="connsiteX19" fmla="*/ 1174750 w 1403350"/>
                <a:gd name="connsiteY19" fmla="*/ 792956 h 932656"/>
                <a:gd name="connsiteX20" fmla="*/ 1155700 w 1403350"/>
                <a:gd name="connsiteY20" fmla="*/ 805656 h 932656"/>
                <a:gd name="connsiteX21" fmla="*/ 1123950 w 1403350"/>
                <a:gd name="connsiteY21" fmla="*/ 869156 h 932656"/>
                <a:gd name="connsiteX22" fmla="*/ 1117600 w 1403350"/>
                <a:gd name="connsiteY22" fmla="*/ 888206 h 932656"/>
                <a:gd name="connsiteX23" fmla="*/ 1117600 w 1403350"/>
                <a:gd name="connsiteY2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01735 w 1403350"/>
                <a:gd name="connsiteY8" fmla="*/ 241299 h 932656"/>
                <a:gd name="connsiteX9" fmla="*/ 1403350 w 1403350"/>
                <a:gd name="connsiteY9" fmla="*/ 469106 h 932656"/>
                <a:gd name="connsiteX10" fmla="*/ 1397000 w 1403350"/>
                <a:gd name="connsiteY10" fmla="*/ 577056 h 932656"/>
                <a:gd name="connsiteX11" fmla="*/ 1384300 w 1403350"/>
                <a:gd name="connsiteY11" fmla="*/ 615156 h 932656"/>
                <a:gd name="connsiteX12" fmla="*/ 1327150 w 1403350"/>
                <a:gd name="connsiteY12" fmla="*/ 646906 h 932656"/>
                <a:gd name="connsiteX13" fmla="*/ 1308100 w 1403350"/>
                <a:gd name="connsiteY13" fmla="*/ 659606 h 932656"/>
                <a:gd name="connsiteX14" fmla="*/ 1270000 w 1403350"/>
                <a:gd name="connsiteY14" fmla="*/ 685006 h 932656"/>
                <a:gd name="connsiteX15" fmla="*/ 1231900 w 1403350"/>
                <a:gd name="connsiteY15" fmla="*/ 697706 h 932656"/>
                <a:gd name="connsiteX16" fmla="*/ 1219200 w 1403350"/>
                <a:gd name="connsiteY16" fmla="*/ 716756 h 932656"/>
                <a:gd name="connsiteX17" fmla="*/ 1212850 w 1403350"/>
                <a:gd name="connsiteY17" fmla="*/ 735806 h 932656"/>
                <a:gd name="connsiteX18" fmla="*/ 1187450 w 1403350"/>
                <a:gd name="connsiteY18" fmla="*/ 773906 h 932656"/>
                <a:gd name="connsiteX19" fmla="*/ 1174750 w 1403350"/>
                <a:gd name="connsiteY19" fmla="*/ 792956 h 932656"/>
                <a:gd name="connsiteX20" fmla="*/ 1155700 w 1403350"/>
                <a:gd name="connsiteY20" fmla="*/ 805656 h 932656"/>
                <a:gd name="connsiteX21" fmla="*/ 1123950 w 1403350"/>
                <a:gd name="connsiteY21" fmla="*/ 869156 h 932656"/>
                <a:gd name="connsiteX22" fmla="*/ 1117600 w 1403350"/>
                <a:gd name="connsiteY22" fmla="*/ 888206 h 932656"/>
                <a:gd name="connsiteX23" fmla="*/ 1117600 w 1403350"/>
                <a:gd name="connsiteY2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201735 w 1403350"/>
                <a:gd name="connsiteY8" fmla="*/ 241299 h 932656"/>
                <a:gd name="connsiteX9" fmla="*/ 1403350 w 1403350"/>
                <a:gd name="connsiteY9" fmla="*/ 469106 h 932656"/>
                <a:gd name="connsiteX10" fmla="*/ 1397000 w 1403350"/>
                <a:gd name="connsiteY10" fmla="*/ 577056 h 932656"/>
                <a:gd name="connsiteX11" fmla="*/ 1384300 w 1403350"/>
                <a:gd name="connsiteY11" fmla="*/ 615156 h 932656"/>
                <a:gd name="connsiteX12" fmla="*/ 1327150 w 1403350"/>
                <a:gd name="connsiteY12" fmla="*/ 646906 h 932656"/>
                <a:gd name="connsiteX13" fmla="*/ 1308100 w 1403350"/>
                <a:gd name="connsiteY13" fmla="*/ 659606 h 932656"/>
                <a:gd name="connsiteX14" fmla="*/ 1270000 w 1403350"/>
                <a:gd name="connsiteY14" fmla="*/ 685006 h 932656"/>
                <a:gd name="connsiteX15" fmla="*/ 1231900 w 1403350"/>
                <a:gd name="connsiteY15" fmla="*/ 697706 h 932656"/>
                <a:gd name="connsiteX16" fmla="*/ 1219200 w 1403350"/>
                <a:gd name="connsiteY16" fmla="*/ 716756 h 932656"/>
                <a:gd name="connsiteX17" fmla="*/ 1212850 w 1403350"/>
                <a:gd name="connsiteY17" fmla="*/ 735806 h 932656"/>
                <a:gd name="connsiteX18" fmla="*/ 1187450 w 1403350"/>
                <a:gd name="connsiteY18" fmla="*/ 773906 h 932656"/>
                <a:gd name="connsiteX19" fmla="*/ 1174750 w 1403350"/>
                <a:gd name="connsiteY19" fmla="*/ 792956 h 932656"/>
                <a:gd name="connsiteX20" fmla="*/ 1155700 w 1403350"/>
                <a:gd name="connsiteY20" fmla="*/ 805656 h 932656"/>
                <a:gd name="connsiteX21" fmla="*/ 1123950 w 1403350"/>
                <a:gd name="connsiteY21" fmla="*/ 869156 h 932656"/>
                <a:gd name="connsiteX22" fmla="*/ 1117600 w 1403350"/>
                <a:gd name="connsiteY22" fmla="*/ 888206 h 932656"/>
                <a:gd name="connsiteX23" fmla="*/ 1117600 w 1403350"/>
                <a:gd name="connsiteY23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00150 w 1403350"/>
                <a:gd name="connsiteY7" fmla="*/ 234156 h 932656"/>
                <a:gd name="connsiteX8" fmla="*/ 1403350 w 1403350"/>
                <a:gd name="connsiteY8" fmla="*/ 469106 h 932656"/>
                <a:gd name="connsiteX9" fmla="*/ 1397000 w 1403350"/>
                <a:gd name="connsiteY9" fmla="*/ 577056 h 932656"/>
                <a:gd name="connsiteX10" fmla="*/ 1384300 w 1403350"/>
                <a:gd name="connsiteY10" fmla="*/ 615156 h 932656"/>
                <a:gd name="connsiteX11" fmla="*/ 1327150 w 1403350"/>
                <a:gd name="connsiteY11" fmla="*/ 646906 h 932656"/>
                <a:gd name="connsiteX12" fmla="*/ 1308100 w 1403350"/>
                <a:gd name="connsiteY12" fmla="*/ 659606 h 932656"/>
                <a:gd name="connsiteX13" fmla="*/ 1270000 w 1403350"/>
                <a:gd name="connsiteY13" fmla="*/ 685006 h 932656"/>
                <a:gd name="connsiteX14" fmla="*/ 1231900 w 1403350"/>
                <a:gd name="connsiteY14" fmla="*/ 697706 h 932656"/>
                <a:gd name="connsiteX15" fmla="*/ 1219200 w 1403350"/>
                <a:gd name="connsiteY15" fmla="*/ 716756 h 932656"/>
                <a:gd name="connsiteX16" fmla="*/ 1212850 w 1403350"/>
                <a:gd name="connsiteY16" fmla="*/ 735806 h 932656"/>
                <a:gd name="connsiteX17" fmla="*/ 1187450 w 1403350"/>
                <a:gd name="connsiteY17" fmla="*/ 773906 h 932656"/>
                <a:gd name="connsiteX18" fmla="*/ 1174750 w 1403350"/>
                <a:gd name="connsiteY18" fmla="*/ 792956 h 932656"/>
                <a:gd name="connsiteX19" fmla="*/ 1155700 w 1403350"/>
                <a:gd name="connsiteY19" fmla="*/ 805656 h 932656"/>
                <a:gd name="connsiteX20" fmla="*/ 1123950 w 1403350"/>
                <a:gd name="connsiteY20" fmla="*/ 869156 h 932656"/>
                <a:gd name="connsiteX21" fmla="*/ 1117600 w 1403350"/>
                <a:gd name="connsiteY21" fmla="*/ 888206 h 932656"/>
                <a:gd name="connsiteX22" fmla="*/ 1117600 w 1403350"/>
                <a:gd name="connsiteY22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40632 w 1403350"/>
                <a:gd name="connsiteY7" fmla="*/ 281781 h 932656"/>
                <a:gd name="connsiteX8" fmla="*/ 1403350 w 1403350"/>
                <a:gd name="connsiteY8" fmla="*/ 469106 h 932656"/>
                <a:gd name="connsiteX9" fmla="*/ 1397000 w 1403350"/>
                <a:gd name="connsiteY9" fmla="*/ 577056 h 932656"/>
                <a:gd name="connsiteX10" fmla="*/ 1384300 w 1403350"/>
                <a:gd name="connsiteY10" fmla="*/ 615156 h 932656"/>
                <a:gd name="connsiteX11" fmla="*/ 1327150 w 1403350"/>
                <a:gd name="connsiteY11" fmla="*/ 646906 h 932656"/>
                <a:gd name="connsiteX12" fmla="*/ 1308100 w 1403350"/>
                <a:gd name="connsiteY12" fmla="*/ 659606 h 932656"/>
                <a:gd name="connsiteX13" fmla="*/ 1270000 w 1403350"/>
                <a:gd name="connsiteY13" fmla="*/ 685006 h 932656"/>
                <a:gd name="connsiteX14" fmla="*/ 1231900 w 1403350"/>
                <a:gd name="connsiteY14" fmla="*/ 697706 h 932656"/>
                <a:gd name="connsiteX15" fmla="*/ 1219200 w 1403350"/>
                <a:gd name="connsiteY15" fmla="*/ 716756 h 932656"/>
                <a:gd name="connsiteX16" fmla="*/ 1212850 w 1403350"/>
                <a:gd name="connsiteY16" fmla="*/ 735806 h 932656"/>
                <a:gd name="connsiteX17" fmla="*/ 1187450 w 1403350"/>
                <a:gd name="connsiteY17" fmla="*/ 773906 h 932656"/>
                <a:gd name="connsiteX18" fmla="*/ 1174750 w 1403350"/>
                <a:gd name="connsiteY18" fmla="*/ 792956 h 932656"/>
                <a:gd name="connsiteX19" fmla="*/ 1155700 w 1403350"/>
                <a:gd name="connsiteY19" fmla="*/ 805656 h 932656"/>
                <a:gd name="connsiteX20" fmla="*/ 1123950 w 1403350"/>
                <a:gd name="connsiteY20" fmla="*/ 869156 h 932656"/>
                <a:gd name="connsiteX21" fmla="*/ 1117600 w 1403350"/>
                <a:gd name="connsiteY21" fmla="*/ 888206 h 932656"/>
                <a:gd name="connsiteX22" fmla="*/ 1117600 w 1403350"/>
                <a:gd name="connsiteY22" fmla="*/ 932656 h 932656"/>
                <a:gd name="connsiteX0" fmla="*/ 0 w 1403350"/>
                <a:gd name="connsiteY0" fmla="*/ 107156 h 932656"/>
                <a:gd name="connsiteX1" fmla="*/ 50800 w 1403350"/>
                <a:gd name="connsiteY1" fmla="*/ 94456 h 932656"/>
                <a:gd name="connsiteX2" fmla="*/ 69850 w 1403350"/>
                <a:gd name="connsiteY2" fmla="*/ 81756 h 932656"/>
                <a:gd name="connsiteX3" fmla="*/ 101600 w 1403350"/>
                <a:gd name="connsiteY3" fmla="*/ 75406 h 932656"/>
                <a:gd name="connsiteX4" fmla="*/ 498475 w 1403350"/>
                <a:gd name="connsiteY4" fmla="*/ 0 h 932656"/>
                <a:gd name="connsiteX5" fmla="*/ 781050 w 1403350"/>
                <a:gd name="connsiteY5" fmla="*/ 30956 h 932656"/>
                <a:gd name="connsiteX6" fmla="*/ 984250 w 1403350"/>
                <a:gd name="connsiteY6" fmla="*/ 107156 h 932656"/>
                <a:gd name="connsiteX7" fmla="*/ 1240632 w 1403350"/>
                <a:gd name="connsiteY7" fmla="*/ 281781 h 932656"/>
                <a:gd name="connsiteX8" fmla="*/ 1403350 w 1403350"/>
                <a:gd name="connsiteY8" fmla="*/ 469106 h 932656"/>
                <a:gd name="connsiteX9" fmla="*/ 1397000 w 1403350"/>
                <a:gd name="connsiteY9" fmla="*/ 577056 h 932656"/>
                <a:gd name="connsiteX10" fmla="*/ 1384300 w 1403350"/>
                <a:gd name="connsiteY10" fmla="*/ 615156 h 932656"/>
                <a:gd name="connsiteX11" fmla="*/ 1327150 w 1403350"/>
                <a:gd name="connsiteY11" fmla="*/ 646906 h 932656"/>
                <a:gd name="connsiteX12" fmla="*/ 1308100 w 1403350"/>
                <a:gd name="connsiteY12" fmla="*/ 659606 h 932656"/>
                <a:gd name="connsiteX13" fmla="*/ 1270000 w 1403350"/>
                <a:gd name="connsiteY13" fmla="*/ 685006 h 932656"/>
                <a:gd name="connsiteX14" fmla="*/ 1231900 w 1403350"/>
                <a:gd name="connsiteY14" fmla="*/ 697706 h 932656"/>
                <a:gd name="connsiteX15" fmla="*/ 1219200 w 1403350"/>
                <a:gd name="connsiteY15" fmla="*/ 716756 h 932656"/>
                <a:gd name="connsiteX16" fmla="*/ 1212850 w 1403350"/>
                <a:gd name="connsiteY16" fmla="*/ 735806 h 932656"/>
                <a:gd name="connsiteX17" fmla="*/ 1187450 w 1403350"/>
                <a:gd name="connsiteY17" fmla="*/ 773906 h 932656"/>
                <a:gd name="connsiteX18" fmla="*/ 1174750 w 1403350"/>
                <a:gd name="connsiteY18" fmla="*/ 792956 h 932656"/>
                <a:gd name="connsiteX19" fmla="*/ 1155700 w 1403350"/>
                <a:gd name="connsiteY19" fmla="*/ 805656 h 932656"/>
                <a:gd name="connsiteX20" fmla="*/ 1123950 w 1403350"/>
                <a:gd name="connsiteY20" fmla="*/ 869156 h 932656"/>
                <a:gd name="connsiteX21" fmla="*/ 1117600 w 1403350"/>
                <a:gd name="connsiteY21" fmla="*/ 888206 h 932656"/>
                <a:gd name="connsiteX22" fmla="*/ 1117600 w 1403350"/>
                <a:gd name="connsiteY22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615156 h 932656"/>
                <a:gd name="connsiteX10" fmla="*/ 1327150 w 1427295"/>
                <a:gd name="connsiteY10" fmla="*/ 646906 h 932656"/>
                <a:gd name="connsiteX11" fmla="*/ 1308100 w 1427295"/>
                <a:gd name="connsiteY11" fmla="*/ 659606 h 932656"/>
                <a:gd name="connsiteX12" fmla="*/ 1270000 w 1427295"/>
                <a:gd name="connsiteY12" fmla="*/ 685006 h 932656"/>
                <a:gd name="connsiteX13" fmla="*/ 1231900 w 1427295"/>
                <a:gd name="connsiteY13" fmla="*/ 697706 h 932656"/>
                <a:gd name="connsiteX14" fmla="*/ 1219200 w 1427295"/>
                <a:gd name="connsiteY14" fmla="*/ 716756 h 932656"/>
                <a:gd name="connsiteX15" fmla="*/ 1212850 w 1427295"/>
                <a:gd name="connsiteY15" fmla="*/ 735806 h 932656"/>
                <a:gd name="connsiteX16" fmla="*/ 1187450 w 1427295"/>
                <a:gd name="connsiteY16" fmla="*/ 773906 h 932656"/>
                <a:gd name="connsiteX17" fmla="*/ 1174750 w 1427295"/>
                <a:gd name="connsiteY17" fmla="*/ 792956 h 932656"/>
                <a:gd name="connsiteX18" fmla="*/ 1155700 w 1427295"/>
                <a:gd name="connsiteY18" fmla="*/ 805656 h 932656"/>
                <a:gd name="connsiteX19" fmla="*/ 1123950 w 1427295"/>
                <a:gd name="connsiteY19" fmla="*/ 869156 h 932656"/>
                <a:gd name="connsiteX20" fmla="*/ 1117600 w 1427295"/>
                <a:gd name="connsiteY20" fmla="*/ 888206 h 932656"/>
                <a:gd name="connsiteX21" fmla="*/ 1117600 w 1427295"/>
                <a:gd name="connsiteY21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308100 w 1427295"/>
                <a:gd name="connsiteY11" fmla="*/ 659606 h 932656"/>
                <a:gd name="connsiteX12" fmla="*/ 1270000 w 1427295"/>
                <a:gd name="connsiteY12" fmla="*/ 685006 h 932656"/>
                <a:gd name="connsiteX13" fmla="*/ 1231900 w 1427295"/>
                <a:gd name="connsiteY13" fmla="*/ 697706 h 932656"/>
                <a:gd name="connsiteX14" fmla="*/ 1219200 w 1427295"/>
                <a:gd name="connsiteY14" fmla="*/ 716756 h 932656"/>
                <a:gd name="connsiteX15" fmla="*/ 1212850 w 1427295"/>
                <a:gd name="connsiteY15" fmla="*/ 735806 h 932656"/>
                <a:gd name="connsiteX16" fmla="*/ 1187450 w 1427295"/>
                <a:gd name="connsiteY16" fmla="*/ 773906 h 932656"/>
                <a:gd name="connsiteX17" fmla="*/ 1174750 w 1427295"/>
                <a:gd name="connsiteY17" fmla="*/ 792956 h 932656"/>
                <a:gd name="connsiteX18" fmla="*/ 1155700 w 1427295"/>
                <a:gd name="connsiteY18" fmla="*/ 805656 h 932656"/>
                <a:gd name="connsiteX19" fmla="*/ 1123950 w 1427295"/>
                <a:gd name="connsiteY19" fmla="*/ 869156 h 932656"/>
                <a:gd name="connsiteX20" fmla="*/ 1117600 w 1427295"/>
                <a:gd name="connsiteY20" fmla="*/ 888206 h 932656"/>
                <a:gd name="connsiteX21" fmla="*/ 1117600 w 1427295"/>
                <a:gd name="connsiteY21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231900 w 1427295"/>
                <a:gd name="connsiteY12" fmla="*/ 697706 h 932656"/>
                <a:gd name="connsiteX13" fmla="*/ 1219200 w 1427295"/>
                <a:gd name="connsiteY13" fmla="*/ 716756 h 932656"/>
                <a:gd name="connsiteX14" fmla="*/ 1212850 w 1427295"/>
                <a:gd name="connsiteY14" fmla="*/ 735806 h 932656"/>
                <a:gd name="connsiteX15" fmla="*/ 1187450 w 1427295"/>
                <a:gd name="connsiteY15" fmla="*/ 773906 h 932656"/>
                <a:gd name="connsiteX16" fmla="*/ 1174750 w 1427295"/>
                <a:gd name="connsiteY16" fmla="*/ 792956 h 932656"/>
                <a:gd name="connsiteX17" fmla="*/ 1155700 w 1427295"/>
                <a:gd name="connsiteY17" fmla="*/ 805656 h 932656"/>
                <a:gd name="connsiteX18" fmla="*/ 1123950 w 1427295"/>
                <a:gd name="connsiteY18" fmla="*/ 869156 h 932656"/>
                <a:gd name="connsiteX19" fmla="*/ 1117600 w 1427295"/>
                <a:gd name="connsiteY19" fmla="*/ 888206 h 932656"/>
                <a:gd name="connsiteX20" fmla="*/ 1117600 w 1427295"/>
                <a:gd name="connsiteY20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231900 w 1427295"/>
                <a:gd name="connsiteY12" fmla="*/ 697706 h 932656"/>
                <a:gd name="connsiteX13" fmla="*/ 1212850 w 1427295"/>
                <a:gd name="connsiteY13" fmla="*/ 735806 h 932656"/>
                <a:gd name="connsiteX14" fmla="*/ 1187450 w 1427295"/>
                <a:gd name="connsiteY14" fmla="*/ 773906 h 932656"/>
                <a:gd name="connsiteX15" fmla="*/ 1174750 w 1427295"/>
                <a:gd name="connsiteY15" fmla="*/ 792956 h 932656"/>
                <a:gd name="connsiteX16" fmla="*/ 1155700 w 1427295"/>
                <a:gd name="connsiteY16" fmla="*/ 805656 h 932656"/>
                <a:gd name="connsiteX17" fmla="*/ 1123950 w 1427295"/>
                <a:gd name="connsiteY17" fmla="*/ 869156 h 932656"/>
                <a:gd name="connsiteX18" fmla="*/ 1117600 w 1427295"/>
                <a:gd name="connsiteY18" fmla="*/ 888206 h 932656"/>
                <a:gd name="connsiteX19" fmla="*/ 1117600 w 1427295"/>
                <a:gd name="connsiteY19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212850 w 1427295"/>
                <a:gd name="connsiteY12" fmla="*/ 735806 h 932656"/>
                <a:gd name="connsiteX13" fmla="*/ 1187450 w 1427295"/>
                <a:gd name="connsiteY13" fmla="*/ 773906 h 932656"/>
                <a:gd name="connsiteX14" fmla="*/ 1174750 w 1427295"/>
                <a:gd name="connsiteY14" fmla="*/ 792956 h 932656"/>
                <a:gd name="connsiteX15" fmla="*/ 1155700 w 1427295"/>
                <a:gd name="connsiteY15" fmla="*/ 805656 h 932656"/>
                <a:gd name="connsiteX16" fmla="*/ 1123950 w 1427295"/>
                <a:gd name="connsiteY16" fmla="*/ 869156 h 932656"/>
                <a:gd name="connsiteX17" fmla="*/ 1117600 w 1427295"/>
                <a:gd name="connsiteY17" fmla="*/ 888206 h 932656"/>
                <a:gd name="connsiteX18" fmla="*/ 1117600 w 1427295"/>
                <a:gd name="connsiteY18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187450 w 1427295"/>
                <a:gd name="connsiteY12" fmla="*/ 773906 h 932656"/>
                <a:gd name="connsiteX13" fmla="*/ 1174750 w 1427295"/>
                <a:gd name="connsiteY13" fmla="*/ 792956 h 932656"/>
                <a:gd name="connsiteX14" fmla="*/ 1155700 w 1427295"/>
                <a:gd name="connsiteY14" fmla="*/ 805656 h 932656"/>
                <a:gd name="connsiteX15" fmla="*/ 1123950 w 1427295"/>
                <a:gd name="connsiteY15" fmla="*/ 869156 h 932656"/>
                <a:gd name="connsiteX16" fmla="*/ 1117600 w 1427295"/>
                <a:gd name="connsiteY16" fmla="*/ 888206 h 932656"/>
                <a:gd name="connsiteX17" fmla="*/ 1117600 w 1427295"/>
                <a:gd name="connsiteY17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187450 w 1427295"/>
                <a:gd name="connsiteY12" fmla="*/ 773906 h 932656"/>
                <a:gd name="connsiteX13" fmla="*/ 1174750 w 1427295"/>
                <a:gd name="connsiteY13" fmla="*/ 792956 h 932656"/>
                <a:gd name="connsiteX14" fmla="*/ 1123950 w 1427295"/>
                <a:gd name="connsiteY14" fmla="*/ 869156 h 932656"/>
                <a:gd name="connsiteX15" fmla="*/ 1117600 w 1427295"/>
                <a:gd name="connsiteY15" fmla="*/ 888206 h 932656"/>
                <a:gd name="connsiteX16" fmla="*/ 1117600 w 1427295"/>
                <a:gd name="connsiteY16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174750 w 1427295"/>
                <a:gd name="connsiteY12" fmla="*/ 792956 h 932656"/>
                <a:gd name="connsiteX13" fmla="*/ 1123950 w 1427295"/>
                <a:gd name="connsiteY13" fmla="*/ 869156 h 932656"/>
                <a:gd name="connsiteX14" fmla="*/ 1117600 w 1427295"/>
                <a:gd name="connsiteY14" fmla="*/ 888206 h 932656"/>
                <a:gd name="connsiteX15" fmla="*/ 1117600 w 1427295"/>
                <a:gd name="connsiteY15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174750 w 1427295"/>
                <a:gd name="connsiteY12" fmla="*/ 792956 h 932656"/>
                <a:gd name="connsiteX13" fmla="*/ 1123950 w 1427295"/>
                <a:gd name="connsiteY13" fmla="*/ 869156 h 932656"/>
                <a:gd name="connsiteX14" fmla="*/ 1117600 w 1427295"/>
                <a:gd name="connsiteY14" fmla="*/ 888206 h 932656"/>
                <a:gd name="connsiteX15" fmla="*/ 1117600 w 1427295"/>
                <a:gd name="connsiteY15" fmla="*/ 932656 h 932656"/>
                <a:gd name="connsiteX0" fmla="*/ 0 w 1427295"/>
                <a:gd name="connsiteY0" fmla="*/ 107156 h 932656"/>
                <a:gd name="connsiteX1" fmla="*/ 50800 w 1427295"/>
                <a:gd name="connsiteY1" fmla="*/ 94456 h 932656"/>
                <a:gd name="connsiteX2" fmla="*/ 69850 w 1427295"/>
                <a:gd name="connsiteY2" fmla="*/ 81756 h 932656"/>
                <a:gd name="connsiteX3" fmla="*/ 101600 w 1427295"/>
                <a:gd name="connsiteY3" fmla="*/ 75406 h 932656"/>
                <a:gd name="connsiteX4" fmla="*/ 498475 w 1427295"/>
                <a:gd name="connsiteY4" fmla="*/ 0 h 932656"/>
                <a:gd name="connsiteX5" fmla="*/ 781050 w 1427295"/>
                <a:gd name="connsiteY5" fmla="*/ 30956 h 932656"/>
                <a:gd name="connsiteX6" fmla="*/ 984250 w 1427295"/>
                <a:gd name="connsiteY6" fmla="*/ 107156 h 932656"/>
                <a:gd name="connsiteX7" fmla="*/ 1240632 w 1427295"/>
                <a:gd name="connsiteY7" fmla="*/ 281781 h 932656"/>
                <a:gd name="connsiteX8" fmla="*/ 1403350 w 1427295"/>
                <a:gd name="connsiteY8" fmla="*/ 469106 h 932656"/>
                <a:gd name="connsiteX9" fmla="*/ 1384300 w 1427295"/>
                <a:gd name="connsiteY9" fmla="*/ 572294 h 932656"/>
                <a:gd name="connsiteX10" fmla="*/ 1327150 w 1427295"/>
                <a:gd name="connsiteY10" fmla="*/ 646906 h 932656"/>
                <a:gd name="connsiteX11" fmla="*/ 1270000 w 1427295"/>
                <a:gd name="connsiteY11" fmla="*/ 685006 h 932656"/>
                <a:gd name="connsiteX12" fmla="*/ 1174750 w 1427295"/>
                <a:gd name="connsiteY12" fmla="*/ 792956 h 932656"/>
                <a:gd name="connsiteX13" fmla="*/ 1123950 w 1427295"/>
                <a:gd name="connsiteY13" fmla="*/ 869156 h 932656"/>
                <a:gd name="connsiteX14" fmla="*/ 1086643 w 1427295"/>
                <a:gd name="connsiteY14" fmla="*/ 888206 h 932656"/>
                <a:gd name="connsiteX15" fmla="*/ 1117600 w 1427295"/>
                <a:gd name="connsiteY15" fmla="*/ 932656 h 932656"/>
                <a:gd name="connsiteX0" fmla="*/ 0 w 1427295"/>
                <a:gd name="connsiteY0" fmla="*/ 107156 h 902949"/>
                <a:gd name="connsiteX1" fmla="*/ 50800 w 1427295"/>
                <a:gd name="connsiteY1" fmla="*/ 94456 h 902949"/>
                <a:gd name="connsiteX2" fmla="*/ 69850 w 1427295"/>
                <a:gd name="connsiteY2" fmla="*/ 81756 h 902949"/>
                <a:gd name="connsiteX3" fmla="*/ 101600 w 1427295"/>
                <a:gd name="connsiteY3" fmla="*/ 75406 h 902949"/>
                <a:gd name="connsiteX4" fmla="*/ 498475 w 1427295"/>
                <a:gd name="connsiteY4" fmla="*/ 0 h 902949"/>
                <a:gd name="connsiteX5" fmla="*/ 781050 w 1427295"/>
                <a:gd name="connsiteY5" fmla="*/ 30956 h 902949"/>
                <a:gd name="connsiteX6" fmla="*/ 984250 w 1427295"/>
                <a:gd name="connsiteY6" fmla="*/ 107156 h 902949"/>
                <a:gd name="connsiteX7" fmla="*/ 1240632 w 1427295"/>
                <a:gd name="connsiteY7" fmla="*/ 281781 h 902949"/>
                <a:gd name="connsiteX8" fmla="*/ 1403350 w 1427295"/>
                <a:gd name="connsiteY8" fmla="*/ 469106 h 902949"/>
                <a:gd name="connsiteX9" fmla="*/ 1384300 w 1427295"/>
                <a:gd name="connsiteY9" fmla="*/ 572294 h 902949"/>
                <a:gd name="connsiteX10" fmla="*/ 1327150 w 1427295"/>
                <a:gd name="connsiteY10" fmla="*/ 646906 h 902949"/>
                <a:gd name="connsiteX11" fmla="*/ 1270000 w 1427295"/>
                <a:gd name="connsiteY11" fmla="*/ 685006 h 902949"/>
                <a:gd name="connsiteX12" fmla="*/ 1174750 w 1427295"/>
                <a:gd name="connsiteY12" fmla="*/ 792956 h 902949"/>
                <a:gd name="connsiteX13" fmla="*/ 1123950 w 1427295"/>
                <a:gd name="connsiteY13" fmla="*/ 869156 h 902949"/>
                <a:gd name="connsiteX14" fmla="*/ 1086643 w 1427295"/>
                <a:gd name="connsiteY14" fmla="*/ 888206 h 902949"/>
                <a:gd name="connsiteX15" fmla="*/ 1253332 w 1427295"/>
                <a:gd name="connsiteY15" fmla="*/ 896937 h 902949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174750 w 1427295"/>
                <a:gd name="connsiteY12" fmla="*/ 792956 h 896937"/>
                <a:gd name="connsiteX13" fmla="*/ 1123950 w 1427295"/>
                <a:gd name="connsiteY13" fmla="*/ 869156 h 896937"/>
                <a:gd name="connsiteX14" fmla="*/ 1253332 w 1427295"/>
                <a:gd name="connsiteY14" fmla="*/ 896937 h 896937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174750 w 1427295"/>
                <a:gd name="connsiteY12" fmla="*/ 792956 h 896937"/>
                <a:gd name="connsiteX13" fmla="*/ 1123950 w 1427295"/>
                <a:gd name="connsiteY13" fmla="*/ 869156 h 896937"/>
                <a:gd name="connsiteX14" fmla="*/ 1253332 w 1427295"/>
                <a:gd name="connsiteY14" fmla="*/ 896937 h 896937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174750 w 1427295"/>
                <a:gd name="connsiteY12" fmla="*/ 792956 h 896937"/>
                <a:gd name="connsiteX13" fmla="*/ 1168398 w 1427295"/>
                <a:gd name="connsiteY13" fmla="*/ 793750 h 896937"/>
                <a:gd name="connsiteX14" fmla="*/ 1123950 w 1427295"/>
                <a:gd name="connsiteY14" fmla="*/ 869156 h 896937"/>
                <a:gd name="connsiteX15" fmla="*/ 1253332 w 1427295"/>
                <a:gd name="connsiteY15" fmla="*/ 896937 h 896937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174750 w 1427295"/>
                <a:gd name="connsiteY12" fmla="*/ 792956 h 896937"/>
                <a:gd name="connsiteX13" fmla="*/ 1123950 w 1427295"/>
                <a:gd name="connsiteY13" fmla="*/ 869156 h 896937"/>
                <a:gd name="connsiteX14" fmla="*/ 1253332 w 1427295"/>
                <a:gd name="connsiteY14" fmla="*/ 896937 h 896937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098550 w 1427295"/>
                <a:gd name="connsiteY12" fmla="*/ 738187 h 896937"/>
                <a:gd name="connsiteX13" fmla="*/ 1123950 w 1427295"/>
                <a:gd name="connsiteY13" fmla="*/ 869156 h 896937"/>
                <a:gd name="connsiteX14" fmla="*/ 1253332 w 1427295"/>
                <a:gd name="connsiteY14" fmla="*/ 896937 h 896937"/>
                <a:gd name="connsiteX0" fmla="*/ 0 w 1427295"/>
                <a:gd name="connsiteY0" fmla="*/ 107156 h 896937"/>
                <a:gd name="connsiteX1" fmla="*/ 50800 w 1427295"/>
                <a:gd name="connsiteY1" fmla="*/ 94456 h 896937"/>
                <a:gd name="connsiteX2" fmla="*/ 69850 w 1427295"/>
                <a:gd name="connsiteY2" fmla="*/ 81756 h 896937"/>
                <a:gd name="connsiteX3" fmla="*/ 101600 w 1427295"/>
                <a:gd name="connsiteY3" fmla="*/ 75406 h 896937"/>
                <a:gd name="connsiteX4" fmla="*/ 498475 w 1427295"/>
                <a:gd name="connsiteY4" fmla="*/ 0 h 896937"/>
                <a:gd name="connsiteX5" fmla="*/ 781050 w 1427295"/>
                <a:gd name="connsiteY5" fmla="*/ 30956 h 896937"/>
                <a:gd name="connsiteX6" fmla="*/ 984250 w 1427295"/>
                <a:gd name="connsiteY6" fmla="*/ 107156 h 896937"/>
                <a:gd name="connsiteX7" fmla="*/ 1240632 w 1427295"/>
                <a:gd name="connsiteY7" fmla="*/ 281781 h 896937"/>
                <a:gd name="connsiteX8" fmla="*/ 1403350 w 1427295"/>
                <a:gd name="connsiteY8" fmla="*/ 469106 h 896937"/>
                <a:gd name="connsiteX9" fmla="*/ 1384300 w 1427295"/>
                <a:gd name="connsiteY9" fmla="*/ 572294 h 896937"/>
                <a:gd name="connsiteX10" fmla="*/ 1327150 w 1427295"/>
                <a:gd name="connsiteY10" fmla="*/ 646906 h 896937"/>
                <a:gd name="connsiteX11" fmla="*/ 1270000 w 1427295"/>
                <a:gd name="connsiteY11" fmla="*/ 685006 h 896937"/>
                <a:gd name="connsiteX12" fmla="*/ 1162844 w 1427295"/>
                <a:gd name="connsiteY12" fmla="*/ 796130 h 896937"/>
                <a:gd name="connsiteX13" fmla="*/ 1123950 w 1427295"/>
                <a:gd name="connsiteY13" fmla="*/ 869156 h 896937"/>
                <a:gd name="connsiteX14" fmla="*/ 1253332 w 1427295"/>
                <a:gd name="connsiteY14" fmla="*/ 896937 h 896937"/>
                <a:gd name="connsiteX0" fmla="*/ 0 w 1427295"/>
                <a:gd name="connsiteY0" fmla="*/ 81492 h 871273"/>
                <a:gd name="connsiteX1" fmla="*/ 50800 w 1427295"/>
                <a:gd name="connsiteY1" fmla="*/ 68792 h 871273"/>
                <a:gd name="connsiteX2" fmla="*/ 69850 w 1427295"/>
                <a:gd name="connsiteY2" fmla="*/ 56092 h 871273"/>
                <a:gd name="connsiteX3" fmla="*/ 101600 w 1427295"/>
                <a:gd name="connsiteY3" fmla="*/ 49742 h 871273"/>
                <a:gd name="connsiteX4" fmla="*/ 781050 w 1427295"/>
                <a:gd name="connsiteY4" fmla="*/ 5292 h 871273"/>
                <a:gd name="connsiteX5" fmla="*/ 984250 w 1427295"/>
                <a:gd name="connsiteY5" fmla="*/ 81492 h 871273"/>
                <a:gd name="connsiteX6" fmla="*/ 1240632 w 1427295"/>
                <a:gd name="connsiteY6" fmla="*/ 256117 h 871273"/>
                <a:gd name="connsiteX7" fmla="*/ 1403350 w 1427295"/>
                <a:gd name="connsiteY7" fmla="*/ 443442 h 871273"/>
                <a:gd name="connsiteX8" fmla="*/ 1384300 w 1427295"/>
                <a:gd name="connsiteY8" fmla="*/ 546630 h 871273"/>
                <a:gd name="connsiteX9" fmla="*/ 1327150 w 1427295"/>
                <a:gd name="connsiteY9" fmla="*/ 621242 h 871273"/>
                <a:gd name="connsiteX10" fmla="*/ 1270000 w 1427295"/>
                <a:gd name="connsiteY10" fmla="*/ 659342 h 871273"/>
                <a:gd name="connsiteX11" fmla="*/ 1162844 w 1427295"/>
                <a:gd name="connsiteY11" fmla="*/ 770466 h 871273"/>
                <a:gd name="connsiteX12" fmla="*/ 1123950 w 1427295"/>
                <a:gd name="connsiteY12" fmla="*/ 843492 h 871273"/>
                <a:gd name="connsiteX13" fmla="*/ 1253332 w 1427295"/>
                <a:gd name="connsiteY13" fmla="*/ 871273 h 871273"/>
                <a:gd name="connsiteX0" fmla="*/ 0 w 1427295"/>
                <a:gd name="connsiteY0" fmla="*/ 86783 h 876564"/>
                <a:gd name="connsiteX1" fmla="*/ 50800 w 1427295"/>
                <a:gd name="connsiteY1" fmla="*/ 74083 h 876564"/>
                <a:gd name="connsiteX2" fmla="*/ 69850 w 1427295"/>
                <a:gd name="connsiteY2" fmla="*/ 61383 h 876564"/>
                <a:gd name="connsiteX3" fmla="*/ 101600 w 1427295"/>
                <a:gd name="connsiteY3" fmla="*/ 55033 h 876564"/>
                <a:gd name="connsiteX4" fmla="*/ 392110 w 1427295"/>
                <a:gd name="connsiteY4" fmla="*/ 23284 h 876564"/>
                <a:gd name="connsiteX5" fmla="*/ 781050 w 1427295"/>
                <a:gd name="connsiteY5" fmla="*/ 10583 h 876564"/>
                <a:gd name="connsiteX6" fmla="*/ 984250 w 1427295"/>
                <a:gd name="connsiteY6" fmla="*/ 86783 h 876564"/>
                <a:gd name="connsiteX7" fmla="*/ 1240632 w 1427295"/>
                <a:gd name="connsiteY7" fmla="*/ 261408 h 876564"/>
                <a:gd name="connsiteX8" fmla="*/ 1403350 w 1427295"/>
                <a:gd name="connsiteY8" fmla="*/ 448733 h 876564"/>
                <a:gd name="connsiteX9" fmla="*/ 1384300 w 1427295"/>
                <a:gd name="connsiteY9" fmla="*/ 551921 h 876564"/>
                <a:gd name="connsiteX10" fmla="*/ 1327150 w 1427295"/>
                <a:gd name="connsiteY10" fmla="*/ 626533 h 876564"/>
                <a:gd name="connsiteX11" fmla="*/ 1270000 w 1427295"/>
                <a:gd name="connsiteY11" fmla="*/ 664633 h 876564"/>
                <a:gd name="connsiteX12" fmla="*/ 1162844 w 1427295"/>
                <a:gd name="connsiteY12" fmla="*/ 775757 h 876564"/>
                <a:gd name="connsiteX13" fmla="*/ 1123950 w 1427295"/>
                <a:gd name="connsiteY13" fmla="*/ 848783 h 876564"/>
                <a:gd name="connsiteX14" fmla="*/ 1253332 w 1427295"/>
                <a:gd name="connsiteY14" fmla="*/ 876564 h 876564"/>
                <a:gd name="connsiteX0" fmla="*/ 0 w 1427295"/>
                <a:gd name="connsiteY0" fmla="*/ 104244 h 894025"/>
                <a:gd name="connsiteX1" fmla="*/ 50800 w 1427295"/>
                <a:gd name="connsiteY1" fmla="*/ 91544 h 894025"/>
                <a:gd name="connsiteX2" fmla="*/ 69850 w 1427295"/>
                <a:gd name="connsiteY2" fmla="*/ 78844 h 894025"/>
                <a:gd name="connsiteX3" fmla="*/ 101600 w 1427295"/>
                <a:gd name="connsiteY3" fmla="*/ 72494 h 894025"/>
                <a:gd name="connsiteX4" fmla="*/ 392110 w 1427295"/>
                <a:gd name="connsiteY4" fmla="*/ 7408 h 894025"/>
                <a:gd name="connsiteX5" fmla="*/ 781050 w 1427295"/>
                <a:gd name="connsiteY5" fmla="*/ 28044 h 894025"/>
                <a:gd name="connsiteX6" fmla="*/ 984250 w 1427295"/>
                <a:gd name="connsiteY6" fmla="*/ 104244 h 894025"/>
                <a:gd name="connsiteX7" fmla="*/ 1240632 w 1427295"/>
                <a:gd name="connsiteY7" fmla="*/ 278869 h 894025"/>
                <a:gd name="connsiteX8" fmla="*/ 1403350 w 1427295"/>
                <a:gd name="connsiteY8" fmla="*/ 466194 h 894025"/>
                <a:gd name="connsiteX9" fmla="*/ 1384300 w 1427295"/>
                <a:gd name="connsiteY9" fmla="*/ 569382 h 894025"/>
                <a:gd name="connsiteX10" fmla="*/ 1327150 w 1427295"/>
                <a:gd name="connsiteY10" fmla="*/ 643994 h 894025"/>
                <a:gd name="connsiteX11" fmla="*/ 1270000 w 1427295"/>
                <a:gd name="connsiteY11" fmla="*/ 682094 h 894025"/>
                <a:gd name="connsiteX12" fmla="*/ 1162844 w 1427295"/>
                <a:gd name="connsiteY12" fmla="*/ 793218 h 894025"/>
                <a:gd name="connsiteX13" fmla="*/ 1123950 w 1427295"/>
                <a:gd name="connsiteY13" fmla="*/ 866244 h 894025"/>
                <a:gd name="connsiteX14" fmla="*/ 1253332 w 1427295"/>
                <a:gd name="connsiteY14" fmla="*/ 894025 h 894025"/>
                <a:gd name="connsiteX0" fmla="*/ 0 w 1427295"/>
                <a:gd name="connsiteY0" fmla="*/ 104244 h 894025"/>
                <a:gd name="connsiteX1" fmla="*/ 50800 w 1427295"/>
                <a:gd name="connsiteY1" fmla="*/ 91544 h 894025"/>
                <a:gd name="connsiteX2" fmla="*/ 69850 w 1427295"/>
                <a:gd name="connsiteY2" fmla="*/ 78844 h 894025"/>
                <a:gd name="connsiteX3" fmla="*/ 392110 w 1427295"/>
                <a:gd name="connsiteY3" fmla="*/ 7408 h 894025"/>
                <a:gd name="connsiteX4" fmla="*/ 781050 w 1427295"/>
                <a:gd name="connsiteY4" fmla="*/ 28044 h 894025"/>
                <a:gd name="connsiteX5" fmla="*/ 984250 w 1427295"/>
                <a:gd name="connsiteY5" fmla="*/ 104244 h 894025"/>
                <a:gd name="connsiteX6" fmla="*/ 1240632 w 1427295"/>
                <a:gd name="connsiteY6" fmla="*/ 278869 h 894025"/>
                <a:gd name="connsiteX7" fmla="*/ 1403350 w 1427295"/>
                <a:gd name="connsiteY7" fmla="*/ 466194 h 894025"/>
                <a:gd name="connsiteX8" fmla="*/ 1384300 w 1427295"/>
                <a:gd name="connsiteY8" fmla="*/ 569382 h 894025"/>
                <a:gd name="connsiteX9" fmla="*/ 1327150 w 1427295"/>
                <a:gd name="connsiteY9" fmla="*/ 643994 h 894025"/>
                <a:gd name="connsiteX10" fmla="*/ 1270000 w 1427295"/>
                <a:gd name="connsiteY10" fmla="*/ 682094 h 894025"/>
                <a:gd name="connsiteX11" fmla="*/ 1162844 w 1427295"/>
                <a:gd name="connsiteY11" fmla="*/ 793218 h 894025"/>
                <a:gd name="connsiteX12" fmla="*/ 1123950 w 1427295"/>
                <a:gd name="connsiteY12" fmla="*/ 866244 h 894025"/>
                <a:gd name="connsiteX13" fmla="*/ 1253332 w 1427295"/>
                <a:gd name="connsiteY13" fmla="*/ 894025 h 894025"/>
                <a:gd name="connsiteX0" fmla="*/ 0 w 1427295"/>
                <a:gd name="connsiteY0" fmla="*/ 104244 h 894025"/>
                <a:gd name="connsiteX1" fmla="*/ 50800 w 1427295"/>
                <a:gd name="connsiteY1" fmla="*/ 91544 h 894025"/>
                <a:gd name="connsiteX2" fmla="*/ 392110 w 1427295"/>
                <a:gd name="connsiteY2" fmla="*/ 7408 h 894025"/>
                <a:gd name="connsiteX3" fmla="*/ 781050 w 1427295"/>
                <a:gd name="connsiteY3" fmla="*/ 28044 h 894025"/>
                <a:gd name="connsiteX4" fmla="*/ 984250 w 1427295"/>
                <a:gd name="connsiteY4" fmla="*/ 104244 h 894025"/>
                <a:gd name="connsiteX5" fmla="*/ 1240632 w 1427295"/>
                <a:gd name="connsiteY5" fmla="*/ 278869 h 894025"/>
                <a:gd name="connsiteX6" fmla="*/ 1403350 w 1427295"/>
                <a:gd name="connsiteY6" fmla="*/ 466194 h 894025"/>
                <a:gd name="connsiteX7" fmla="*/ 1384300 w 1427295"/>
                <a:gd name="connsiteY7" fmla="*/ 569382 h 894025"/>
                <a:gd name="connsiteX8" fmla="*/ 1327150 w 1427295"/>
                <a:gd name="connsiteY8" fmla="*/ 643994 h 894025"/>
                <a:gd name="connsiteX9" fmla="*/ 1270000 w 1427295"/>
                <a:gd name="connsiteY9" fmla="*/ 682094 h 894025"/>
                <a:gd name="connsiteX10" fmla="*/ 1162844 w 1427295"/>
                <a:gd name="connsiteY10" fmla="*/ 793218 h 894025"/>
                <a:gd name="connsiteX11" fmla="*/ 1123950 w 1427295"/>
                <a:gd name="connsiteY11" fmla="*/ 866244 h 894025"/>
                <a:gd name="connsiteX12" fmla="*/ 1253332 w 1427295"/>
                <a:gd name="connsiteY12" fmla="*/ 894025 h 894025"/>
                <a:gd name="connsiteX0" fmla="*/ 0 w 1427295"/>
                <a:gd name="connsiteY0" fmla="*/ 104244 h 894025"/>
                <a:gd name="connsiteX1" fmla="*/ 392110 w 1427295"/>
                <a:gd name="connsiteY1" fmla="*/ 7408 h 894025"/>
                <a:gd name="connsiteX2" fmla="*/ 781050 w 1427295"/>
                <a:gd name="connsiteY2" fmla="*/ 28044 h 894025"/>
                <a:gd name="connsiteX3" fmla="*/ 984250 w 1427295"/>
                <a:gd name="connsiteY3" fmla="*/ 104244 h 894025"/>
                <a:gd name="connsiteX4" fmla="*/ 1240632 w 1427295"/>
                <a:gd name="connsiteY4" fmla="*/ 278869 h 894025"/>
                <a:gd name="connsiteX5" fmla="*/ 1403350 w 1427295"/>
                <a:gd name="connsiteY5" fmla="*/ 466194 h 894025"/>
                <a:gd name="connsiteX6" fmla="*/ 1384300 w 1427295"/>
                <a:gd name="connsiteY6" fmla="*/ 569382 h 894025"/>
                <a:gd name="connsiteX7" fmla="*/ 1327150 w 1427295"/>
                <a:gd name="connsiteY7" fmla="*/ 643994 h 894025"/>
                <a:gd name="connsiteX8" fmla="*/ 1270000 w 1427295"/>
                <a:gd name="connsiteY8" fmla="*/ 682094 h 894025"/>
                <a:gd name="connsiteX9" fmla="*/ 1162844 w 1427295"/>
                <a:gd name="connsiteY9" fmla="*/ 793218 h 894025"/>
                <a:gd name="connsiteX10" fmla="*/ 1123950 w 1427295"/>
                <a:gd name="connsiteY10" fmla="*/ 866244 h 894025"/>
                <a:gd name="connsiteX11" fmla="*/ 1253332 w 1427295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50094 w 1396339"/>
                <a:gd name="connsiteY2" fmla="*/ 28044 h 894025"/>
                <a:gd name="connsiteX3" fmla="*/ 953294 w 1396339"/>
                <a:gd name="connsiteY3" fmla="*/ 104244 h 894025"/>
                <a:gd name="connsiteX4" fmla="*/ 1209676 w 1396339"/>
                <a:gd name="connsiteY4" fmla="*/ 278869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96194 w 1396339"/>
                <a:gd name="connsiteY7" fmla="*/ 643994 h 894025"/>
                <a:gd name="connsiteX8" fmla="*/ 1239044 w 1396339"/>
                <a:gd name="connsiteY8" fmla="*/ 682094 h 894025"/>
                <a:gd name="connsiteX9" fmla="*/ 1131888 w 1396339"/>
                <a:gd name="connsiteY9" fmla="*/ 793218 h 894025"/>
                <a:gd name="connsiteX10" fmla="*/ 1092994 w 1396339"/>
                <a:gd name="connsiteY10" fmla="*/ 866244 h 894025"/>
                <a:gd name="connsiteX11" fmla="*/ 1222376 w 1396339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209676 w 1396339"/>
                <a:gd name="connsiteY4" fmla="*/ 278869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96194 w 1396339"/>
                <a:gd name="connsiteY7" fmla="*/ 643994 h 894025"/>
                <a:gd name="connsiteX8" fmla="*/ 1239044 w 1396339"/>
                <a:gd name="connsiteY8" fmla="*/ 682094 h 894025"/>
                <a:gd name="connsiteX9" fmla="*/ 1131888 w 1396339"/>
                <a:gd name="connsiteY9" fmla="*/ 793218 h 894025"/>
                <a:gd name="connsiteX10" fmla="*/ 1092994 w 1396339"/>
                <a:gd name="connsiteY10" fmla="*/ 866244 h 894025"/>
                <a:gd name="connsiteX11" fmla="*/ 1222376 w 1396339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209676 w 1396339"/>
                <a:gd name="connsiteY4" fmla="*/ 278869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96194 w 1396339"/>
                <a:gd name="connsiteY7" fmla="*/ 643994 h 894025"/>
                <a:gd name="connsiteX8" fmla="*/ 1239044 w 1396339"/>
                <a:gd name="connsiteY8" fmla="*/ 682094 h 894025"/>
                <a:gd name="connsiteX9" fmla="*/ 1131888 w 1396339"/>
                <a:gd name="connsiteY9" fmla="*/ 793218 h 894025"/>
                <a:gd name="connsiteX10" fmla="*/ 1092994 w 1396339"/>
                <a:gd name="connsiteY10" fmla="*/ 866244 h 894025"/>
                <a:gd name="connsiteX11" fmla="*/ 1222376 w 1396339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28714 w 1396339"/>
                <a:gd name="connsiteY4" fmla="*/ 278869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96194 w 1396339"/>
                <a:gd name="connsiteY7" fmla="*/ 643994 h 894025"/>
                <a:gd name="connsiteX8" fmla="*/ 1239044 w 1396339"/>
                <a:gd name="connsiteY8" fmla="*/ 682094 h 894025"/>
                <a:gd name="connsiteX9" fmla="*/ 1131888 w 1396339"/>
                <a:gd name="connsiteY9" fmla="*/ 793218 h 894025"/>
                <a:gd name="connsiteX10" fmla="*/ 1092994 w 1396339"/>
                <a:gd name="connsiteY10" fmla="*/ 866244 h 894025"/>
                <a:gd name="connsiteX11" fmla="*/ 1222376 w 1396339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96194 w 1396339"/>
                <a:gd name="connsiteY7" fmla="*/ 643994 h 894025"/>
                <a:gd name="connsiteX8" fmla="*/ 1239044 w 1396339"/>
                <a:gd name="connsiteY8" fmla="*/ 682094 h 894025"/>
                <a:gd name="connsiteX9" fmla="*/ 1131888 w 1396339"/>
                <a:gd name="connsiteY9" fmla="*/ 793218 h 894025"/>
                <a:gd name="connsiteX10" fmla="*/ 1092994 w 1396339"/>
                <a:gd name="connsiteY10" fmla="*/ 866244 h 894025"/>
                <a:gd name="connsiteX11" fmla="*/ 1222376 w 1396339"/>
                <a:gd name="connsiteY11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39044 w 1396339"/>
                <a:gd name="connsiteY7" fmla="*/ 682094 h 894025"/>
                <a:gd name="connsiteX8" fmla="*/ 1131888 w 1396339"/>
                <a:gd name="connsiteY8" fmla="*/ 793218 h 894025"/>
                <a:gd name="connsiteX9" fmla="*/ 1092994 w 1396339"/>
                <a:gd name="connsiteY9" fmla="*/ 866244 h 894025"/>
                <a:gd name="connsiteX10" fmla="*/ 1222376 w 1396339"/>
                <a:gd name="connsiteY10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131888 w 1396339"/>
                <a:gd name="connsiteY7" fmla="*/ 793218 h 894025"/>
                <a:gd name="connsiteX8" fmla="*/ 1092994 w 1396339"/>
                <a:gd name="connsiteY8" fmla="*/ 866244 h 894025"/>
                <a:gd name="connsiteX9" fmla="*/ 1222376 w 1396339"/>
                <a:gd name="connsiteY9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036638 w 1396339"/>
                <a:gd name="connsiteY7" fmla="*/ 793218 h 894025"/>
                <a:gd name="connsiteX8" fmla="*/ 1092994 w 1396339"/>
                <a:gd name="connsiteY8" fmla="*/ 866244 h 894025"/>
                <a:gd name="connsiteX9" fmla="*/ 1222376 w 1396339"/>
                <a:gd name="connsiteY9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200944 w 1396339"/>
                <a:gd name="connsiteY7" fmla="*/ 838462 h 894025"/>
                <a:gd name="connsiteX8" fmla="*/ 1092994 w 1396339"/>
                <a:gd name="connsiteY8" fmla="*/ 866244 h 894025"/>
                <a:gd name="connsiteX9" fmla="*/ 1222376 w 1396339"/>
                <a:gd name="connsiteY9" fmla="*/ 894025 h 894025"/>
                <a:gd name="connsiteX0" fmla="*/ 0 w 1396339"/>
                <a:gd name="connsiteY0" fmla="*/ 104244 h 894025"/>
                <a:gd name="connsiteX1" fmla="*/ 361154 w 1396339"/>
                <a:gd name="connsiteY1" fmla="*/ 7408 h 894025"/>
                <a:gd name="connsiteX2" fmla="*/ 714375 w 1396339"/>
                <a:gd name="connsiteY2" fmla="*/ 28044 h 894025"/>
                <a:gd name="connsiteX3" fmla="*/ 953294 w 1396339"/>
                <a:gd name="connsiteY3" fmla="*/ 104244 h 894025"/>
                <a:gd name="connsiteX4" fmla="*/ 1173957 w 1396339"/>
                <a:gd name="connsiteY4" fmla="*/ 250294 h 894025"/>
                <a:gd name="connsiteX5" fmla="*/ 1372394 w 1396339"/>
                <a:gd name="connsiteY5" fmla="*/ 466194 h 894025"/>
                <a:gd name="connsiteX6" fmla="*/ 1353344 w 1396339"/>
                <a:gd name="connsiteY6" fmla="*/ 569382 h 894025"/>
                <a:gd name="connsiteX7" fmla="*/ 1110456 w 1396339"/>
                <a:gd name="connsiteY7" fmla="*/ 805125 h 894025"/>
                <a:gd name="connsiteX8" fmla="*/ 1092994 w 1396339"/>
                <a:gd name="connsiteY8" fmla="*/ 866244 h 894025"/>
                <a:gd name="connsiteX9" fmla="*/ 1222376 w 1396339"/>
                <a:gd name="connsiteY9" fmla="*/ 894025 h 894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96339" h="894025">
                  <a:moveTo>
                    <a:pt x="0" y="104244"/>
                  </a:moveTo>
                  <a:cubicBezTo>
                    <a:pt x="81690" y="84070"/>
                    <a:pt x="230979" y="20108"/>
                    <a:pt x="361154" y="7408"/>
                  </a:cubicBezTo>
                  <a:cubicBezTo>
                    <a:pt x="474396" y="0"/>
                    <a:pt x="630370" y="17461"/>
                    <a:pt x="714375" y="28044"/>
                  </a:cubicBezTo>
                  <a:cubicBezTo>
                    <a:pt x="795338" y="45903"/>
                    <a:pt x="913077" y="87311"/>
                    <a:pt x="953294" y="104244"/>
                  </a:cubicBezTo>
                  <a:cubicBezTo>
                    <a:pt x="1023144" y="138111"/>
                    <a:pt x="1087703" y="171448"/>
                    <a:pt x="1173957" y="250294"/>
                  </a:cubicBezTo>
                  <a:cubicBezTo>
                    <a:pt x="1243807" y="310619"/>
                    <a:pt x="1339586" y="409044"/>
                    <a:pt x="1372394" y="466194"/>
                  </a:cubicBezTo>
                  <a:cubicBezTo>
                    <a:pt x="1396339" y="521756"/>
                    <a:pt x="1366044" y="539749"/>
                    <a:pt x="1353344" y="569382"/>
                  </a:cubicBezTo>
                  <a:cubicBezTo>
                    <a:pt x="1313260" y="623886"/>
                    <a:pt x="1153848" y="755648"/>
                    <a:pt x="1110456" y="805125"/>
                  </a:cubicBezTo>
                  <a:lnTo>
                    <a:pt x="1092994" y="866244"/>
                  </a:lnTo>
                  <a:cubicBezTo>
                    <a:pt x="1106091" y="883574"/>
                    <a:pt x="1195422" y="888237"/>
                    <a:pt x="1222376" y="894025"/>
                  </a:cubicBezTo>
                </a:path>
              </a:pathLst>
            </a:custGeom>
            <a:ln w="57150">
              <a:solidFill>
                <a:schemeClr val="accent4">
                  <a:lumMod val="90000"/>
                  <a:lumOff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8165970" y="2061135"/>
              <a:ext cx="782374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smtClean="0"/>
                <a:t>Vostochny</a:t>
              </a:r>
              <a:endParaRPr lang="ru-RU" sz="900" b="1" dirty="0"/>
            </a:p>
          </p:txBody>
        </p:sp>
        <p:sp>
          <p:nvSpPr>
            <p:cNvPr id="257" name="Овал 256"/>
            <p:cNvSpPr/>
            <p:nvPr/>
          </p:nvSpPr>
          <p:spPr>
            <a:xfrm>
              <a:off x="8310357" y="2252728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64" name="Овал 263"/>
            <p:cNvSpPr/>
            <p:nvPr/>
          </p:nvSpPr>
          <p:spPr>
            <a:xfrm>
              <a:off x="7645515" y="2854868"/>
              <a:ext cx="99129" cy="87553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7777465" y="2817001"/>
              <a:ext cx="577703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smtClean="0"/>
                <a:t>Shanghai</a:t>
              </a:r>
              <a:endParaRPr lang="ru-RU" sz="900" b="1" dirty="0"/>
            </a:p>
          </p:txBody>
        </p:sp>
        <p:cxnSp>
          <p:nvCxnSpPr>
            <p:cNvPr id="166" name="Прямая соединительная линия 165"/>
            <p:cNvCxnSpPr/>
            <p:nvPr/>
          </p:nvCxnSpPr>
          <p:spPr>
            <a:xfrm rot="5400000">
              <a:off x="1980989" y="1836793"/>
              <a:ext cx="242092" cy="82088"/>
            </a:xfrm>
            <a:prstGeom prst="line">
              <a:avLst/>
            </a:prstGeom>
            <a:ln w="50800" cap="rnd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Овал 167"/>
            <p:cNvSpPr/>
            <p:nvPr/>
          </p:nvSpPr>
          <p:spPr>
            <a:xfrm>
              <a:off x="1997284" y="1986524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248" name="Овал 247"/>
            <p:cNvSpPr/>
            <p:nvPr/>
          </p:nvSpPr>
          <p:spPr>
            <a:xfrm>
              <a:off x="2146801" y="1634892"/>
              <a:ext cx="99129" cy="87553"/>
            </a:xfrm>
            <a:prstGeom prst="ellipse">
              <a:avLst/>
            </a:prstGeom>
            <a:solidFill>
              <a:srgbClr val="14527A"/>
            </a:solidFill>
            <a:ln>
              <a:solidFill>
                <a:schemeClr val="bg1"/>
              </a:solidFill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050">
                <a:solidFill>
                  <a:prstClr val="white"/>
                </a:solidFill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2054546" y="2055704"/>
              <a:ext cx="388966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smtClean="0"/>
                <a:t>Dobra</a:t>
              </a:r>
              <a:endParaRPr lang="ru-RU" sz="900" b="1" dirty="0"/>
            </a:p>
          </p:txBody>
        </p:sp>
        <p:sp>
          <p:nvSpPr>
            <p:cNvPr id="294" name="TextBox 293"/>
            <p:cNvSpPr txBox="1"/>
            <p:nvPr/>
          </p:nvSpPr>
          <p:spPr>
            <a:xfrm>
              <a:off x="2171814" y="1909764"/>
              <a:ext cx="388966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900" b="1" dirty="0" smtClean="0"/>
                <a:t>Chop</a:t>
              </a:r>
              <a:endParaRPr lang="ru-RU" sz="900" b="1" dirty="0"/>
            </a:p>
          </p:txBody>
        </p:sp>
        <p:sp>
          <p:nvSpPr>
            <p:cNvPr id="279" name="TextBox 278"/>
            <p:cNvSpPr txBox="1"/>
            <p:nvPr/>
          </p:nvSpPr>
          <p:spPr>
            <a:xfrm>
              <a:off x="2582253" y="1561039"/>
              <a:ext cx="534740" cy="138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altLang="ru-RU" sz="900" b="1" dirty="0" err="1" smtClean="0"/>
                <a:t>Zernovo</a:t>
              </a:r>
              <a:endParaRPr lang="ru-RU" sz="900" b="1" dirty="0"/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6660232" y="764704"/>
            <a:ext cx="2304256" cy="261610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indent="360000" algn="r"/>
            <a:r>
              <a:rPr lang="ru-RU" sz="1100" dirty="0" smtClean="0"/>
              <a:t>Перспективные маршруты</a:t>
            </a:r>
            <a:endParaRPr lang="ru-RU" sz="1100" dirty="0"/>
          </a:p>
        </p:txBody>
      </p:sp>
      <p:sp>
        <p:nvSpPr>
          <p:cNvPr id="258" name="TextBox 257"/>
          <p:cNvSpPr txBox="1"/>
          <p:nvPr/>
        </p:nvSpPr>
        <p:spPr>
          <a:xfrm>
            <a:off x="179512" y="0"/>
            <a:ext cx="8964488" cy="62068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b="1" dirty="0" smtClean="0"/>
              <a:t>ОТЛК для глобальных клиентов: интегрированный </a:t>
            </a:r>
            <a:r>
              <a:rPr lang="ru-RU" b="1" dirty="0" err="1" smtClean="0"/>
              <a:t>логистический</a:t>
            </a:r>
            <a:r>
              <a:rPr lang="ru-RU" b="1" dirty="0" smtClean="0"/>
              <a:t> сервис на транзитных маршрутах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1838181" y="6105527"/>
            <a:ext cx="5974481" cy="288147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Технологическое время на </a:t>
            </a:r>
            <a:r>
              <a:rPr lang="ru-RU" sz="1400" b="1" dirty="0" err="1" smtClean="0">
                <a:solidFill>
                  <a:schemeClr val="bg1"/>
                </a:solidFill>
              </a:rPr>
              <a:t>погранпереходах</a:t>
            </a:r>
            <a:r>
              <a:rPr lang="ru-RU" sz="1400" b="1" dirty="0" smtClean="0">
                <a:solidFill>
                  <a:schemeClr val="bg1"/>
                </a:solidFill>
              </a:rPr>
              <a:t> 10 часов</a:t>
            </a:r>
            <a:endParaRPr lang="ru-R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286" name="Таблица 28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213594"/>
              </p:ext>
            </p:extLst>
          </p:nvPr>
        </p:nvGraphicFramePr>
        <p:xfrm>
          <a:off x="323528" y="4005064"/>
          <a:ext cx="5760640" cy="201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0427"/>
                <a:gridCol w="1152128"/>
                <a:gridCol w="768085"/>
              </a:tblGrid>
              <a:tr h="23882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uzhou</a:t>
                      </a:r>
                      <a:r>
                        <a:rPr lang="ru-RU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– </a:t>
                      </a:r>
                      <a:r>
                        <a:rPr lang="en-US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arsaw</a:t>
                      </a:r>
                      <a:r>
                        <a:rPr lang="ru-RU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 (</a:t>
                      </a:r>
                      <a:r>
                        <a:rPr lang="en-US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Poland</a:t>
                      </a:r>
                      <a:r>
                        <a:rPr lang="ru-RU" alt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)</a:t>
                      </a:r>
                      <a:endParaRPr lang="ru-RU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1</a:t>
                      </a:r>
                      <a:r>
                        <a:rPr lang="en-US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’135 km</a:t>
                      </a:r>
                      <a:endParaRPr lang="ru-RU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5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13 days</a:t>
                      </a:r>
                      <a:endParaRPr lang="ru-RU" sz="105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Zhengzhou  - Hamburg  (Germany</a:t>
                      </a:r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’214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uzhou</a:t>
                      </a:r>
                      <a:r>
                        <a:rPr lang="ru-RU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bra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’537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Bef>
                          <a:spcPct val="0"/>
                        </a:spcBef>
                      </a:pPr>
                      <a:r>
                        <a:rPr lang="en-US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hanghai </a:t>
                      </a:r>
                      <a:r>
                        <a:rPr lang="ru-RU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altLang="ru-RU" sz="1050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ostochniy</a:t>
                      </a:r>
                      <a:r>
                        <a:rPr lang="en-US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– Duisburg (Germany</a:t>
                      </a:r>
                      <a:r>
                        <a:rPr lang="ru-RU" alt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altLang="ru-RU" sz="1050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3’010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3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hongqing  - </a:t>
                      </a:r>
                      <a:r>
                        <a:rPr lang="en-US" sz="1050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ostyk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–Moscow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’</a:t>
                      </a:r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92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r>
                        <a:rPr lang="ru-RU" sz="1050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Zhengzhou – </a:t>
                      </a:r>
                      <a:r>
                        <a:rPr lang="en-US" sz="1050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aushki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– Moscow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’110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eijin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050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Zabaykalsk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- Moscow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’901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825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Wuhan – Dostyk – Pardubice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’351</a:t>
                      </a:r>
                      <a:r>
                        <a:rPr lang="en-US" sz="1050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km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n-US" sz="1050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 days</a:t>
                      </a:r>
                      <a:endParaRPr lang="ru-RU" sz="1050" kern="120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87" name="Овал 286"/>
          <p:cNvSpPr/>
          <p:nvPr/>
        </p:nvSpPr>
        <p:spPr>
          <a:xfrm>
            <a:off x="3059832" y="1376402"/>
            <a:ext cx="99129" cy="10838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050">
              <a:solidFill>
                <a:prstClr val="white"/>
              </a:solidFill>
            </a:endParaRPr>
          </a:p>
        </p:txBody>
      </p:sp>
      <p:sp>
        <p:nvSpPr>
          <p:cNvPr id="288" name="TextBox 287"/>
          <p:cNvSpPr txBox="1"/>
          <p:nvPr/>
        </p:nvSpPr>
        <p:spPr>
          <a:xfrm>
            <a:off x="2987824" y="1141218"/>
            <a:ext cx="534740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b="1" dirty="0" smtClean="0"/>
              <a:t>Moscow</a:t>
            </a:r>
            <a:endParaRPr lang="ru-RU" sz="900" b="1" dirty="0"/>
          </a:p>
        </p:txBody>
      </p:sp>
      <p:sp>
        <p:nvSpPr>
          <p:cNvPr id="289" name="Полилиния 288"/>
          <p:cNvSpPr/>
          <p:nvPr/>
        </p:nvSpPr>
        <p:spPr>
          <a:xfrm>
            <a:off x="3185160" y="1442720"/>
            <a:ext cx="1818888" cy="402104"/>
          </a:xfrm>
          <a:custGeom>
            <a:avLst/>
            <a:gdLst>
              <a:gd name="connsiteX0" fmla="*/ 0 w 1844040"/>
              <a:gd name="connsiteY0" fmla="*/ 50800 h 431800"/>
              <a:gd name="connsiteX1" fmla="*/ 640080 w 1844040"/>
              <a:gd name="connsiteY1" fmla="*/ 35560 h 431800"/>
              <a:gd name="connsiteX2" fmla="*/ 1386840 w 1844040"/>
              <a:gd name="connsiteY2" fmla="*/ 66040 h 431800"/>
              <a:gd name="connsiteX3" fmla="*/ 1844040 w 1844040"/>
              <a:gd name="connsiteY3" fmla="*/ 43180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4040" h="431800">
                <a:moveTo>
                  <a:pt x="0" y="50800"/>
                </a:moveTo>
                <a:cubicBezTo>
                  <a:pt x="204470" y="41910"/>
                  <a:pt x="408940" y="33020"/>
                  <a:pt x="640080" y="35560"/>
                </a:cubicBezTo>
                <a:cubicBezTo>
                  <a:pt x="871220" y="38100"/>
                  <a:pt x="1186180" y="0"/>
                  <a:pt x="1386840" y="66040"/>
                </a:cubicBezTo>
                <a:cubicBezTo>
                  <a:pt x="1587500" y="132080"/>
                  <a:pt x="1638300" y="256540"/>
                  <a:pt x="1844040" y="431800"/>
                </a:cubicBezTo>
              </a:path>
            </a:pathLst>
          </a:custGeom>
          <a:ln w="571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0" name="Овал 289"/>
          <p:cNvSpPr/>
          <p:nvPr/>
        </p:nvSpPr>
        <p:spPr>
          <a:xfrm>
            <a:off x="7137167" y="3140968"/>
            <a:ext cx="171137" cy="144016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050">
              <a:solidFill>
                <a:prstClr val="white"/>
              </a:solidFill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6660232" y="2941418"/>
            <a:ext cx="577703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b="1" dirty="0" err="1" smtClean="0"/>
              <a:t>Beijin</a:t>
            </a:r>
            <a:endParaRPr lang="ru-RU" sz="900" b="1" dirty="0"/>
          </a:p>
        </p:txBody>
      </p:sp>
      <p:sp>
        <p:nvSpPr>
          <p:cNvPr id="57" name="Номер слайда 5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CC0D5AE-42F5-4B75-9746-C72C4F5D09AE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7137167" y="3710212"/>
            <a:ext cx="557912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b="1" dirty="0" smtClean="0"/>
              <a:t>Wuhan</a:t>
            </a:r>
            <a:endParaRPr lang="ru-RU" sz="900" b="1" dirty="0"/>
          </a:p>
        </p:txBody>
      </p:sp>
      <p:sp>
        <p:nvSpPr>
          <p:cNvPr id="2" name="Полилиния 1"/>
          <p:cNvSpPr/>
          <p:nvPr/>
        </p:nvSpPr>
        <p:spPr>
          <a:xfrm>
            <a:off x="6317673" y="3002973"/>
            <a:ext cx="691799" cy="779318"/>
          </a:xfrm>
          <a:custGeom>
            <a:avLst/>
            <a:gdLst>
              <a:gd name="connsiteX0" fmla="*/ 685800 w 691799"/>
              <a:gd name="connsiteY0" fmla="*/ 779318 h 779318"/>
              <a:gd name="connsiteX1" fmla="*/ 592282 w 691799"/>
              <a:gd name="connsiteY1" fmla="*/ 529936 h 779318"/>
              <a:gd name="connsiteX2" fmla="*/ 0 w 691799"/>
              <a:gd name="connsiteY2" fmla="*/ 0 h 779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1799" h="779318">
                <a:moveTo>
                  <a:pt x="685800" y="779318"/>
                </a:moveTo>
                <a:cubicBezTo>
                  <a:pt x="696191" y="719570"/>
                  <a:pt x="706582" y="659822"/>
                  <a:pt x="592282" y="529936"/>
                </a:cubicBezTo>
                <a:cubicBezTo>
                  <a:pt x="477982" y="400050"/>
                  <a:pt x="238991" y="200025"/>
                  <a:pt x="0" y="0"/>
                </a:cubicBezTo>
              </a:path>
            </a:pathLst>
          </a:cu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8" tIns="38964" rIns="77928" bIns="38964"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6948264" y="3717032"/>
            <a:ext cx="99129" cy="10838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050">
              <a:solidFill>
                <a:prstClr val="white"/>
              </a:solidFill>
            </a:endParaRPr>
          </a:p>
        </p:txBody>
      </p:sp>
      <p:sp>
        <p:nvSpPr>
          <p:cNvPr id="95" name="Овал 102"/>
          <p:cNvSpPr/>
          <p:nvPr/>
        </p:nvSpPr>
        <p:spPr>
          <a:xfrm>
            <a:off x="5436096" y="2924944"/>
            <a:ext cx="108000" cy="108000"/>
          </a:xfrm>
          <a:prstGeom prst="ellipse">
            <a:avLst/>
          </a:prstGeom>
          <a:solidFill>
            <a:schemeClr val="bg1"/>
          </a:solidFill>
          <a:ln w="44450">
            <a:solidFill>
              <a:srgbClr val="FFC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050">
              <a:solidFill>
                <a:prstClr val="white"/>
              </a:solidFill>
            </a:endParaRPr>
          </a:p>
        </p:txBody>
      </p:sp>
      <p:sp>
        <p:nvSpPr>
          <p:cNvPr id="96" name="Овал 95"/>
          <p:cNvSpPr/>
          <p:nvPr/>
        </p:nvSpPr>
        <p:spPr>
          <a:xfrm>
            <a:off x="2123728" y="980728"/>
            <a:ext cx="108000" cy="108000"/>
          </a:xfrm>
          <a:prstGeom prst="ellipse">
            <a:avLst/>
          </a:prstGeom>
          <a:solidFill>
            <a:schemeClr val="bg1"/>
          </a:solidFill>
          <a:ln w="44450">
            <a:solidFill>
              <a:srgbClr val="FFCB05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050">
              <a:solidFill>
                <a:prstClr val="white"/>
              </a:solidFill>
            </a:endParaRPr>
          </a:p>
        </p:txBody>
      </p:sp>
      <p:sp>
        <p:nvSpPr>
          <p:cNvPr id="97" name="Полилиния 96"/>
          <p:cNvSpPr/>
          <p:nvPr/>
        </p:nvSpPr>
        <p:spPr>
          <a:xfrm>
            <a:off x="2247900" y="999490"/>
            <a:ext cx="3676650" cy="1941830"/>
          </a:xfrm>
          <a:custGeom>
            <a:avLst/>
            <a:gdLst>
              <a:gd name="connsiteX0" fmla="*/ 0 w 3676650"/>
              <a:gd name="connsiteY0" fmla="*/ 36830 h 1941830"/>
              <a:gd name="connsiteX1" fmla="*/ 137160 w 3676650"/>
              <a:gd name="connsiteY1" fmla="*/ 13970 h 1941830"/>
              <a:gd name="connsiteX2" fmla="*/ 304800 w 3676650"/>
              <a:gd name="connsiteY2" fmla="*/ 120650 h 1941830"/>
              <a:gd name="connsiteX3" fmla="*/ 518160 w 3676650"/>
              <a:gd name="connsiteY3" fmla="*/ 379730 h 1941830"/>
              <a:gd name="connsiteX4" fmla="*/ 754380 w 3676650"/>
              <a:gd name="connsiteY4" fmla="*/ 440690 h 1941830"/>
              <a:gd name="connsiteX5" fmla="*/ 1028700 w 3676650"/>
              <a:gd name="connsiteY5" fmla="*/ 539750 h 1941830"/>
              <a:gd name="connsiteX6" fmla="*/ 1988820 w 3676650"/>
              <a:gd name="connsiteY6" fmla="*/ 532130 h 1941830"/>
              <a:gd name="connsiteX7" fmla="*/ 2674620 w 3676650"/>
              <a:gd name="connsiteY7" fmla="*/ 806450 h 1941830"/>
              <a:gd name="connsiteX8" fmla="*/ 3101340 w 3676650"/>
              <a:gd name="connsiteY8" fmla="*/ 1233170 h 1941830"/>
              <a:gd name="connsiteX9" fmla="*/ 3611880 w 3676650"/>
              <a:gd name="connsiteY9" fmla="*/ 1690370 h 1941830"/>
              <a:gd name="connsiteX10" fmla="*/ 3489960 w 3676650"/>
              <a:gd name="connsiteY10" fmla="*/ 1842770 h 1941830"/>
              <a:gd name="connsiteX11" fmla="*/ 3307080 w 3676650"/>
              <a:gd name="connsiteY11" fmla="*/ 1941830 h 1941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76650" h="1941830">
                <a:moveTo>
                  <a:pt x="0" y="36830"/>
                </a:moveTo>
                <a:cubicBezTo>
                  <a:pt x="43180" y="18415"/>
                  <a:pt x="86360" y="0"/>
                  <a:pt x="137160" y="13970"/>
                </a:cubicBezTo>
                <a:cubicBezTo>
                  <a:pt x="187960" y="27940"/>
                  <a:pt x="241300" y="59690"/>
                  <a:pt x="304800" y="120650"/>
                </a:cubicBezTo>
                <a:cubicBezTo>
                  <a:pt x="368300" y="181610"/>
                  <a:pt x="443230" y="326390"/>
                  <a:pt x="518160" y="379730"/>
                </a:cubicBezTo>
                <a:cubicBezTo>
                  <a:pt x="593090" y="433070"/>
                  <a:pt x="669290" y="414020"/>
                  <a:pt x="754380" y="440690"/>
                </a:cubicBezTo>
                <a:cubicBezTo>
                  <a:pt x="839470" y="467360"/>
                  <a:pt x="822960" y="524510"/>
                  <a:pt x="1028700" y="539750"/>
                </a:cubicBezTo>
                <a:cubicBezTo>
                  <a:pt x="1234440" y="554990"/>
                  <a:pt x="1714500" y="487680"/>
                  <a:pt x="1988820" y="532130"/>
                </a:cubicBezTo>
                <a:cubicBezTo>
                  <a:pt x="2263140" y="576580"/>
                  <a:pt x="2489200" y="689610"/>
                  <a:pt x="2674620" y="806450"/>
                </a:cubicBezTo>
                <a:cubicBezTo>
                  <a:pt x="2860040" y="923290"/>
                  <a:pt x="2945130" y="1085850"/>
                  <a:pt x="3101340" y="1233170"/>
                </a:cubicBezTo>
                <a:cubicBezTo>
                  <a:pt x="3257550" y="1380490"/>
                  <a:pt x="3547110" y="1588770"/>
                  <a:pt x="3611880" y="1690370"/>
                </a:cubicBezTo>
                <a:cubicBezTo>
                  <a:pt x="3676650" y="1791970"/>
                  <a:pt x="3540760" y="1800860"/>
                  <a:pt x="3489960" y="1842770"/>
                </a:cubicBezTo>
                <a:cubicBezTo>
                  <a:pt x="3439160" y="1884680"/>
                  <a:pt x="3307080" y="1941830"/>
                  <a:pt x="3307080" y="1941830"/>
                </a:cubicBezTo>
              </a:path>
            </a:pathLst>
          </a:custGeom>
          <a:ln w="28575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TextBox 97"/>
          <p:cNvSpPr txBox="1"/>
          <p:nvPr/>
        </p:nvSpPr>
        <p:spPr>
          <a:xfrm>
            <a:off x="5364088" y="3085434"/>
            <a:ext cx="486049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b="1" dirty="0" err="1" smtClean="0"/>
              <a:t>Korla</a:t>
            </a:r>
            <a:endParaRPr lang="ru-RU" sz="900" b="1" dirty="0"/>
          </a:p>
        </p:txBody>
      </p:sp>
      <p:sp>
        <p:nvSpPr>
          <p:cNvPr id="99" name="TextBox 98"/>
          <p:cNvSpPr txBox="1"/>
          <p:nvPr/>
        </p:nvSpPr>
        <p:spPr>
          <a:xfrm>
            <a:off x="1907704" y="836712"/>
            <a:ext cx="486049" cy="1384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b="1" dirty="0" smtClean="0"/>
              <a:t>Helsinki</a:t>
            </a:r>
            <a:endParaRPr lang="ru-RU" sz="900" b="1" dirty="0"/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6732240" y="908720"/>
            <a:ext cx="360040" cy="0"/>
          </a:xfrm>
          <a:prstGeom prst="line">
            <a:avLst/>
          </a:prstGeom>
          <a:ln w="19050">
            <a:solidFill>
              <a:srgbClr val="FFFF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02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GEYM1Ad02LTKPISru3T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wugRP760GplxJJb2vR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RMWIDECONVERSION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Tint 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rW0ISrdUq0e.hi7F2um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qacJKxrUmfQuW.S3o_u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5clZPk3UaPGTO5epRO9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d0JrArWkmGhz8vf1KuK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82yEBHoUuChX7.WvT5O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m6YDfI806ku_SHb_mwA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wG5nD_Q0qO8gFj7Hnc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breVDQ.kqya0J7bUE3R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1FK5tRI0Go4GxA4NPyO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Outb6Mi0SFTcc5xhwN9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iCcygom0G.WwOZgnCsI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jpXAht_U2UPh6ipVNXs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HsEXQsfE6mK7a7wnO1z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G4cc85.EORZDMNhxKyU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BypQvdUCpvMq9vy.xL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qYhezjUEm5no7ig2y1p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e8P5yaEmmXEaKtZrfW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RUxQ08Ok6Al1TY1D2z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PzLPFPrkWCy6Bp0DFVS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NhCd.5Y02IV6TrCb6ft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uBcDBb7UWJXWVWSQYo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gW8nn2LUGRaeGkWKKJ9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_U2OtqLk.MVmBihNV2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QZqrN5y0iDuSj6IfWL.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9pB1i4vkyunUrdPrZ3g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n5QwdqiEC090Xecqek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wrlsYVDU2508B30VPx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j9loncb0q1WOFdQ6i1d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Zku1CNLk.1Dx2PTQXH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7JhR21ZkGiGKy2leN4w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1vPYMekEuODrIBl0yNP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zCUMC4Y0SHXFBhfj5U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GHRlb6P0qpMJBLRMMv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JFvxwtKEGkjVSEW5LwO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g2_EQNNUuu1uinacEAa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pqBft2Hky4udG1n58N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cXa0JUDEqlYbukXz2gF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NoyNTYDkGX7e0ur8vXP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xfARJgzE.iUBrx6eZK1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C0yyThr0GGTOroGABy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eCf07Wdkyd5owModuip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QKgJqP40GxdZKQ7CuJ2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A1r_4XgkeXtT6jaR70g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NceIiExEW76EuQG2M.k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beMk3nUKxU6vId1_1b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eF6voiOEGv55sBYl0DH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u4XB2vyEiF9j3sQMbge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iACAZcXk2WbkHzg9YD4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6Ed1A5cEW4Go1f0ulx0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JdqfwasEuGtfkjXI7Di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zlzp8kk0u4JIZGnnxH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goej.cXkGbkmbY6501q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5aVbl1H0yJ88ZaRsFX1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MLbFBGJ0u0HQaNy9Fzf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tIUcf2pUKnzDerut0xO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1xn_k33Eqfqqlwov83a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CHTf0upU2tlU273UjKk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apO1fCTEeFhlXkEXgh_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oDn81kakqrEKj1Zeflo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6_BZbs2Um3XGXHIsZYO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GGUkGT5UqMZOFaN0UGv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5IqrHVdkmIVWvinAL8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uwLMevFUWEryQwYL0u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c80BZcRk2.CIi1VsZ2A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JmQWM_cUaSvX5cHw7e0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1pT3Z_y0i.1c0UhsOPv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ZU4A6R10qIJMYOOeEy6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biQqHnUGV6Wb_8SDB8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HKN9IvuES2RaPPAtAP2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78PLhlw0mZjNtTbhgvv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OCJgdP20C2CgOuoi.7W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Fd5L..5UOcrqJLDBTI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G.ySBDTkaz3ZAtX3nET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GQr3jrKUm_BB6syO4_V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.vmUlyH0ObzDMmfBjgv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LVrNglJUK7jZVHV94gU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wrTqxGYUSJYNvlK6hOm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rUeicKZE.pyHdQk2Lvu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wVhO1uUyitDyOmK0Iy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BWNeOvwE6m4ahPXuimI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fFUFTaY064YYWYR8gyP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IPCtWEr0OC075P7h5rk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1BlHj3REWg_yAlDuok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rie6BuEaxn.1zY_PrQ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ZGrVKKqUqdbuuMjlVmU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FpgVHzT06UQXzeULDID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kJaGbGxU68EE7luldbX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EXYM.ad02q9Qd1nq5n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K4UlTqLkOmtnXvZPn1x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eLaCm8yEafZPoMnbPE6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ub5mLLW0eF2wc7Vb_qV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p2ihLhXEWfKcPpkXnMi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rVVeiIKUKQLYH0yCC8_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sOn2dEg0upaaa54pLL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L6jKyHOUWySeAZRc5Tp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nGjQ.t5kaHY7pQ6HSVX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bXI8OjT0a8mnMwMwSVO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VhSyGGV0qxWy6zfpLL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2h8aLrQE2x7SwckhmgK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ZZ4QR.oEKEdXoGOUYOK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cbaw3LakSDOwG2xeemg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4ymHYo_UayzI4qrkzM2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xj0l1hGkC6xU6qJ2Daq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_bdm7IOEm.cvzbRMPTx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xY8Z4sPUWUQUaO7p7c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Dxg9wI.kaG07LsZumdc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xup.Owi0W7374WXKKU4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Pp0jfDREuN.VwJ.o7U9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mWcRJ8KEGarG_RXjb33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PNLlwQ0GqSJivV1WCM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9b6Tp0JU.QjFKAD7SQG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8YF9nAm0aZfw_qQafNN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WZ_LZnS0.YUuz8Lrzm1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JwtGgegUyOXr_f0f2fi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UCr4EDF02r_VEi26C6U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HNWTkoFEqNn4auQb_H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HUUyN5fkaWDLdYV.50j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A2uC9QjkWaol_K6xMa7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cJVd1WuEejCzMr.j.lp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w6w3aYukesU72UF92T9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YgCH56UyZ6tDhps_Uo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xJGNMFek6RhbUXERylX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2JVjLYhEuI5d.gAz20q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ABSoLRhEa4ny5C8OKdu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e6_Yw0vkq7c5DYyHqd6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8QUBLCE6HojfFCiGL3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e95A0LkalYq1RlsuU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ZrclGHhUqhRUEymE8nn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iMOAoMGEGjMUR4yPAX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DMepSSXkGcHaiQwQRNM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9JfO1EGkWaE3olkU3N9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UM7IkgO0mpxbVWizYvq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8YSlkl8UKhttII4o1g_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Q95yIt0SyEUvz4aaq8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P5SHt5lU.O3G58HHU66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7zXfEZ1E6xKggc9RPbL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QsfQSmg02ZpvX4_jyMo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t9eGl.BE6lbrmfP4Wj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jw0gZ6AUySLyW24ioTN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WkR_DzY0msk6Z48BPfM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8Su8nItEq4qGsVMKZ.8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U6RdnofkOq9IyCwuKEr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hhDt6yESN0PUqTGQGO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x8mreqoEuhYLRuGGxSw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X.zsDTmkasg1HKvqYFj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LPAxQtoEmvrH8iuwxPH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KxsNs9OEWJU45Eo9GEb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FDK1cSHECYCA1lKeHWS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gJla6q_k2UeqTOVIsu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FB3gFqcU2aesNAGMxr2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6WgS6H0ePSfxnF1c6r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5ynpHNWkuRtvGQ63siM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dkNgF0lUSMuwcS_xZ27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9fkxBt1kmMYMlK6rDTm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8rKyhUhEmjXC6a5fdh4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pQYoym30qYHU.58KSGC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g_FcceYk2pgk8VwhLhc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k49M22kSjbhe4NBnc1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dQ7S70HEGClWYr3UENL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nxgJm6KUibqVkPfkYd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ar8_gvdUSHPyQ2LbtHA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KSCvujlUacthr65Q1w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gLEQxhFEO3LC5AnP6Uu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ntXMrwUabs92.1KJV5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KbI3AtAkG9cEnxNZxnC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KbI3AtAkG9cEnxNZxnC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KbI3AtAkG9cEnxNZxnC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KPU.RQ8ECvKFhfd2_Kf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KbI3AtAkG9cEnxNZxnC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Owse8E0C18qxwejsh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Owse8E0C18qxwejsh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yy_E3JsUmqGoUuMYvSO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jw0gZ6AUySLyW24ioT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dTKyrxE6okfy9mwM4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z9m6eB0UeAnwQXYDOt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CrKf9Hdke4Be4HutYC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z9m6eB0UeAnwQXYDOt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253zL9NE6Ccdid_b.g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7NQibufEqwl_eQB5se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Nwyphtp0uO0uXOvjnE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QcUpnC3UCw2072hmAc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LfmvGy40G1nIVJ5VFN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Tint 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ljo3E4RUu0GK7R_APP5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LCfI.QWk6JQlNCJZP00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tBj_dzVkGxrFdRpq88B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jd.NrnYUqbO7OFJ_yU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Canon Colorpass 1000"/>
  <p:tag name="FILLFORECOLOR" val="Color 5"/>
</p:tagLst>
</file>

<file path=ppt/theme/theme1.xml><?xml version="1.0" encoding="utf-8"?>
<a:theme xmlns:a="http://schemas.openxmlformats.org/drawingml/2006/main" name="Default Design">
  <a:themeElements>
    <a:clrScheme name="">
      <a:dk1>
        <a:srgbClr val="00436C"/>
      </a:dk1>
      <a:lt1>
        <a:srgbClr val="FFFFFF"/>
      </a:lt1>
      <a:dk2>
        <a:srgbClr val="0379C1"/>
      </a:dk2>
      <a:lt2>
        <a:srgbClr val="70767E"/>
      </a:lt2>
      <a:accent1>
        <a:srgbClr val="0379C1"/>
      </a:accent1>
      <a:accent2>
        <a:srgbClr val="7EDCFE"/>
      </a:accent2>
      <a:accent3>
        <a:srgbClr val="FFFFFF"/>
      </a:accent3>
      <a:accent4>
        <a:srgbClr val="00385B"/>
      </a:accent4>
      <a:accent5>
        <a:srgbClr val="AABEDD"/>
      </a:accent5>
      <a:accent6>
        <a:srgbClr val="72C7E6"/>
      </a:accent6>
      <a:hlink>
        <a:srgbClr val="EA5F00"/>
      </a:hlink>
      <a:folHlink>
        <a:srgbClr val="FFE269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3570"/>
        </a:dk1>
        <a:lt1>
          <a:srgbClr val="FFFFFF"/>
        </a:lt1>
        <a:dk2>
          <a:srgbClr val="0379C1"/>
        </a:dk2>
        <a:lt2>
          <a:srgbClr val="70767E"/>
        </a:lt2>
        <a:accent1>
          <a:srgbClr val="7EDCFE"/>
        </a:accent1>
        <a:accent2>
          <a:srgbClr val="FF9900"/>
        </a:accent2>
        <a:accent3>
          <a:srgbClr val="FFFFFF"/>
        </a:accent3>
        <a:accent4>
          <a:srgbClr val="002C5F"/>
        </a:accent4>
        <a:accent5>
          <a:srgbClr val="C0EBFE"/>
        </a:accent5>
        <a:accent6>
          <a:srgbClr val="E78A00"/>
        </a:accent6>
        <a:hlink>
          <a:srgbClr val="85C800"/>
        </a:hlink>
        <a:folHlink>
          <a:srgbClr val="DEFF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436C"/>
        </a:dk1>
        <a:lt1>
          <a:srgbClr val="FFFFFF"/>
        </a:lt1>
        <a:dk2>
          <a:srgbClr val="0379C1"/>
        </a:dk2>
        <a:lt2>
          <a:srgbClr val="70767E"/>
        </a:lt2>
        <a:accent1>
          <a:srgbClr val="7EDCFE"/>
        </a:accent1>
        <a:accent2>
          <a:srgbClr val="FF9900"/>
        </a:accent2>
        <a:accent3>
          <a:srgbClr val="FFFFFF"/>
        </a:accent3>
        <a:accent4>
          <a:srgbClr val="00385B"/>
        </a:accent4>
        <a:accent5>
          <a:srgbClr val="C0EBFE"/>
        </a:accent5>
        <a:accent6>
          <a:srgbClr val="E78A00"/>
        </a:accent6>
        <a:hlink>
          <a:srgbClr val="85C800"/>
        </a:hlink>
        <a:folHlink>
          <a:srgbClr val="DEFF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3570"/>
        </a:dk1>
        <a:lt1>
          <a:srgbClr val="FFFFFF"/>
        </a:lt1>
        <a:dk2>
          <a:srgbClr val="0379C1"/>
        </a:dk2>
        <a:lt2>
          <a:srgbClr val="70767E"/>
        </a:lt2>
        <a:accent1>
          <a:srgbClr val="7EDCFE"/>
        </a:accent1>
        <a:accent2>
          <a:srgbClr val="FF9900"/>
        </a:accent2>
        <a:accent3>
          <a:srgbClr val="FFFFFF"/>
        </a:accent3>
        <a:accent4>
          <a:srgbClr val="002C5F"/>
        </a:accent4>
        <a:accent5>
          <a:srgbClr val="C0EBFE"/>
        </a:accent5>
        <a:accent6>
          <a:srgbClr val="E78A00"/>
        </a:accent6>
        <a:hlink>
          <a:srgbClr val="85C800"/>
        </a:hlink>
        <a:folHlink>
          <a:srgbClr val="DEFF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436C"/>
        </a:dk1>
        <a:lt1>
          <a:srgbClr val="FFFFFF"/>
        </a:lt1>
        <a:dk2>
          <a:srgbClr val="0379C1"/>
        </a:dk2>
        <a:lt2>
          <a:srgbClr val="70767E"/>
        </a:lt2>
        <a:accent1>
          <a:srgbClr val="7EDCFE"/>
        </a:accent1>
        <a:accent2>
          <a:srgbClr val="FF9900"/>
        </a:accent2>
        <a:accent3>
          <a:srgbClr val="FFFFFF"/>
        </a:accent3>
        <a:accent4>
          <a:srgbClr val="00385B"/>
        </a:accent4>
        <a:accent5>
          <a:srgbClr val="C0EBFE"/>
        </a:accent5>
        <a:accent6>
          <a:srgbClr val="E78A00"/>
        </a:accent6>
        <a:hlink>
          <a:srgbClr val="85C800"/>
        </a:hlink>
        <a:folHlink>
          <a:srgbClr val="DEFF9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436C"/>
        </a:dk1>
        <a:lt1>
          <a:srgbClr val="FFFFFF"/>
        </a:lt1>
        <a:dk2>
          <a:srgbClr val="0379C1"/>
        </a:dk2>
        <a:lt2>
          <a:srgbClr val="70767E"/>
        </a:lt2>
        <a:accent1>
          <a:srgbClr val="3366FF"/>
        </a:accent1>
        <a:accent2>
          <a:srgbClr val="FF9900"/>
        </a:accent2>
        <a:accent3>
          <a:srgbClr val="FFFFFF"/>
        </a:accent3>
        <a:accent4>
          <a:srgbClr val="00385B"/>
        </a:accent4>
        <a:accent5>
          <a:srgbClr val="ADB8FF"/>
        </a:accent5>
        <a:accent6>
          <a:srgbClr val="E78A00"/>
        </a:accent6>
        <a:hlink>
          <a:srgbClr val="00CCFF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436C"/>
        </a:dk1>
        <a:lt1>
          <a:srgbClr val="FFFFFF"/>
        </a:lt1>
        <a:dk2>
          <a:srgbClr val="0379C1"/>
        </a:dk2>
        <a:lt2>
          <a:srgbClr val="70767E"/>
        </a:lt2>
        <a:accent1>
          <a:srgbClr val="0379C1"/>
        </a:accent1>
        <a:accent2>
          <a:srgbClr val="FF9900"/>
        </a:accent2>
        <a:accent3>
          <a:srgbClr val="FFFFFF"/>
        </a:accent3>
        <a:accent4>
          <a:srgbClr val="00385B"/>
        </a:accent4>
        <a:accent5>
          <a:srgbClr val="AABEDD"/>
        </a:accent5>
        <a:accent6>
          <a:srgbClr val="E78A00"/>
        </a:accent6>
        <a:hlink>
          <a:srgbClr val="00CCFF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70</TotalTime>
  <Words>1853</Words>
  <Application>Microsoft Office PowerPoint</Application>
  <PresentationFormat>Экран (4:3)</PresentationFormat>
  <Paragraphs>538</Paragraphs>
  <Slides>18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Default Design</vt:lpstr>
      <vt:lpstr>think-cell Slide</vt:lpstr>
      <vt:lpstr>Презентация PowerPoint</vt:lpstr>
      <vt:lpstr>Создание ЕЭП направлено на повышение конкуренто- способности экономических систем РФ, РК, РБ</vt:lpstr>
      <vt:lpstr>ОТЛК – ключевой механизм объединения транспортно- логистических систем стран ЕЭП</vt:lpstr>
      <vt:lpstr>ОТЛК – лидер рынка по размерам транспортных активов…</vt:lpstr>
      <vt:lpstr>…и по сетевому охвату бизнеса</vt:lpstr>
      <vt:lpstr> Конкурентное преимущество ОТЛК – эффект масштаба</vt:lpstr>
      <vt:lpstr>Презентация PowerPoint</vt:lpstr>
      <vt:lpstr>ОТЛК - компания для всех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еопределенность</vt:lpstr>
      <vt:lpstr>Пути сокращения издержек предприятия</vt:lpstr>
      <vt:lpstr>ОТЛК: центр логистических компетенций</vt:lpstr>
      <vt:lpstr>ОТЛК – Технологии, решения, инноваци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ординационный совет РСПП Одесса 2011</dc:title>
  <dc:subject>Условия равзития международных сервисов</dc:subject>
  <dc:creator>Кучин Андрей</dc:creator>
  <cp:lastModifiedBy>Алексеева Дарья Александровна</cp:lastModifiedBy>
  <cp:revision>576</cp:revision>
  <dcterms:created xsi:type="dcterms:W3CDTF">2011-08-29T11:35:22Z</dcterms:created>
  <dcterms:modified xsi:type="dcterms:W3CDTF">2015-07-01T14:21:22Z</dcterms:modified>
</cp:coreProperties>
</file>